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1" r:id="rId4"/>
  </p:sldMasterIdLst>
  <p:notesMasterIdLst>
    <p:notesMasterId r:id="rId36"/>
  </p:notesMasterIdLst>
  <p:sldIdLst>
    <p:sldId id="261" r:id="rId5"/>
    <p:sldId id="2147473108" r:id="rId6"/>
    <p:sldId id="2147473092" r:id="rId7"/>
    <p:sldId id="2147473117" r:id="rId8"/>
    <p:sldId id="2147473113" r:id="rId9"/>
    <p:sldId id="2147473110" r:id="rId10"/>
    <p:sldId id="2147473118" r:id="rId11"/>
    <p:sldId id="2147473112" r:id="rId12"/>
    <p:sldId id="2147473104" r:id="rId13"/>
    <p:sldId id="2147473151" r:id="rId14"/>
    <p:sldId id="2147473106" r:id="rId15"/>
    <p:sldId id="2147473119" r:id="rId16"/>
    <p:sldId id="2147473134" r:id="rId17"/>
    <p:sldId id="2147473114" r:id="rId18"/>
    <p:sldId id="2147473153" r:id="rId19"/>
    <p:sldId id="2147473126" r:id="rId20"/>
    <p:sldId id="2147473128" r:id="rId21"/>
    <p:sldId id="2147473127" r:id="rId22"/>
    <p:sldId id="2147473131" r:id="rId23"/>
    <p:sldId id="2147473132" r:id="rId24"/>
    <p:sldId id="2147473133" r:id="rId25"/>
    <p:sldId id="2147473135" r:id="rId26"/>
    <p:sldId id="2147473136" r:id="rId27"/>
    <p:sldId id="2147473137" r:id="rId28"/>
    <p:sldId id="2147473139" r:id="rId29"/>
    <p:sldId id="2147473141" r:id="rId30"/>
    <p:sldId id="2147473144" r:id="rId31"/>
    <p:sldId id="2147473145" r:id="rId32"/>
    <p:sldId id="2147473146" r:id="rId33"/>
    <p:sldId id="2147473148" r:id="rId34"/>
    <p:sldId id="2147473150" r:id="rId3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07EF3A0A-9C77-9640-B88B-7EF02CA7E37B}">
          <p14:sldIdLst>
            <p14:sldId id="261"/>
            <p14:sldId id="2147473108"/>
          </p14:sldIdLst>
        </p14:section>
        <p14:section name="Utmaningar" id="{203174BF-8D3C-874E-9689-B4962DD54633}">
          <p14:sldIdLst>
            <p14:sldId id="2147473092"/>
            <p14:sldId id="2147473117"/>
            <p14:sldId id="2147473113"/>
            <p14:sldId id="2147473110"/>
            <p14:sldId id="2147473118"/>
          </p14:sldIdLst>
        </p14:section>
        <p14:section name="Lösning" id="{21C63369-11B1-2A42-AFC3-53751A4900C0}">
          <p14:sldIdLst>
            <p14:sldId id="2147473112"/>
            <p14:sldId id="2147473104"/>
            <p14:sldId id="2147473151"/>
            <p14:sldId id="2147473106"/>
            <p14:sldId id="2147473119"/>
            <p14:sldId id="2147473134"/>
          </p14:sldIdLst>
        </p14:section>
        <p14:section name="Design &amp; byggnation" id="{8CD4FFDD-A74D-E747-8506-4C1F346B36FC}">
          <p14:sldIdLst>
            <p14:sldId id="2147473114"/>
            <p14:sldId id="2147473153"/>
            <p14:sldId id="2147473126"/>
          </p14:sldIdLst>
        </p14:section>
        <p14:section name="Testning" id="{A20E82CC-59DB-3247-A0BF-110512E33214}">
          <p14:sldIdLst>
            <p14:sldId id="2147473128"/>
            <p14:sldId id="2147473127"/>
            <p14:sldId id="2147473131"/>
            <p14:sldId id="2147473132"/>
          </p14:sldIdLst>
        </p14:section>
        <p14:section name="Säkerhet" id="{C881AF80-A43A-8042-9781-331842B950C9}">
          <p14:sldIdLst>
            <p14:sldId id="2147473133"/>
            <p14:sldId id="2147473135"/>
            <p14:sldId id="2147473136"/>
          </p14:sldIdLst>
        </p14:section>
        <p14:section name="Fördelar" id="{36A7D910-5877-0342-AB34-F2A6ACB080BF}">
          <p14:sldIdLst>
            <p14:sldId id="2147473137"/>
            <p14:sldId id="2147473139"/>
          </p14:sldIdLst>
        </p14:section>
        <p14:section name="Nästa steg" id="{F33FA16D-2CF2-7F42-A242-DB5C357A39C1}">
          <p14:sldIdLst>
            <p14:sldId id="2147473141"/>
            <p14:sldId id="2147473144"/>
            <p14:sldId id="2147473145"/>
            <p14:sldId id="2147473146"/>
            <p14:sldId id="2147473148"/>
            <p14:sldId id="21474731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B316"/>
    <a:srgbClr val="FDD78B"/>
    <a:srgbClr val="FABE98"/>
    <a:srgbClr val="F27B21"/>
    <a:srgbClr val="FFE8C1"/>
    <a:srgbClr val="FDC816"/>
    <a:srgbClr val="979265"/>
    <a:srgbClr val="FDAA48"/>
    <a:srgbClr val="F47C1F"/>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anmörkt format 2 - Dekorfär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just format 2 - Dekorfärg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67" autoAdjust="0"/>
    <p:restoredTop sz="72381" autoAdjust="0"/>
  </p:normalViewPr>
  <p:slideViewPr>
    <p:cSldViewPr snapToGrid="0" snapToObjects="1" showGuides="1">
      <p:cViewPr varScale="1">
        <p:scale>
          <a:sx n="66" d="100"/>
          <a:sy n="66" d="100"/>
        </p:scale>
        <p:origin x="1038" y="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D82AEF-36AA-BA4C-8C65-58E6F567FCAA}" type="datetimeFigureOut">
              <a:rPr lang="sv-SE" smtClean="0"/>
              <a:t>2025-05-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34C131-D2D0-AF4F-8F24-5ABFC19614A6}" type="slidenum">
              <a:rPr lang="sv-SE" smtClean="0"/>
              <a:t>‹#›</a:t>
            </a:fld>
            <a:endParaRPr lang="sv-SE"/>
          </a:p>
        </p:txBody>
      </p:sp>
    </p:spTree>
    <p:extLst>
      <p:ext uri="{BB962C8B-B14F-4D97-AF65-F5344CB8AC3E}">
        <p14:creationId xmlns:p14="http://schemas.microsoft.com/office/powerpoint/2010/main" val="9978468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E" sz="1800" b="1" dirty="0">
                <a:effectLst/>
                <a:latin typeface="+mn-lt"/>
                <a:ea typeface="Calibri" panose="020F0502020204030204" pitchFamily="34" charset="0"/>
                <a:cs typeface="Times New Roman" panose="02020603050405020304" pitchFamily="18" charset="0"/>
              </a:rPr>
              <a:t>Världens första bergrumslager för fossilfri vätgas</a:t>
            </a:r>
            <a:r>
              <a:rPr lang="en-SE" sz="1800" dirty="0">
                <a:effectLst/>
                <a:latin typeface="+mn-lt"/>
                <a:ea typeface="Calibri" panose="020F0502020204030204" pitchFamily="34" charset="0"/>
                <a:cs typeface="Times New Roman" panose="02020603050405020304" pitchFamily="18" charset="0"/>
              </a:rPr>
              <a:t> </a:t>
            </a:r>
          </a:p>
          <a:p>
            <a:r>
              <a:rPr lang="en-GB" sz="1800" dirty="0" err="1">
                <a:effectLst/>
                <a:latin typeface="+mn-lt"/>
                <a:ea typeface="Calibri" panose="020F0502020204030204" pitchFamily="34" charset="0"/>
                <a:cs typeface="Times New Roman" panose="02020603050405020304" pitchFamily="18" charset="0"/>
              </a:rPr>
              <a:t>Lagring</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av</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fossilfri</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vätgas</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i</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inklädda</a:t>
            </a:r>
            <a:r>
              <a:rPr lang="en-GB" sz="1800" dirty="0">
                <a:effectLst/>
                <a:latin typeface="+mn-lt"/>
                <a:ea typeface="Calibri" panose="020F0502020204030204" pitchFamily="34" charset="0"/>
                <a:cs typeface="Times New Roman" panose="02020603050405020304" pitchFamily="18" charset="0"/>
              </a:rPr>
              <a:t> </a:t>
            </a:r>
            <a:r>
              <a:rPr lang="en-GB" sz="1800" dirty="0" err="1">
                <a:effectLst/>
                <a:latin typeface="+mn-lt"/>
                <a:ea typeface="Calibri" panose="020F0502020204030204" pitchFamily="34" charset="0"/>
                <a:cs typeface="Times New Roman" panose="02020603050405020304" pitchFamily="18" charset="0"/>
              </a:rPr>
              <a:t>bergrum</a:t>
            </a:r>
            <a:r>
              <a:rPr lang="en-GB" sz="1800" dirty="0">
                <a:effectLst/>
                <a:latin typeface="+mn-lt"/>
                <a:ea typeface="Calibri" panose="020F0502020204030204" pitchFamily="34" charset="0"/>
                <a:cs typeface="Times New Roman" panose="02020603050405020304" pitchFamily="18" charset="0"/>
              </a:rPr>
              <a:t> redo för </a:t>
            </a:r>
            <a:r>
              <a:rPr lang="en-GB" sz="1800" dirty="0" err="1">
                <a:effectLst/>
                <a:latin typeface="+mn-lt"/>
                <a:ea typeface="Calibri" panose="020F0502020204030204" pitchFamily="34" charset="0"/>
                <a:cs typeface="Times New Roman" panose="02020603050405020304" pitchFamily="18" charset="0"/>
              </a:rPr>
              <a:t>industrialisering</a:t>
            </a:r>
            <a:endParaRPr lang="en-SE" sz="1800" dirty="0">
              <a:effectLst/>
              <a:latin typeface="+mn-lt"/>
              <a:ea typeface="Calibri" panose="020F0502020204030204" pitchFamily="34" charset="0"/>
              <a:cs typeface="Times New Roman" panose="02020603050405020304" pitchFamily="18" charset="0"/>
            </a:endParaRPr>
          </a:p>
          <a:p>
            <a:endParaRPr lang="sv-SE" dirty="0"/>
          </a:p>
        </p:txBody>
      </p:sp>
      <p:sp>
        <p:nvSpPr>
          <p:cNvPr id="4" name="Slide Number Placeholder 3"/>
          <p:cNvSpPr>
            <a:spLocks noGrp="1"/>
          </p:cNvSpPr>
          <p:nvPr>
            <p:ph type="sldNum" sz="quarter" idx="5"/>
          </p:nvPr>
        </p:nvSpPr>
        <p:spPr/>
        <p:txBody>
          <a:bodyPr/>
          <a:lstStyle/>
          <a:p>
            <a:fld id="{AB34C131-D2D0-AF4F-8F24-5ABFC19614A6}" type="slidenum">
              <a:rPr lang="sv-SE" smtClean="0"/>
              <a:t>1</a:t>
            </a:fld>
            <a:endParaRPr lang="sv-SE"/>
          </a:p>
        </p:txBody>
      </p:sp>
    </p:spTree>
    <p:extLst>
      <p:ext uri="{BB962C8B-B14F-4D97-AF65-F5344CB8AC3E}">
        <p14:creationId xmlns:p14="http://schemas.microsoft.com/office/powerpoint/2010/main" val="4131309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00172-805A-5061-DCF8-AB138DF678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AE58FE-E109-2032-FE2A-F6E34D04F1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FBE296-BC8B-5AB6-6BC9-1159D1E0DA8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Helvetica Neue" panose="02000503000000020004" pitchFamily="2" charset="0"/>
                <a:ea typeface="Times New Roman" panose="02020603050405020304" pitchFamily="18" charset="0"/>
                <a:cs typeface="Segoe UI" panose="020B0502040204020203" pitchFamily="34" charset="0"/>
              </a:rPr>
              <a:t>Under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perioder</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av</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hög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elpriser</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ka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sedan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vätgase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i</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lagre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användas</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i</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direktreduktionsprocesse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och</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därmed</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minsk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elbehove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genom</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at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vätgasproduktione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reduceras</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eller</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hel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lås</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av</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illustreras</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i</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slide 11).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Et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torskalig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vätgaslager</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ka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på</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å</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ätt</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minsk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kostnadern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för den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fossilfri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tålproduktione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då</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de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rörliga</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snittkostnade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för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vätgasproduktio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blir</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lägre</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ä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vid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vätgasproduktio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a:t>
            </a:r>
            <a:r>
              <a:rPr lang="en-GB" sz="1200" dirty="0" err="1">
                <a:effectLst/>
                <a:latin typeface="Helvetica Neue" panose="02000503000000020004" pitchFamily="2" charset="0"/>
                <a:ea typeface="Times New Roman" panose="02020603050405020304" pitchFamily="18" charset="0"/>
                <a:cs typeface="Segoe UI" panose="020B0502040204020203" pitchFamily="34" charset="0"/>
              </a:rPr>
              <a:t>utan</a:t>
            </a:r>
            <a:r>
              <a:rPr lang="en-GB" sz="1200" dirty="0">
                <a:effectLst/>
                <a:latin typeface="Helvetica Neue" panose="02000503000000020004" pitchFamily="2" charset="0"/>
                <a:ea typeface="Times New Roman" panose="02020603050405020304" pitchFamily="18" charset="0"/>
                <a:cs typeface="Segoe UI" panose="020B0502040204020203" pitchFamily="34" charset="0"/>
              </a:rPr>
              <a:t> lager. </a:t>
            </a:r>
            <a:endParaRPr lang="sv-SE" dirty="0"/>
          </a:p>
          <a:p>
            <a:endParaRPr lang="sv-SE" dirty="0"/>
          </a:p>
        </p:txBody>
      </p:sp>
      <p:sp>
        <p:nvSpPr>
          <p:cNvPr id="4" name="Slide Number Placeholder 3">
            <a:extLst>
              <a:ext uri="{FF2B5EF4-FFF2-40B4-BE49-F238E27FC236}">
                <a16:creationId xmlns:a16="http://schemas.microsoft.com/office/drawing/2014/main" id="{3834BE86-622C-C856-6F75-C078C212EF99}"/>
              </a:ext>
            </a:extLst>
          </p:cNvPr>
          <p:cNvSpPr>
            <a:spLocks noGrp="1"/>
          </p:cNvSpPr>
          <p:nvPr>
            <p:ph type="sldNum" sz="quarter" idx="5"/>
          </p:nvPr>
        </p:nvSpPr>
        <p:spPr/>
        <p:txBody>
          <a:bodyPr/>
          <a:lstStyle/>
          <a:p>
            <a:fld id="{AB34C131-D2D0-AF4F-8F24-5ABFC19614A6}" type="slidenum">
              <a:rPr lang="sv-SE" smtClean="0"/>
              <a:t>10</a:t>
            </a:fld>
            <a:endParaRPr lang="sv-SE"/>
          </a:p>
        </p:txBody>
      </p:sp>
    </p:spTree>
    <p:extLst>
      <p:ext uri="{BB962C8B-B14F-4D97-AF65-F5344CB8AC3E}">
        <p14:creationId xmlns:p14="http://schemas.microsoft.com/office/powerpoint/2010/main" val="1639551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F7160-8BEF-62C2-6004-7008967046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09155-B916-55CE-3714-BCB538C36A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4F9979-26DD-60BC-3695-1872C747A9F2}"/>
              </a:ext>
            </a:extLst>
          </p:cNvPr>
          <p:cNvSpPr>
            <a:spLocks noGrp="1"/>
          </p:cNvSpPr>
          <p:nvPr>
            <p:ph type="body" idx="1"/>
          </p:nvPr>
        </p:nvSpPr>
        <p:spPr/>
        <p:txBody>
          <a:bodyPr/>
          <a:lstStyle/>
          <a:p>
            <a:r>
              <a:rPr lang="sv-SE" dirty="0"/>
              <a:t>Stora skillnader i utbud och efterfrågan skapar inte bara variationer i elpriset, utan leder även till att elsystemet blir ansträngt. En produktions- och lageranläggning för vätgas som kan producera extra vätgas när tillgången på el är god och stänga av produktionen när tillgången är begränsad, kan jämna ut skillnaderna i tillgång och efterfrågan. Det bidrar positivt till elsystemets stabilitet.   </a:t>
            </a:r>
          </a:p>
        </p:txBody>
      </p:sp>
      <p:sp>
        <p:nvSpPr>
          <p:cNvPr id="4" name="Slide Number Placeholder 3">
            <a:extLst>
              <a:ext uri="{FF2B5EF4-FFF2-40B4-BE49-F238E27FC236}">
                <a16:creationId xmlns:a16="http://schemas.microsoft.com/office/drawing/2014/main" id="{FB4B2D76-5CF3-AF62-E3A6-8E06CF82DBB7}"/>
              </a:ext>
            </a:extLst>
          </p:cNvPr>
          <p:cNvSpPr>
            <a:spLocks noGrp="1"/>
          </p:cNvSpPr>
          <p:nvPr>
            <p:ph type="sldNum" sz="quarter" idx="5"/>
          </p:nvPr>
        </p:nvSpPr>
        <p:spPr/>
        <p:txBody>
          <a:bodyPr/>
          <a:lstStyle/>
          <a:p>
            <a:fld id="{AB34C131-D2D0-AF4F-8F24-5ABFC19614A6}" type="slidenum">
              <a:rPr lang="sv-SE" smtClean="0"/>
              <a:t>11</a:t>
            </a:fld>
            <a:endParaRPr lang="sv-SE"/>
          </a:p>
        </p:txBody>
      </p:sp>
    </p:spTree>
    <p:extLst>
      <p:ext uri="{BB962C8B-B14F-4D97-AF65-F5344CB8AC3E}">
        <p14:creationId xmlns:p14="http://schemas.microsoft.com/office/powerpoint/2010/main" val="1043866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18DB2-C101-5B82-7887-8D100CFD2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C14213-A88D-964E-716F-D9006C00E0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97DBB5-6765-924B-8E49-7D73D6E9F5DA}"/>
              </a:ext>
            </a:extLst>
          </p:cNvPr>
          <p:cNvSpPr>
            <a:spLocks noGrp="1"/>
          </p:cNvSpPr>
          <p:nvPr>
            <p:ph type="body" idx="1"/>
          </p:nvPr>
        </p:nvSpPr>
        <p:spPr/>
        <p:txBody>
          <a:bodyPr/>
          <a:lstStyle/>
          <a:p>
            <a:r>
              <a:rPr lang="sv-SE" b="1" dirty="0"/>
              <a:t>Vätgaslagring i bergrum med LRC-teknik </a:t>
            </a:r>
            <a:br>
              <a:rPr lang="sv-SE" b="1" dirty="0"/>
            </a:br>
            <a:br>
              <a:rPr lang="sv-SE" b="1" dirty="0"/>
            </a:br>
            <a:r>
              <a:rPr lang="sv-SE" b="0" dirty="0"/>
              <a:t>Projektet har valt att utgå från ett gaslagringskoncept baserat på inklädda bergrum, </a:t>
            </a:r>
            <a:r>
              <a:rPr lang="sv-SE" b="0" dirty="0" err="1"/>
              <a:t>Lined</a:t>
            </a:r>
            <a:r>
              <a:rPr lang="sv-SE" b="0" dirty="0"/>
              <a:t> Rock </a:t>
            </a:r>
            <a:r>
              <a:rPr lang="sv-SE" b="0" dirty="0" err="1"/>
              <a:t>Cavern</a:t>
            </a:r>
            <a:r>
              <a:rPr lang="sv-SE" b="0" dirty="0"/>
              <a:t>, (LRC) som utvecklats för lagring av naturgas. Denna teknik passar bra för svenska förhållanden där vi har gått om höghållfast </a:t>
            </a:r>
            <a:r>
              <a:rPr lang="sv-SE" b="0" dirty="0" err="1"/>
              <a:t>kristalint</a:t>
            </a:r>
            <a:r>
              <a:rPr lang="sv-SE" b="0" dirty="0"/>
              <a:t> berg, men inte geologiska förutsättningar för lagring i naturliga geologiska formationer som </a:t>
            </a:r>
            <a:r>
              <a:rPr lang="sv-SE" b="0" dirty="0" err="1"/>
              <a:t>saltkavärner</a:t>
            </a:r>
            <a:r>
              <a:rPr lang="sv-SE" b="0" dirty="0"/>
              <a:t>, eller </a:t>
            </a:r>
            <a:r>
              <a:rPr lang="sv-SE" b="0" dirty="0" err="1"/>
              <a:t>akvifärer</a:t>
            </a:r>
            <a:r>
              <a:rPr lang="sv-SE" b="0" dirty="0"/>
              <a:t>. Inklädnaden möjliggör högt </a:t>
            </a:r>
            <a:r>
              <a:rPr lang="sv-SE" b="0" dirty="0" err="1"/>
              <a:t>lagertryck</a:t>
            </a:r>
            <a:r>
              <a:rPr lang="sv-SE" b="0" dirty="0"/>
              <a:t>, ca 200-300 bar samtidigt som lagret kan placeras på rimliga djup. Inklädnaden (</a:t>
            </a:r>
            <a:r>
              <a:rPr lang="sv-SE" b="0" dirty="0" err="1"/>
              <a:t>liningen</a:t>
            </a:r>
            <a:r>
              <a:rPr lang="sv-SE" b="0" dirty="0"/>
              <a:t>) säkrar att lagret är gastätt. </a:t>
            </a:r>
          </a:p>
          <a:p>
            <a:endParaRPr lang="sv-SE" b="0" dirty="0"/>
          </a:p>
          <a:p>
            <a:r>
              <a:rPr lang="sv-SE" b="0" dirty="0"/>
              <a:t>Historiskt har en stor del av utvecklingen av den aktuella </a:t>
            </a:r>
            <a:r>
              <a:rPr lang="sv-SE" b="0" dirty="0" err="1"/>
              <a:t>lagertekniken</a:t>
            </a:r>
            <a:r>
              <a:rPr lang="sv-SE" b="0" dirty="0"/>
              <a:t> skett i Sverige. Det tekniska utvecklingsarbetet i projektet har tagit sin utgångspunkt i kunskap och erfarenheter från tidigare utveckling av LRC-lager – det vill säga från försöken under 1980-talet i Grängesberg och från utvecklingen och byggnationen av naturgaslagret Skallen kring millennieskiftet.  </a:t>
            </a:r>
          </a:p>
          <a:p>
            <a:endParaRPr lang="sv-SE" b="1" dirty="0"/>
          </a:p>
        </p:txBody>
      </p:sp>
      <p:sp>
        <p:nvSpPr>
          <p:cNvPr id="4" name="Slide Number Placeholder 3">
            <a:extLst>
              <a:ext uri="{FF2B5EF4-FFF2-40B4-BE49-F238E27FC236}">
                <a16:creationId xmlns:a16="http://schemas.microsoft.com/office/drawing/2014/main" id="{4D00F407-80A0-15EA-9A96-2FF968F6D6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092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CD680-4D20-98CE-E1B7-3648C4E136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858483-FA97-AE03-2235-FB181F2D8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572652-9EEA-6982-6068-C77212F35A84}"/>
              </a:ext>
            </a:extLst>
          </p:cNvPr>
          <p:cNvSpPr>
            <a:spLocks noGrp="1"/>
          </p:cNvSpPr>
          <p:nvPr>
            <p:ph type="body" idx="1"/>
          </p:nvPr>
        </p:nvSpPr>
        <p:spPr/>
        <p:txBody>
          <a:bodyPr/>
          <a:lstStyle/>
          <a:p>
            <a:r>
              <a:rPr lang="sv-SE" b="1" dirty="0"/>
              <a:t>Anpassat koncept för vätgas </a:t>
            </a:r>
          </a:p>
          <a:p>
            <a:r>
              <a:rPr lang="sv-SE" dirty="0"/>
              <a:t>Grundkonceptet för LRC-lagring har redan demonstrerats i industriell skala för naturgas i Skallen utanför Halmstad, men konceptet behöver anpassas för lagring av vätgas, framför allt vad gäller materialval.  </a:t>
            </a:r>
            <a:br>
              <a:rPr lang="sv-SE" dirty="0"/>
            </a:br>
            <a:endParaRPr lang="sv-SE" dirty="0"/>
          </a:p>
          <a:p>
            <a:r>
              <a:rPr lang="sv-SE" dirty="0"/>
              <a:t>För att hantera svängningarna på elmarknaden förväntas även ett kommersiellt vätgaslager behöva fyllas och tömmas med högre frekvens och hastighet – jämfört med ett LRC-lager för naturgas. Även det innebär andra krav på konstruktion och drift av anläggningen.  </a:t>
            </a:r>
          </a:p>
          <a:p>
            <a:endParaRPr lang="sv-SE" dirty="0"/>
          </a:p>
          <a:p>
            <a:r>
              <a:rPr lang="sv-SE" b="1" dirty="0"/>
              <a:t>Värdet med ett pilotprojekt </a:t>
            </a:r>
          </a:p>
          <a:p>
            <a:endParaRPr lang="sv-SE" dirty="0"/>
          </a:p>
          <a:p>
            <a:r>
              <a:rPr lang="sv-SE" dirty="0"/>
              <a:t>Genom att uppföra en lageranläggning i pilotskala fick projektet möjlighet att uppdatera befintlig kunskap om och erfarenheter kring LRC-lager – för att nu anpassa tekniken för att lagra vätgas. Ett lager i pilotskala lämpade sig även väl för att genomföra tester av flexibel drift och integration mot elmarknaden.  </a:t>
            </a:r>
          </a:p>
          <a:p>
            <a:endParaRPr lang="sv-SE" dirty="0"/>
          </a:p>
        </p:txBody>
      </p:sp>
      <p:sp>
        <p:nvSpPr>
          <p:cNvPr id="4" name="Slide Number Placeholder 3">
            <a:extLst>
              <a:ext uri="{FF2B5EF4-FFF2-40B4-BE49-F238E27FC236}">
                <a16:creationId xmlns:a16="http://schemas.microsoft.com/office/drawing/2014/main" id="{7C50C3D5-D11B-B700-0CA9-EBAC157291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334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CD680-4D20-98CE-E1B7-3648C4E136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858483-FA97-AE03-2235-FB181F2D8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572652-9EEA-6982-6068-C77212F35A84}"/>
              </a:ext>
            </a:extLst>
          </p:cNvPr>
          <p:cNvSpPr>
            <a:spLocks noGrp="1"/>
          </p:cNvSpPr>
          <p:nvPr>
            <p:ph type="body" idx="1"/>
          </p:nvPr>
        </p:nvSpPr>
        <p:spPr/>
        <p:txBody>
          <a:bodyPr/>
          <a:lstStyle/>
          <a:p>
            <a:r>
              <a:rPr lang="sv-SE" b="1" dirty="0"/>
              <a:t>Design och byggnation av pilotlager  </a:t>
            </a:r>
            <a:endParaRPr lang="sv-SE" dirty="0"/>
          </a:p>
          <a:p>
            <a:endParaRPr lang="sv-SE" dirty="0"/>
          </a:p>
          <a:p>
            <a:r>
              <a:rPr lang="sv-SE" dirty="0"/>
              <a:t>För att utvärdera tekniken för vätgaslagring i bergrum, har HYBRIT genomfört ett femårigt pilotprojekt. Projektet har under perioden 2019–2024 konstruerat, byggt och drivit ett 100 kubikmeter stort vätgaslager i pilotskala, 30 meter under markytan. Lagret ligger i Svartöberget i Luleå, inom LKAB:s industriområde. Lagret har ett maximalt tryck på 250 bar, och när det är fyllt maximalt innehåller det 2 ton vätgas. </a:t>
            </a:r>
          </a:p>
          <a:p>
            <a:endParaRPr lang="sv-SE" dirty="0"/>
          </a:p>
          <a:p>
            <a:endParaRPr lang="sv-SE" dirty="0"/>
          </a:p>
          <a:p>
            <a:r>
              <a:rPr lang="sv-SE" dirty="0"/>
              <a:t>Översikt över LRC-piloten på Svartöberget, Luleå  </a:t>
            </a:r>
          </a:p>
          <a:p>
            <a:endParaRPr lang="sv-SE" dirty="0"/>
          </a:p>
          <a:p>
            <a:endParaRPr lang="sv-SE" dirty="0"/>
          </a:p>
        </p:txBody>
      </p:sp>
      <p:sp>
        <p:nvSpPr>
          <p:cNvPr id="4" name="Slide Number Placeholder 3">
            <a:extLst>
              <a:ext uri="{FF2B5EF4-FFF2-40B4-BE49-F238E27FC236}">
                <a16:creationId xmlns:a16="http://schemas.microsoft.com/office/drawing/2014/main" id="{7C50C3D5-D11B-B700-0CA9-EBAC157291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966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FD653-0C1E-3D31-F422-AEAE4627CC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F3837-894F-A16A-2357-94193345DA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A9F5DD-50C7-0FBD-7160-B5CA3A097478}"/>
              </a:ext>
            </a:extLst>
          </p:cNvPr>
          <p:cNvSpPr>
            <a:spLocks noGrp="1"/>
          </p:cNvSpPr>
          <p:nvPr>
            <p:ph type="body" idx="1"/>
          </p:nvPr>
        </p:nvSpPr>
        <p:spPr/>
        <p:txBody>
          <a:bodyPr/>
          <a:lstStyle/>
          <a:p>
            <a:r>
              <a:rPr lang="sv-SE" b="1" dirty="0"/>
              <a:t>Uppbyggnad av LRC </a:t>
            </a:r>
          </a:p>
          <a:p>
            <a:r>
              <a:rPr lang="sv-SE" dirty="0"/>
              <a:t>Ett LRC-lager består av ett utsprängt bergrum, format som en vertikal cylinder med avrundad topp och botten. Bergrummet förses med en gastät inklädnad som består av  </a:t>
            </a:r>
          </a:p>
          <a:p>
            <a:endParaRPr lang="sv-SE" dirty="0"/>
          </a:p>
          <a:p>
            <a:pPr marL="228600" indent="-228600">
              <a:buFont typeface="+mj-lt"/>
              <a:buAutoNum type="arabicPeriod"/>
            </a:pPr>
            <a:r>
              <a:rPr lang="sv-SE" dirty="0"/>
              <a:t>ett tätskikt av stålplåt (mot gasen) </a:t>
            </a:r>
          </a:p>
          <a:p>
            <a:pPr marL="228600" indent="-228600">
              <a:buFont typeface="+mj-lt"/>
              <a:buAutoNum type="arabicPeriod"/>
            </a:pPr>
            <a:r>
              <a:rPr lang="sv-SE" dirty="0"/>
              <a:t>kraftöverförande armerad betong (mellan plåt och berg) </a:t>
            </a:r>
          </a:p>
          <a:p>
            <a:pPr marL="228600" indent="-228600">
              <a:buFont typeface="+mj-lt"/>
              <a:buAutoNum type="arabicPeriod"/>
            </a:pPr>
            <a:r>
              <a:rPr lang="sv-SE" dirty="0"/>
              <a:t>ett glidskikt (mellan plåt och betong för att reducera friktionen).  </a:t>
            </a:r>
          </a:p>
          <a:p>
            <a:endParaRPr lang="sv-SE" dirty="0"/>
          </a:p>
          <a:p>
            <a:r>
              <a:rPr lang="sv-SE" dirty="0"/>
              <a:t>Krafterna från det höga lagertrycket överförs via inklädnaden till bergmassan som har styrkan att stå emot mycket stora belastningar. Runt anläggningen finns ett dränagesystem som avlägsnar vatten under byggfasen och övervakar gastätheten under drift.   </a:t>
            </a:r>
          </a:p>
          <a:p>
            <a:endParaRPr lang="sv-SE" dirty="0"/>
          </a:p>
          <a:p>
            <a:r>
              <a:rPr lang="sv-SE" b="1" dirty="0"/>
              <a:t>Materialvalet viktigt </a:t>
            </a:r>
          </a:p>
          <a:p>
            <a:endParaRPr lang="sv-SE" dirty="0"/>
          </a:p>
          <a:p>
            <a:r>
              <a:rPr lang="sv-SE" dirty="0"/>
              <a:t>Materialvalet för bergrummets tätskikt har varit en av de viktigaste frågorna under designfasen. Ett stålmaterial har valts, utifrån befintlig forskning och specifika laboratorietester som genomförts på uppdrag av HYBRIT. Materialet är beständigt mot vätets inverkan på materialet och klarar cyklisk belastning av frekvent tömning och fyllning av lagret.   </a:t>
            </a:r>
          </a:p>
          <a:p>
            <a:endParaRPr lang="sv-SE" dirty="0"/>
          </a:p>
          <a:p>
            <a:endParaRPr lang="sv-SE" dirty="0"/>
          </a:p>
          <a:p>
            <a:endParaRPr lang="sv-SE" dirty="0"/>
          </a:p>
          <a:p>
            <a:endParaRPr lang="sv-SE" dirty="0"/>
          </a:p>
          <a:p>
            <a:endParaRPr lang="sv-SE" dirty="0"/>
          </a:p>
        </p:txBody>
      </p:sp>
      <p:sp>
        <p:nvSpPr>
          <p:cNvPr id="4" name="Slide Number Placeholder 3">
            <a:extLst>
              <a:ext uri="{FF2B5EF4-FFF2-40B4-BE49-F238E27FC236}">
                <a16:creationId xmlns:a16="http://schemas.microsoft.com/office/drawing/2014/main" id="{51220738-6BCE-D7ED-F39B-B99233BBDF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544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AD769-8CD1-BF38-60CB-46DF593620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4DD983-DF30-FFDF-4DDF-BF6BFB637F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AC7207-A898-CAD3-C679-CEF73318FFD0}"/>
              </a:ext>
            </a:extLst>
          </p:cNvPr>
          <p:cNvSpPr>
            <a:spLocks noGrp="1"/>
          </p:cNvSpPr>
          <p:nvPr>
            <p:ph type="body" idx="1"/>
          </p:nvPr>
        </p:nvSpPr>
        <p:spPr/>
        <p:txBody>
          <a:bodyPr/>
          <a:lstStyle/>
          <a:p>
            <a:r>
              <a:rPr lang="sv-SE" dirty="0"/>
              <a:t>Anslutning ovan mark </a:t>
            </a:r>
          </a:p>
          <a:p>
            <a:endParaRPr lang="sv-SE" dirty="0"/>
          </a:p>
          <a:p>
            <a:r>
              <a:rPr lang="sv-SE" dirty="0"/>
              <a:t>Vätgasen transporteras i en cirka 3 km lång rörledning från tillverkningen (</a:t>
            </a:r>
            <a:r>
              <a:rPr lang="sv-SE" dirty="0" err="1"/>
              <a:t>elektrolysörerna</a:t>
            </a:r>
            <a:r>
              <a:rPr lang="sv-SE" dirty="0"/>
              <a:t>) till lagrets kompressorstation Där omvandlas trycket från 7–9 bar till maximalt 250 bar genom att gasen komprimeras.  Vätgasen transporteras vidare i en högtrycksledning som ansluter till lagret för fyllning. Vid tömning skickas gasen tillbaka till en tryckreduceringsstation placerad i samma byggnad som kompressorn, och vätgasen transporteras tillbaka i den 3 km långa rörledningen till förbrukaren. </a:t>
            </a:r>
          </a:p>
        </p:txBody>
      </p:sp>
      <p:sp>
        <p:nvSpPr>
          <p:cNvPr id="4" name="Slide Number Placeholder 3">
            <a:extLst>
              <a:ext uri="{FF2B5EF4-FFF2-40B4-BE49-F238E27FC236}">
                <a16:creationId xmlns:a16="http://schemas.microsoft.com/office/drawing/2014/main" id="{D8E9DD2A-79E8-F67F-D4FD-DEAB2CF2F4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572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CE249-E439-D15C-9E49-EF776173F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13DABD-C7EE-8DA3-D38F-FC113F7335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C57AB8-4827-A92B-EFF4-86FCF20DDBF1}"/>
              </a:ext>
            </a:extLst>
          </p:cNvPr>
          <p:cNvSpPr>
            <a:spLocks noGrp="1"/>
          </p:cNvSpPr>
          <p:nvPr>
            <p:ph type="body" idx="1"/>
          </p:nvPr>
        </p:nvSpPr>
        <p:spPr/>
        <p:txBody>
          <a:bodyPr/>
          <a:lstStyle/>
          <a:p>
            <a:r>
              <a:rPr lang="sv-SE" b="1" dirty="0"/>
              <a:t>Testning av pilotlager</a:t>
            </a:r>
          </a:p>
          <a:p>
            <a:endParaRPr lang="sv-SE" dirty="0"/>
          </a:p>
          <a:p>
            <a:r>
              <a:rPr lang="sv-SE" dirty="0"/>
              <a:t>Projektet har med framgångsrika tester av pilotanläggningen i Luleå visat att vätgaslagring med LRC-teknik fungerar.  </a:t>
            </a:r>
          </a:p>
          <a:p>
            <a:endParaRPr lang="sv-SE" dirty="0"/>
          </a:p>
          <a:p>
            <a:r>
              <a:rPr lang="sv-SE" dirty="0"/>
              <a:t>Fyra testkampanjer med vätgas om vardera sex veckor har genomförts inom projektet. Därtill tillkom en extra testkampanj med ytterligare tryckcykling med vatten. Detta för att utsätta lagret för ytterligare belastning som motsvarar ett kommersiellt lagers livslängd.</a:t>
            </a:r>
          </a:p>
        </p:txBody>
      </p:sp>
      <p:sp>
        <p:nvSpPr>
          <p:cNvPr id="4" name="Slide Number Placeholder 3">
            <a:extLst>
              <a:ext uri="{FF2B5EF4-FFF2-40B4-BE49-F238E27FC236}">
                <a16:creationId xmlns:a16="http://schemas.microsoft.com/office/drawing/2014/main" id="{0F5B4B5B-5F57-E606-5A50-912635002F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088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9BACA-51CF-67CA-C3A5-4A36DF30F1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969091-A924-76EC-A85C-E6DBD1B282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1AAD2-0918-5962-DE4C-B7A915C582B7}"/>
              </a:ext>
            </a:extLst>
          </p:cNvPr>
          <p:cNvSpPr>
            <a:spLocks noGrp="1"/>
          </p:cNvSpPr>
          <p:nvPr>
            <p:ph type="body" idx="1"/>
          </p:nvPr>
        </p:nvSpPr>
        <p:spPr/>
        <p:txBody>
          <a:bodyPr/>
          <a:lstStyle/>
          <a:p>
            <a:r>
              <a:rPr lang="sv-SE" b="1" dirty="0"/>
              <a:t>Resultat i korthet:</a:t>
            </a:r>
          </a:p>
          <a:p>
            <a:endParaRPr lang="sv-SE" b="1" dirty="0"/>
          </a:p>
          <a:p>
            <a:pPr marL="171450" indent="-171450">
              <a:buFont typeface="Arial" panose="020B0604020202020204" pitchFamily="34" charset="0"/>
              <a:buChar char="•"/>
            </a:pPr>
            <a:r>
              <a:rPr lang="sv-SE" b="0" dirty="0"/>
              <a:t>Under mer än två års drift med vätgas har anläggningens säkerhet, funktion och prestanda framgångsrikt demonstrerats.   </a:t>
            </a:r>
          </a:p>
          <a:p>
            <a:pPr marL="171450" indent="-171450">
              <a:buFont typeface="Arial" panose="020B0604020202020204" pitchFamily="34" charset="0"/>
              <a:buChar char="•"/>
            </a:pPr>
            <a:r>
              <a:rPr lang="sv-SE" b="0" dirty="0"/>
              <a:t>Cirka 3 800 timmars drift med vätgas med 94 % tillgänglighet har loggats.  </a:t>
            </a:r>
          </a:p>
          <a:p>
            <a:pPr marL="171450" indent="-171450">
              <a:buFont typeface="Arial" panose="020B0604020202020204" pitchFamily="34" charset="0"/>
              <a:buChar char="•"/>
            </a:pPr>
            <a:r>
              <a:rPr lang="sv-SE" b="0" dirty="0"/>
              <a:t>Trycknivån är maximalt på 250 bar (som motsvarar 2 500 m vattendjup).   </a:t>
            </a:r>
          </a:p>
          <a:p>
            <a:pPr marL="171450" indent="-171450">
              <a:buFont typeface="Arial" panose="020B0604020202020204" pitchFamily="34" charset="0"/>
              <a:buChar char="•"/>
            </a:pPr>
            <a:r>
              <a:rPr lang="sv-SE" b="0" dirty="0"/>
              <a:t>Maximal mängd lagrad vätgas är cirka 2 ton.  </a:t>
            </a:r>
          </a:p>
          <a:p>
            <a:pPr marL="171450" indent="-171450">
              <a:buFont typeface="Arial" panose="020B0604020202020204" pitchFamily="34" charset="0"/>
              <a:buChar char="•"/>
            </a:pPr>
            <a:r>
              <a:rPr lang="sv-SE" b="0" dirty="0"/>
              <a:t>Lagrets design, inklusive bergmassan och inklädnaden, har testats framgångsrikt tillsammans med lagringssystemets processutrustning.   </a:t>
            </a:r>
          </a:p>
          <a:p>
            <a:pPr marL="171450" indent="-171450">
              <a:buFont typeface="Arial" panose="020B0604020202020204" pitchFamily="34" charset="0"/>
              <a:buChar char="•"/>
            </a:pPr>
            <a:r>
              <a:rPr lang="sv-SE" b="0" dirty="0"/>
              <a:t>Lagret har visats vara helt gastätt under hela perioden.  </a:t>
            </a:r>
          </a:p>
          <a:p>
            <a:pPr marL="171450" indent="-171450">
              <a:buFont typeface="Arial" panose="020B0604020202020204" pitchFamily="34" charset="0"/>
              <a:buChar char="•"/>
            </a:pPr>
            <a:r>
              <a:rPr lang="sv-SE" b="0" dirty="0"/>
              <a:t>Pilotlagret har utsatts för accelererade mekaniska tester genom frekventa variationer mellan högt och lågt </a:t>
            </a:r>
            <a:r>
              <a:rPr lang="sv-SE" b="0" dirty="0" err="1"/>
              <a:t>lagertryck</a:t>
            </a:r>
            <a:r>
              <a:rPr lang="sv-SE" b="0" dirty="0"/>
              <a:t>. Genomförda tester motsvarar en förväntad livstid på minst 50 år av ett kommersiellt storskaligt lager.  </a:t>
            </a:r>
          </a:p>
          <a:p>
            <a:pPr marL="171450" indent="-171450">
              <a:buFont typeface="Arial" panose="020B0604020202020204" pitchFamily="34" charset="0"/>
              <a:buChar char="•"/>
            </a:pPr>
            <a:r>
              <a:rPr lang="sv-SE" b="0" dirty="0"/>
              <a:t>Testerna visar på konstruktionens mekaniska stabilitet. De bekräftar även att lagret klarar av att tömmas och fyllas med en så pass hög frekvens och hastighet – som krävs för att matcha svängningarna i elsystemet.  </a:t>
            </a:r>
          </a:p>
          <a:p>
            <a:r>
              <a:rPr lang="sv-SE" dirty="0"/>
              <a:t>  </a:t>
            </a:r>
          </a:p>
          <a:p>
            <a:endParaRPr lang="sv-SE" dirty="0"/>
          </a:p>
        </p:txBody>
      </p:sp>
      <p:sp>
        <p:nvSpPr>
          <p:cNvPr id="4" name="Slide Number Placeholder 3">
            <a:extLst>
              <a:ext uri="{FF2B5EF4-FFF2-40B4-BE49-F238E27FC236}">
                <a16:creationId xmlns:a16="http://schemas.microsoft.com/office/drawing/2014/main" id="{1DA9B802-2DD4-7E20-DA00-661AA433DA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68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18A33-E756-6CAD-788E-790076E8A1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08C97B-417C-7F5B-3973-E2AC6466BF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BC34F3-457A-812B-2D49-D1C44F9C1595}"/>
              </a:ext>
            </a:extLst>
          </p:cNvPr>
          <p:cNvSpPr>
            <a:spLocks noGrp="1"/>
          </p:cNvSpPr>
          <p:nvPr>
            <p:ph type="body" idx="1"/>
          </p:nvPr>
        </p:nvSpPr>
        <p:spPr/>
        <p:txBody>
          <a:bodyPr/>
          <a:lstStyle/>
          <a:p>
            <a:r>
              <a:rPr lang="sv-SE" b="1" dirty="0"/>
              <a:t>Integration av pilotlager med leverantör och förbrukare av vätgas  </a:t>
            </a:r>
          </a:p>
          <a:p>
            <a:endParaRPr lang="sv-SE" dirty="0"/>
          </a:p>
          <a:p>
            <a:r>
              <a:rPr lang="sv-SE" dirty="0"/>
              <a:t>Pilotlagret har integrerats med vätgasproduktion från </a:t>
            </a:r>
            <a:r>
              <a:rPr lang="sv-SE" dirty="0" err="1"/>
              <a:t>elektrolysörer</a:t>
            </a:r>
            <a:r>
              <a:rPr lang="sv-SE" dirty="0"/>
              <a:t>, via en 3 km lång rörledning. Två parallella kolvkompressorer höjer vätgastrycket till transmissionsledningens nivå på 7–9 bar. En separat högtryckskompressor, placerad nära lagret, ökar trycket ytterligare för att minimera längden på högtrycksledningen av säkerhetsskäl.  </a:t>
            </a:r>
          </a:p>
          <a:p>
            <a:endParaRPr lang="sv-SE" dirty="0"/>
          </a:p>
          <a:p>
            <a:r>
              <a:rPr lang="sv-SE" dirty="0"/>
              <a:t>Projektet har levererat vätgas från lagret både till </a:t>
            </a:r>
            <a:r>
              <a:rPr lang="sv-SE" dirty="0" err="1"/>
              <a:t>HYBRIT:s</a:t>
            </a:r>
            <a:r>
              <a:rPr lang="sv-SE" dirty="0"/>
              <a:t> egen pilotanläggning för direktreduktion och till SSAB:s industriella koksgasnät: båda belägna på </a:t>
            </a:r>
            <a:r>
              <a:rPr lang="sv-SE" dirty="0" err="1"/>
              <a:t>Svartöns</a:t>
            </a:r>
            <a:r>
              <a:rPr lang="sv-SE" dirty="0"/>
              <a:t> industriområde i Luleå. Vätgaslagret har visat att det bidrar med en hög leveranssäkerhet till anläggningarna.   </a:t>
            </a:r>
          </a:p>
          <a:p>
            <a:endParaRPr lang="sv-SE" dirty="0"/>
          </a:p>
          <a:p>
            <a:r>
              <a:rPr lang="sv-SE" dirty="0"/>
              <a:t>Projektets tester har visat att vätgaslagringen fungerar i värdekedjan, för att stödja en storskalig vätgasanvändare med tillgänglig leverans av vätgas.  </a:t>
            </a:r>
          </a:p>
          <a:p>
            <a:endParaRPr lang="sv-SE" dirty="0"/>
          </a:p>
          <a:p>
            <a:r>
              <a:rPr lang="sv-SE" dirty="0"/>
              <a:t>Lagret kan också fungera som ett reservsystem, om vätgasproduktionen faller ifrån eller om förbrukaren inte kan ta emot hela den tillgängliga mängden vätgas.</a:t>
            </a:r>
          </a:p>
          <a:p>
            <a:endParaRPr lang="sv-SE" dirty="0"/>
          </a:p>
        </p:txBody>
      </p:sp>
      <p:sp>
        <p:nvSpPr>
          <p:cNvPr id="4" name="Slide Number Placeholder 3">
            <a:extLst>
              <a:ext uri="{FF2B5EF4-FFF2-40B4-BE49-F238E27FC236}">
                <a16:creationId xmlns:a16="http://schemas.microsoft.com/office/drawing/2014/main" id="{145763CC-B274-BEEA-5A89-7A62BF6CA1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182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imuleringar av olika framtida scenarier av elmarknaden utförda av Vattenfall har visat att besparingar på 25-40 procent av den rörliga driftskostnaden är möjliga genom att kombinera vätgasproduktion via elektrolys och storskalig lagring av vätgas. Denna besparing kan man uppnå genom att dra nytta av de variationer i elpris som råder på elmarknaden. </a:t>
            </a:r>
          </a:p>
        </p:txBody>
      </p:sp>
      <p:sp>
        <p:nvSpPr>
          <p:cNvPr id="4" name="Slide Number Placeholder 3"/>
          <p:cNvSpPr>
            <a:spLocks noGrp="1"/>
          </p:cNvSpPr>
          <p:nvPr>
            <p:ph type="sldNum" sz="quarter" idx="5"/>
          </p:nvPr>
        </p:nvSpPr>
        <p:spPr/>
        <p:txBody>
          <a:bodyPr/>
          <a:lstStyle/>
          <a:p>
            <a:fld id="{AB34C131-D2D0-AF4F-8F24-5ABFC19614A6}" type="slidenum">
              <a:rPr lang="sv-SE" smtClean="0"/>
              <a:t>2</a:t>
            </a:fld>
            <a:endParaRPr lang="sv-SE"/>
          </a:p>
        </p:txBody>
      </p:sp>
    </p:spTree>
    <p:extLst>
      <p:ext uri="{BB962C8B-B14F-4D97-AF65-F5344CB8AC3E}">
        <p14:creationId xmlns:p14="http://schemas.microsoft.com/office/powerpoint/2010/main" val="615506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00DB0-2E73-D748-D545-6B03F248F2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F36055-95E2-0DB7-84C5-899300BEED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CB9EE5-84AF-BD65-E2D7-DDED2F8DD6C9}"/>
              </a:ext>
            </a:extLst>
          </p:cNvPr>
          <p:cNvSpPr>
            <a:spLocks noGrp="1"/>
          </p:cNvSpPr>
          <p:nvPr>
            <p:ph type="body" idx="1"/>
          </p:nvPr>
        </p:nvSpPr>
        <p:spPr/>
        <p:txBody>
          <a:bodyPr/>
          <a:lstStyle/>
          <a:p>
            <a:r>
              <a:rPr lang="sv-SE" b="1" dirty="0"/>
              <a:t>Integration av pilotlager mot elmarknaden  </a:t>
            </a:r>
          </a:p>
          <a:p>
            <a:endParaRPr lang="sv-SE" b="0" dirty="0"/>
          </a:p>
          <a:p>
            <a:r>
              <a:rPr lang="sv-SE" b="0" dirty="0"/>
              <a:t>Tester tillsammans med Vattenfall har demonstrerat hur produktion och lagring av vätgas kan integreras i elsystemet (</a:t>
            </a:r>
            <a:r>
              <a:rPr lang="sv-SE" b="0" dirty="0" err="1"/>
              <a:t>Nordpools</a:t>
            </a:r>
            <a:r>
              <a:rPr lang="sv-SE" b="0" dirty="0"/>
              <a:t> spot- och </a:t>
            </a:r>
            <a:r>
              <a:rPr lang="sv-SE" b="0" dirty="0" err="1"/>
              <a:t>intradag</a:t>
            </a:r>
            <a:r>
              <a:rPr lang="sv-SE" b="0" dirty="0"/>
              <a:t>-marknad).   </a:t>
            </a:r>
          </a:p>
          <a:p>
            <a:endParaRPr lang="sv-SE" b="0" dirty="0"/>
          </a:p>
          <a:p>
            <a:r>
              <a:rPr lang="sv-SE" b="0" dirty="0"/>
              <a:t>Drift och styrning av vätgassystemet har fullt ut automatiserats och i realtid integrerats mot </a:t>
            </a:r>
            <a:r>
              <a:rPr lang="sv-SE" b="0" dirty="0" err="1"/>
              <a:t>Nordpool</a:t>
            </a:r>
            <a:r>
              <a:rPr lang="sv-SE" b="0" dirty="0"/>
              <a:t>, på samma sätt som en kommersiell anläggning.  </a:t>
            </a:r>
          </a:p>
          <a:p>
            <a:endParaRPr lang="sv-SE" b="0" dirty="0"/>
          </a:p>
          <a:p>
            <a:r>
              <a:rPr lang="sv-SE" b="0" dirty="0"/>
              <a:t>Besparingar om 26–31 % av den rörliga driftkostnaden har praktiskt kunnat visas.   </a:t>
            </a:r>
          </a:p>
          <a:p>
            <a:endParaRPr lang="sv-SE" b="0" dirty="0"/>
          </a:p>
          <a:p>
            <a:r>
              <a:rPr lang="sv-SE" b="0" dirty="0"/>
              <a:t>Genomförda simuleringar av framtida scenarier för den svenska elmarknaden visar troliga besparingar på cirka 25–40 % av den rörliga driftkostnaden, då de första kommersiella anläggningarna tas i drift.   </a:t>
            </a:r>
          </a:p>
          <a:p>
            <a:endParaRPr lang="sv-SE" b="0" dirty="0"/>
          </a:p>
          <a:p>
            <a:r>
              <a:rPr lang="sv-SE" b="0" dirty="0"/>
              <a:t>Hur stora besparingarna kan bli beror på utvecklingen på elmarknaden, både vad gäller utbyggnad av kraftproduktion och överföringssystemet för el, samt hur den allmänna efterfrågan på el utvecklas.  </a:t>
            </a:r>
          </a:p>
          <a:p>
            <a:endParaRPr lang="sv-SE" b="0" dirty="0"/>
          </a:p>
          <a:p>
            <a:r>
              <a:rPr lang="sv-SE" b="0" dirty="0"/>
              <a:t>Ett vätgaslager möjliggör alltså en flexibel vätgasproduktion baserat på elmarknadens förutsättningar. Ett storskaligt vätgaslager stöttar därmed elsystemet, vilket i förlängningen potentiellt öppnar för ny elproduktion från alla fossilfria kraftslag.  </a:t>
            </a:r>
            <a:endParaRPr lang="sv-SE" dirty="0"/>
          </a:p>
          <a:p>
            <a:r>
              <a:rPr lang="sv-SE" dirty="0"/>
              <a:t>  </a:t>
            </a:r>
          </a:p>
        </p:txBody>
      </p:sp>
      <p:sp>
        <p:nvSpPr>
          <p:cNvPr id="4" name="Slide Number Placeholder 3">
            <a:extLst>
              <a:ext uri="{FF2B5EF4-FFF2-40B4-BE49-F238E27FC236}">
                <a16:creationId xmlns:a16="http://schemas.microsoft.com/office/drawing/2014/main" id="{521DC040-14BB-D75E-C020-C398967ED8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496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A9DD4-FEB7-32F1-5B03-89779D164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76C99D-6755-434C-9A17-5C61678F5B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99CEDD-E4C0-F700-7C12-3B467FE51FE0}"/>
              </a:ext>
            </a:extLst>
          </p:cNvPr>
          <p:cNvSpPr>
            <a:spLocks noGrp="1"/>
          </p:cNvSpPr>
          <p:nvPr>
            <p:ph type="body" idx="1"/>
          </p:nvPr>
        </p:nvSpPr>
        <p:spPr/>
        <p:txBody>
          <a:bodyPr/>
          <a:lstStyle/>
          <a:p>
            <a:r>
              <a:rPr lang="sv-SE" b="1" dirty="0"/>
              <a:t>Säkerhet vid vätgaslagring  </a:t>
            </a:r>
            <a:br>
              <a:rPr lang="sv-SE" dirty="0"/>
            </a:br>
            <a:endParaRPr lang="sv-SE" dirty="0"/>
          </a:p>
          <a:p>
            <a:r>
              <a:rPr lang="sv-SE" dirty="0"/>
              <a:t>En viktig aspekt med vätgaslagring är säkerheten, eftersom vätgas i kontakt med syrgas ger en lättantändlig gas.   </a:t>
            </a:r>
          </a:p>
        </p:txBody>
      </p:sp>
      <p:sp>
        <p:nvSpPr>
          <p:cNvPr id="4" name="Slide Number Placeholder 3">
            <a:extLst>
              <a:ext uri="{FF2B5EF4-FFF2-40B4-BE49-F238E27FC236}">
                <a16:creationId xmlns:a16="http://schemas.microsoft.com/office/drawing/2014/main" id="{48249FDE-1555-0EC3-7AA1-E413CC9182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3817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1ED43A-D18A-CCCC-020A-8FF168AABF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65C1CE-5B80-B708-3396-BBDE286057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78FA50-87B1-B170-39C1-2A2FE2EF1EEB}"/>
              </a:ext>
            </a:extLst>
          </p:cNvPr>
          <p:cNvSpPr>
            <a:spLocks noGrp="1"/>
          </p:cNvSpPr>
          <p:nvPr>
            <p:ph type="body" idx="1"/>
          </p:nvPr>
        </p:nvSpPr>
        <p:spPr/>
        <p:txBody>
          <a:bodyPr/>
          <a:lstStyle/>
          <a:p>
            <a:r>
              <a:rPr lang="sv-SE" dirty="0"/>
              <a:t>Fördelen att lagra vätgas i bergrum är att det inte kan ske någon antändning eller explosioner inuti ett bergrum som är fyllt med 100 procent vätgas.   </a:t>
            </a:r>
          </a:p>
          <a:p>
            <a:endParaRPr lang="sv-SE" dirty="0"/>
          </a:p>
          <a:p>
            <a:r>
              <a:rPr lang="sv-SE" dirty="0"/>
              <a:t>Lagrets djupläge är en viktig aspekt för den totala säkerheten. Även att lagret ligger på rätt djup så att bergmassan med betryggande säkerhet håller emot den uppåtriktade kraften.   </a:t>
            </a:r>
          </a:p>
          <a:p>
            <a:endParaRPr lang="sv-SE" dirty="0"/>
          </a:p>
          <a:p>
            <a:r>
              <a:rPr lang="sv-SE" dirty="0"/>
              <a:t>Materialval och kvalitetskontroll är viktiga aspekter vid byggnationen för att förhindra svagheter i konstruktionen.  </a:t>
            </a:r>
          </a:p>
        </p:txBody>
      </p:sp>
      <p:sp>
        <p:nvSpPr>
          <p:cNvPr id="4" name="Slide Number Placeholder 3">
            <a:extLst>
              <a:ext uri="{FF2B5EF4-FFF2-40B4-BE49-F238E27FC236}">
                <a16:creationId xmlns:a16="http://schemas.microsoft.com/office/drawing/2014/main" id="{42E5D686-7EB9-D6B8-5933-913F2FF9A4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034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C6042-CB0D-DCB5-AEB9-BE8E96A948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2BD7D0-0D57-5586-4D8E-FF2984C96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864D51-8B89-D96C-DF67-5AC557AA64E6}"/>
              </a:ext>
            </a:extLst>
          </p:cNvPr>
          <p:cNvSpPr>
            <a:spLocks noGrp="1"/>
          </p:cNvSpPr>
          <p:nvPr>
            <p:ph type="body" idx="1"/>
          </p:nvPr>
        </p:nvSpPr>
        <p:spPr/>
        <p:txBody>
          <a:bodyPr/>
          <a:lstStyle/>
          <a:p>
            <a:r>
              <a:rPr lang="sv-SE" b="1" dirty="0"/>
              <a:t>Säkerhetssystem  </a:t>
            </a:r>
          </a:p>
          <a:p>
            <a:endParaRPr lang="sv-SE" dirty="0"/>
          </a:p>
          <a:p>
            <a:r>
              <a:rPr lang="sv-SE" dirty="0"/>
              <a:t>Lagret är konstruerat med ett system för snabb detektering av läckande vätgas, samt uppsamling och avledning till säker plats – om det mot förmodan skulle uppstå en vätgasläcka.   </a:t>
            </a:r>
          </a:p>
          <a:p>
            <a:endParaRPr lang="sv-SE" dirty="0"/>
          </a:p>
          <a:p>
            <a:pPr marL="171450" indent="-171450">
              <a:buFont typeface="Arial" panose="020B0604020202020204" pitchFamily="34" charset="0"/>
              <a:buChar char="•"/>
            </a:pPr>
            <a:r>
              <a:rPr lang="sv-SE" dirty="0"/>
              <a:t>Lagret har visats vara gastätt under hela testperioden.   </a:t>
            </a:r>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r>
              <a:rPr lang="sv-SE" dirty="0"/>
              <a:t>Vid tester av säkerhetssystemet med simulerade gasläckage kunde även mycket små läckagemängder detekteras inom kort tid, så snabbt som inom 10 sekunder.  </a:t>
            </a:r>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r>
              <a:rPr lang="sv-SE" dirty="0"/>
              <a:t>Testerna har också verifierat att 90–100 procent av den läckande vätgasen faktiskt samlas in i systemet och kan avledas till säker plats.  </a:t>
            </a:r>
          </a:p>
        </p:txBody>
      </p:sp>
      <p:sp>
        <p:nvSpPr>
          <p:cNvPr id="4" name="Slide Number Placeholder 3">
            <a:extLst>
              <a:ext uri="{FF2B5EF4-FFF2-40B4-BE49-F238E27FC236}">
                <a16:creationId xmlns:a16="http://schemas.microsoft.com/office/drawing/2014/main" id="{C2ABF895-47B6-1032-E21E-797C125A15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51071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A9DD4-FEB7-32F1-5B03-89779D164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76C99D-6755-434C-9A17-5C61678F5B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99CEDD-E4C0-F700-7C12-3B467FE51FE0}"/>
              </a:ext>
            </a:extLst>
          </p:cNvPr>
          <p:cNvSpPr>
            <a:spLocks noGrp="1"/>
          </p:cNvSpPr>
          <p:nvPr>
            <p:ph type="body" idx="1"/>
          </p:nvPr>
        </p:nvSpPr>
        <p:spPr/>
        <p:txBody>
          <a:bodyPr/>
          <a:lstStyle/>
          <a:p>
            <a:r>
              <a:rPr lang="sv-SE" b="1" dirty="0"/>
              <a:t>Vätgaslagring stöttar omställningen till ett fossilfritt samhälle  </a:t>
            </a:r>
          </a:p>
          <a:p>
            <a:endParaRPr lang="sv-SE" dirty="0"/>
          </a:p>
          <a:p>
            <a:r>
              <a:rPr lang="sv-SE" dirty="0"/>
              <a:t>Det finns flera fördelar med storskalig vätgaslagring, både för industriella verksamheter och för elnätet i stort. Den största fördelen är att vätgaslagring stöttar omställningen till ett fossilfritt samhälle, genom att den:  </a:t>
            </a:r>
          </a:p>
        </p:txBody>
      </p:sp>
      <p:sp>
        <p:nvSpPr>
          <p:cNvPr id="4" name="Slide Number Placeholder 3">
            <a:extLst>
              <a:ext uri="{FF2B5EF4-FFF2-40B4-BE49-F238E27FC236}">
                <a16:creationId xmlns:a16="http://schemas.microsoft.com/office/drawing/2014/main" id="{48249FDE-1555-0EC3-7AA1-E413CC9182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647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C6042-CB0D-DCB5-AEB9-BE8E96A948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2BD7D0-0D57-5586-4D8E-FF2984C96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864D51-8B89-D96C-DF67-5AC557AA64E6}"/>
              </a:ext>
            </a:extLst>
          </p:cNvPr>
          <p:cNvSpPr>
            <a:spLocks noGrp="1"/>
          </p:cNvSpPr>
          <p:nvPr>
            <p:ph type="body" idx="1"/>
          </p:nvPr>
        </p:nvSpPr>
        <p:spPr/>
        <p:txBody>
          <a:bodyPr/>
          <a:lstStyle/>
          <a:p>
            <a:r>
              <a:rPr lang="sv-SE" b="1" dirty="0"/>
              <a:t>1. Sänker den rörliga driftkostnaden för vätgasproduktion   </a:t>
            </a:r>
          </a:p>
          <a:p>
            <a:r>
              <a:rPr lang="sv-SE" b="0" dirty="0"/>
              <a:t>Genom att nyttja variationerna i elpriser kan man med vätgaslagring lagra energi när elpriset är lägre – och använda den lagrade energin när elpriset är högre. Det innebär att vätgasproduktionen är igång när priserna är lägre – och pausas när priserna är högre. Då använder man istället vätgas från lagret till sin verksamhet.  </a:t>
            </a:r>
          </a:p>
          <a:p>
            <a:endParaRPr lang="sv-SE" b="0" dirty="0"/>
          </a:p>
          <a:p>
            <a:r>
              <a:rPr lang="sv-SE" b="0" dirty="0"/>
              <a:t>Besparingar på upp till 40 procent av den rörliga driftskostnaden är möjliga, genom storskalig lagring av vätgas. Detta visar simuleringar av olika framtida scenarier av elmarknaden, utförda av Vattenfall. </a:t>
            </a:r>
          </a:p>
          <a:p>
            <a:endParaRPr lang="sv-SE" b="0" dirty="0"/>
          </a:p>
          <a:p>
            <a:r>
              <a:rPr lang="sv-SE" b="1" dirty="0"/>
              <a:t>2. Skapar flexibilitet  </a:t>
            </a:r>
          </a:p>
          <a:p>
            <a:r>
              <a:rPr lang="sv-SE" b="0" dirty="0"/>
              <a:t>Ett vätgaslager skapar flexibilitet för den industriella verksamhet som använder vätgas. Det skapar också robusthet mot störningar i vätgasproduktionen, eftersom det alltid finns vätgas tillgängligt i lagret som kan försörja produktionen.  </a:t>
            </a:r>
          </a:p>
          <a:p>
            <a:endParaRPr lang="sv-SE" b="0" dirty="0"/>
          </a:p>
          <a:p>
            <a:r>
              <a:rPr lang="sv-SE" b="1" dirty="0"/>
              <a:t>3. Stabiliserar elsystemet  </a:t>
            </a:r>
          </a:p>
          <a:p>
            <a:r>
              <a:rPr lang="sv-SE" b="0" dirty="0"/>
              <a:t>Storskalig vätgaslagring gör elsystemet mer robust, genom att balansera elsystemet både när tillgången är god och när efterfrågan är hög. Denna balansering medför i sin tur att perioder med högre elpriser jämnas ut.   </a:t>
            </a:r>
          </a:p>
          <a:p>
            <a:endParaRPr lang="sv-SE" b="0" dirty="0"/>
          </a:p>
          <a:p>
            <a:r>
              <a:rPr lang="sv-SE" b="1" dirty="0"/>
              <a:t>4. Jämnar ut prisvariationer på elmarknaden</a:t>
            </a:r>
          </a:p>
          <a:p>
            <a:r>
              <a:rPr lang="sv-SE" b="0" dirty="0"/>
              <a:t>Jämnar ut prisvariationer i elnätet, vilket skulle gynna investeringar i ny elproduktion från alla fossilfria kraftslag – mer variationer från väderberoende elproduktion kan balanseras i elsystemet </a:t>
            </a:r>
          </a:p>
        </p:txBody>
      </p:sp>
      <p:sp>
        <p:nvSpPr>
          <p:cNvPr id="4" name="Slide Number Placeholder 3">
            <a:extLst>
              <a:ext uri="{FF2B5EF4-FFF2-40B4-BE49-F238E27FC236}">
                <a16:creationId xmlns:a16="http://schemas.microsoft.com/office/drawing/2014/main" id="{C2ABF895-47B6-1032-E21E-797C125A15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35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E2D10-2599-58A5-63D6-F6E75BDAA7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3B13C8-2B84-786B-C715-FA03682171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08992A-A635-702A-C54D-37BAA7C14EB5}"/>
              </a:ext>
            </a:extLst>
          </p:cNvPr>
          <p:cNvSpPr>
            <a:spLocks noGrp="1"/>
          </p:cNvSpPr>
          <p:nvPr>
            <p:ph type="body" idx="1"/>
          </p:nvPr>
        </p:nvSpPr>
        <p:spPr/>
        <p:txBody>
          <a:bodyPr/>
          <a:lstStyle/>
          <a:p>
            <a:r>
              <a:rPr lang="sv-SE" b="1" dirty="0"/>
              <a:t>Nästa steg – en storskalig kommersiell anläggning  </a:t>
            </a:r>
          </a:p>
          <a:p>
            <a:r>
              <a:rPr lang="sv-SE" dirty="0"/>
              <a:t>I och med </a:t>
            </a:r>
            <a:r>
              <a:rPr lang="sv-SE" dirty="0" err="1"/>
              <a:t>HYBRIT:s</a:t>
            </a:r>
            <a:r>
              <a:rPr lang="sv-SE" dirty="0"/>
              <a:t> pilotprojekt har man nu för första gången testat LRC-tekniken för lagring av vätgas och framgångsrikt genomfört en teknikutveckling med design, byggnation och tester i pilotskala.   </a:t>
            </a:r>
          </a:p>
        </p:txBody>
      </p:sp>
      <p:sp>
        <p:nvSpPr>
          <p:cNvPr id="4" name="Slide Number Placeholder 3">
            <a:extLst>
              <a:ext uri="{FF2B5EF4-FFF2-40B4-BE49-F238E27FC236}">
                <a16:creationId xmlns:a16="http://schemas.microsoft.com/office/drawing/2014/main" id="{5B8AFE41-070B-94EB-C9A2-7E1297FE1C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247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dirty="0"/>
              <a:t>Projektet visar att LRC-tekniken för storskalig vätgaslagring:  </a:t>
            </a:r>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r>
              <a:rPr lang="sv-SE" dirty="0"/>
              <a:t>finns tillgänglig </a:t>
            </a:r>
          </a:p>
          <a:p>
            <a:pPr marL="171450" indent="-171450">
              <a:buFont typeface="Arial" panose="020B0604020202020204" pitchFamily="34" charset="0"/>
              <a:buChar char="•"/>
            </a:pPr>
            <a:r>
              <a:rPr lang="sv-SE" dirty="0"/>
              <a:t>är testad och säker  </a:t>
            </a:r>
          </a:p>
          <a:p>
            <a:pPr marL="171450" indent="-171450">
              <a:buFont typeface="Arial" panose="020B0604020202020204" pitchFamily="34" charset="0"/>
              <a:buChar char="•"/>
            </a:pPr>
            <a:r>
              <a:rPr lang="sv-SE" dirty="0"/>
              <a:t>är en viktig pusselbit för omställningen till ett fossilfritt samhälle  </a:t>
            </a:r>
          </a:p>
        </p:txBody>
      </p:sp>
      <p:sp>
        <p:nvSpPr>
          <p:cNvPr id="4" name="Slide Number Placeholder 3"/>
          <p:cNvSpPr>
            <a:spLocks noGrp="1"/>
          </p:cNvSpPr>
          <p:nvPr>
            <p:ph type="sldNum" sz="quarter" idx="5"/>
          </p:nvPr>
        </p:nvSpPr>
        <p:spPr/>
        <p:txBody>
          <a:bodyPr/>
          <a:lstStyle/>
          <a:p>
            <a:fld id="{AB34C131-D2D0-AF4F-8F24-5ABFC19614A6}" type="slidenum">
              <a:rPr lang="sv-SE" smtClean="0"/>
              <a:t>27</a:t>
            </a:fld>
            <a:endParaRPr lang="sv-SE"/>
          </a:p>
        </p:txBody>
      </p:sp>
    </p:spTree>
    <p:extLst>
      <p:ext uri="{BB962C8B-B14F-4D97-AF65-F5344CB8AC3E}">
        <p14:creationId xmlns:p14="http://schemas.microsoft.com/office/powerpoint/2010/main" val="179675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sv-SE" dirty="0"/>
              <a:t>kan bidra till mer robust elsystem  </a:t>
            </a:r>
          </a:p>
          <a:p>
            <a:pPr marL="171450" indent="-171450">
              <a:buFont typeface="Arial" panose="020B0604020202020204" pitchFamily="34" charset="0"/>
              <a:buChar char="•"/>
            </a:pPr>
            <a:r>
              <a:rPr lang="sv-SE" dirty="0"/>
              <a:t>Jämnar ut variationerna på elmarknaden och kan balansera väderberoende elproduktion. Gynnar investering i alla fossilfria kraftslag. </a:t>
            </a:r>
          </a:p>
          <a:p>
            <a:pPr marL="171450" indent="-171450">
              <a:buFont typeface="Arial" panose="020B0604020202020204" pitchFamily="34" charset="0"/>
              <a:buChar char="•"/>
            </a:pPr>
            <a:r>
              <a:rPr lang="sv-SE" dirty="0"/>
              <a:t>är mogen för nästa steg.  </a:t>
            </a:r>
          </a:p>
          <a:p>
            <a:endParaRPr lang="sv-SE" dirty="0"/>
          </a:p>
          <a:p>
            <a:r>
              <a:rPr lang="sv-SE" dirty="0"/>
              <a:t>Ett storskaligt vätgaslager kan minska driftkostnaderna för den fossilfria stålproduktionen, genom att utnyttja variationerna i elpriset.  </a:t>
            </a:r>
          </a:p>
          <a:p>
            <a:endParaRPr lang="sv-SE" dirty="0"/>
          </a:p>
        </p:txBody>
      </p:sp>
      <p:sp>
        <p:nvSpPr>
          <p:cNvPr id="4" name="Slide Number Placeholder 3"/>
          <p:cNvSpPr>
            <a:spLocks noGrp="1"/>
          </p:cNvSpPr>
          <p:nvPr>
            <p:ph type="sldNum" sz="quarter" idx="5"/>
          </p:nvPr>
        </p:nvSpPr>
        <p:spPr/>
        <p:txBody>
          <a:bodyPr/>
          <a:lstStyle/>
          <a:p>
            <a:fld id="{AB34C131-D2D0-AF4F-8F24-5ABFC19614A6}" type="slidenum">
              <a:rPr lang="sv-SE" smtClean="0"/>
              <a:t>28</a:t>
            </a:fld>
            <a:endParaRPr lang="sv-SE"/>
          </a:p>
        </p:txBody>
      </p:sp>
    </p:spTree>
    <p:extLst>
      <p:ext uri="{BB962C8B-B14F-4D97-AF65-F5344CB8AC3E}">
        <p14:creationId xmlns:p14="http://schemas.microsoft.com/office/powerpoint/2010/main" val="30116860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E4BCA-4B80-D337-0598-7B9C8F85B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9EC9D8-5085-4E02-0DD9-9E70E5BC2C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4EAA6A-3097-DFA0-4900-66E033DD8AB9}"/>
              </a:ext>
            </a:extLst>
          </p:cNvPr>
          <p:cNvSpPr>
            <a:spLocks noGrp="1"/>
          </p:cNvSpPr>
          <p:nvPr>
            <p:ph type="body" idx="1"/>
          </p:nvPr>
        </p:nvSpPr>
        <p:spPr/>
        <p:txBody>
          <a:bodyPr/>
          <a:lstStyle/>
          <a:p>
            <a:r>
              <a:rPr lang="sv-SE" dirty="0"/>
              <a:t>Lagringstekniken har stor potential även i andra industriella processer som använder stora mängder vätgas, och över ett stort geografiskt område i Sverige. Tekniken kan naturligtvis också användas internationellt i områden med lämplig geologi. </a:t>
            </a:r>
          </a:p>
          <a:p>
            <a:endParaRPr lang="sv-SE" dirty="0"/>
          </a:p>
          <a:p>
            <a:r>
              <a:rPr lang="sv-SE" dirty="0"/>
              <a:t>Med den kunskap och de erfarenheter som projektet genererat är tekniken bevisad och redo för industrialisering. Detta möjliggör fortsatt utveckling av storskaliga kommersiella anläggningar i storleksordningen 50 000 till 100 000 m³.  </a:t>
            </a:r>
          </a:p>
        </p:txBody>
      </p:sp>
      <p:sp>
        <p:nvSpPr>
          <p:cNvPr id="4" name="Slide Number Placeholder 3">
            <a:extLst>
              <a:ext uri="{FF2B5EF4-FFF2-40B4-BE49-F238E27FC236}">
                <a16:creationId xmlns:a16="http://schemas.microsoft.com/office/drawing/2014/main" id="{6B58000D-83EE-6A65-F4D0-36E245921BDE}"/>
              </a:ext>
            </a:extLst>
          </p:cNvPr>
          <p:cNvSpPr>
            <a:spLocks noGrp="1"/>
          </p:cNvSpPr>
          <p:nvPr>
            <p:ph type="sldNum" sz="quarter" idx="5"/>
          </p:nvPr>
        </p:nvSpPr>
        <p:spPr/>
        <p:txBody>
          <a:bodyPr/>
          <a:lstStyle/>
          <a:p>
            <a:fld id="{AB34C131-D2D0-AF4F-8F24-5ABFC19614A6}" type="slidenum">
              <a:rPr lang="sv-SE" smtClean="0"/>
              <a:t>29</a:t>
            </a:fld>
            <a:endParaRPr lang="sv-SE"/>
          </a:p>
        </p:txBody>
      </p:sp>
    </p:spTree>
    <p:extLst>
      <p:ext uri="{BB962C8B-B14F-4D97-AF65-F5344CB8AC3E}">
        <p14:creationId xmlns:p14="http://schemas.microsoft.com/office/powerpoint/2010/main" val="1748574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02A16-E3BF-CC99-0C9D-8E0EAF0C7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E85629-CFE2-BBC2-65EB-88488A227A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1759B-CF20-CEFB-0B35-1F4EE40DC5D2}"/>
              </a:ext>
            </a:extLst>
          </p:cNvPr>
          <p:cNvSpPr>
            <a:spLocks noGrp="1"/>
          </p:cNvSpPr>
          <p:nvPr>
            <p:ph type="body" idx="1"/>
          </p:nvPr>
        </p:nvSpPr>
        <p:spPr/>
        <p:txBody>
          <a:bodyPr/>
          <a:lstStyle/>
          <a:p>
            <a:r>
              <a:rPr lang="sv-SE" b="1" dirty="0"/>
              <a:t>Klimatmål för en fossilfri framtid </a:t>
            </a:r>
          </a:p>
          <a:p>
            <a:endParaRPr lang="sv-SE" dirty="0"/>
          </a:p>
          <a:p>
            <a:r>
              <a:rPr lang="sv-SE" dirty="0"/>
              <a:t>Europas och Sveriges klimatmål stakar ut vägen mot ett fossilfritt samhälle. För att hålla oss under två graders uppvärmning och nå netto nollutsläpp av växthusgaser från 2045 krävs en omställning av industrin. Idag står stålindustrin för en stor andel av industrins koldioxidutsläpp, motsvarande 7 procent av de globala och över 10 procent av de svenska utsläppen. </a:t>
            </a:r>
          </a:p>
          <a:p>
            <a:endParaRPr lang="sv-SE" dirty="0"/>
          </a:p>
        </p:txBody>
      </p:sp>
      <p:sp>
        <p:nvSpPr>
          <p:cNvPr id="4" name="Slide Number Placeholder 3">
            <a:extLst>
              <a:ext uri="{FF2B5EF4-FFF2-40B4-BE49-F238E27FC236}">
                <a16:creationId xmlns:a16="http://schemas.microsoft.com/office/drawing/2014/main" id="{65A28FF0-77D3-88BF-C94E-6419A552E4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0245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F10B9-1185-0B33-30C5-B34FA85973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2EF6A0-4B0F-CA9C-934A-032F2A95AB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9D60A4-42CE-48EB-A522-5706BC62B7C6}"/>
              </a:ext>
            </a:extLst>
          </p:cNvPr>
          <p:cNvSpPr>
            <a:spLocks noGrp="1"/>
          </p:cNvSpPr>
          <p:nvPr>
            <p:ph type="body" idx="1"/>
          </p:nvPr>
        </p:nvSpPr>
        <p:spPr/>
        <p:txBody>
          <a:bodyPr/>
          <a:lstStyle/>
          <a:p>
            <a:endParaRPr lang="sv-SE" dirty="0"/>
          </a:p>
        </p:txBody>
      </p:sp>
      <p:sp>
        <p:nvSpPr>
          <p:cNvPr id="4" name="Slide Number Placeholder 3">
            <a:extLst>
              <a:ext uri="{FF2B5EF4-FFF2-40B4-BE49-F238E27FC236}">
                <a16:creationId xmlns:a16="http://schemas.microsoft.com/office/drawing/2014/main" id="{D5D9364A-847A-49D3-6135-BF788FDCB8E4}"/>
              </a:ext>
            </a:extLst>
          </p:cNvPr>
          <p:cNvSpPr>
            <a:spLocks noGrp="1"/>
          </p:cNvSpPr>
          <p:nvPr>
            <p:ph type="sldNum" sz="quarter" idx="5"/>
          </p:nvPr>
        </p:nvSpPr>
        <p:spPr/>
        <p:txBody>
          <a:bodyPr/>
          <a:lstStyle/>
          <a:p>
            <a:fld id="{AB34C131-D2D0-AF4F-8F24-5ABFC19614A6}" type="slidenum">
              <a:rPr lang="sv-SE" smtClean="0"/>
              <a:t>30</a:t>
            </a:fld>
            <a:endParaRPr lang="sv-SE"/>
          </a:p>
        </p:txBody>
      </p:sp>
    </p:spTree>
    <p:extLst>
      <p:ext uri="{BB962C8B-B14F-4D97-AF65-F5344CB8AC3E}">
        <p14:creationId xmlns:p14="http://schemas.microsoft.com/office/powerpoint/2010/main" val="23778210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93AB-2565-C9D6-F7CE-6D3404491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175B8-34B8-19ED-5D17-77AC2FB3D7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1EC03B-EBE9-4D18-2ADF-9BDFCC25F217}"/>
              </a:ext>
            </a:extLst>
          </p:cNvPr>
          <p:cNvSpPr>
            <a:spLocks noGrp="1"/>
          </p:cNvSpPr>
          <p:nvPr>
            <p:ph type="body" idx="1"/>
          </p:nvPr>
        </p:nvSpPr>
        <p:spPr/>
        <p:txBody>
          <a:bodyPr/>
          <a:lstStyle/>
          <a:p>
            <a:endParaRPr lang="sv-SE" dirty="0">
              <a:latin typeface="+mn-lt"/>
            </a:endParaRPr>
          </a:p>
        </p:txBody>
      </p:sp>
      <p:sp>
        <p:nvSpPr>
          <p:cNvPr id="4" name="Slide Number Placeholder 3">
            <a:extLst>
              <a:ext uri="{FF2B5EF4-FFF2-40B4-BE49-F238E27FC236}">
                <a16:creationId xmlns:a16="http://schemas.microsoft.com/office/drawing/2014/main" id="{5EAEAC0F-9F7F-17B9-8518-1B39AB08E3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347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9C695-F70E-FC57-031C-7F377F953E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055F5E-96BC-9998-6075-29B03575B8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58B9AF-E683-7C50-E14F-93BD24DC9904}"/>
              </a:ext>
            </a:extLst>
          </p:cNvPr>
          <p:cNvSpPr>
            <a:spLocks noGrp="1"/>
          </p:cNvSpPr>
          <p:nvPr>
            <p:ph type="body" idx="1"/>
          </p:nvPr>
        </p:nvSpPr>
        <p:spPr/>
        <p:txBody>
          <a:bodyPr/>
          <a:lstStyle/>
          <a:p>
            <a:r>
              <a:rPr lang="sv-SE" dirty="0"/>
              <a:t>Dagens stålframställning är beroende av fossilt kol, framför allt för att reducera malm (järnoxid) till rent järn i masugnar. Masugnsprocessen står för cirka 85–90 procent av de totala koldioxidutsläppen vid </a:t>
            </a:r>
            <a:r>
              <a:rPr lang="sv-SE" dirty="0" err="1"/>
              <a:t>malmbaserad</a:t>
            </a:r>
            <a:r>
              <a:rPr lang="sv-SE" dirty="0"/>
              <a:t> stålframställning. </a:t>
            </a:r>
          </a:p>
        </p:txBody>
      </p:sp>
      <p:sp>
        <p:nvSpPr>
          <p:cNvPr id="4" name="Slide Number Placeholder 3">
            <a:extLst>
              <a:ext uri="{FF2B5EF4-FFF2-40B4-BE49-F238E27FC236}">
                <a16:creationId xmlns:a16="http://schemas.microsoft.com/office/drawing/2014/main" id="{5796C2AE-D29E-AE2F-A839-784B698CDA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243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F50F1-B9F9-3FBD-0179-2FA2842EEA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14518C-A78C-0849-26CD-15BEE0E489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B259B-2A1E-C2D1-AB3A-81040EC75CFD}"/>
              </a:ext>
            </a:extLst>
          </p:cNvPr>
          <p:cNvSpPr>
            <a:spLocks noGrp="1"/>
          </p:cNvSpPr>
          <p:nvPr>
            <p:ph type="body" idx="1"/>
          </p:nvPr>
        </p:nvSpPr>
        <p:spPr/>
        <p:txBody>
          <a:bodyPr/>
          <a:lstStyle/>
          <a:p>
            <a:r>
              <a:rPr lang="sv-SE" b="1" dirty="0"/>
              <a:t>HYBRIT – världens första fossilfria stålproduktion  </a:t>
            </a:r>
          </a:p>
          <a:p>
            <a:endParaRPr lang="sv-SE" dirty="0"/>
          </a:p>
          <a:p>
            <a:r>
              <a:rPr lang="sv-SE" dirty="0"/>
              <a:t>HYBRIT (</a:t>
            </a:r>
            <a:r>
              <a:rPr lang="sv-SE" dirty="0" err="1"/>
              <a:t>HYdrogen</a:t>
            </a:r>
            <a:r>
              <a:rPr lang="sv-SE" dirty="0"/>
              <a:t> </a:t>
            </a:r>
            <a:r>
              <a:rPr lang="sv-SE" dirty="0" err="1"/>
              <a:t>BReakthrough</a:t>
            </a:r>
            <a:r>
              <a:rPr lang="sv-SE" dirty="0"/>
              <a:t> </a:t>
            </a:r>
            <a:r>
              <a:rPr lang="sv-SE" dirty="0" err="1"/>
              <a:t>Ironmaking</a:t>
            </a:r>
            <a:r>
              <a:rPr lang="sv-SE" dirty="0"/>
              <a:t> </a:t>
            </a:r>
            <a:r>
              <a:rPr lang="sv-SE" dirty="0" err="1"/>
              <a:t>Technology</a:t>
            </a:r>
            <a:r>
              <a:rPr lang="sv-SE" dirty="0"/>
              <a:t>) är ett samarbete mellan SSAB, LKAB och Vattenfall sedan 2016. Målet är att skapa världens första fossilfria </a:t>
            </a:r>
            <a:r>
              <a:rPr lang="sv-SE" dirty="0" err="1"/>
              <a:t>malmbaserade</a:t>
            </a:r>
            <a:r>
              <a:rPr lang="sv-SE" dirty="0"/>
              <a:t> järn- och ståltillverkning – från gruva till färdigt stål, med fossilfria pellets, fossilfri el och fossilfri vätgas. HYBRIT har genomfört ett flertal studier och pilotprojekt med finansiellt stöd av Energimyndigheten.  </a:t>
            </a:r>
          </a:p>
        </p:txBody>
      </p:sp>
      <p:sp>
        <p:nvSpPr>
          <p:cNvPr id="4" name="Slide Number Placeholder 3">
            <a:extLst>
              <a:ext uri="{FF2B5EF4-FFF2-40B4-BE49-F238E27FC236}">
                <a16:creationId xmlns:a16="http://schemas.microsoft.com/office/drawing/2014/main" id="{D8063EC1-C7E8-18BB-785D-531E95CAF8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0886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CA637E-C2D8-6E06-44B1-0BD9328E41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B1A161-4418-38AD-249C-662122B468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89FC2B-C052-AE31-35E6-4F1548E767A0}"/>
              </a:ext>
            </a:extLst>
          </p:cNvPr>
          <p:cNvSpPr>
            <a:spLocks noGrp="1"/>
          </p:cNvSpPr>
          <p:nvPr>
            <p:ph type="body" idx="1"/>
          </p:nvPr>
        </p:nvSpPr>
        <p:spPr/>
        <p:txBody>
          <a:bodyPr/>
          <a:lstStyle/>
          <a:p>
            <a:r>
              <a:rPr lang="sv-SE" dirty="0"/>
              <a:t>I HYBRIT-processen reduceras järnmalmen med hjälp av fossilfri vätgas, istället för kol. Detta sker i en så kallad direktreduktionsprocess i en reduktionsreaktor. Resultatet blir så kallad järnsvamp (</a:t>
            </a:r>
            <a:r>
              <a:rPr lang="sv-SE" dirty="0" err="1"/>
              <a:t>direktreducerat</a:t>
            </a:r>
            <a:r>
              <a:rPr lang="sv-SE" dirty="0"/>
              <a:t> järn) som är en fast produkt. Vätgasen i processen produceras genom elektrolys av vatten med fossilfri el där restprodukten blir vatten. Sedan smälts järnsvampen i en ljusbågsugn, som drivs med fossilfri el. Den smälta produkten vidareförädlas till fossilfritt stål efter kundernas önskemål.    </a:t>
            </a:r>
          </a:p>
          <a:p>
            <a:endParaRPr lang="sv-SE" dirty="0"/>
          </a:p>
          <a:p>
            <a:r>
              <a:rPr lang="sv-SE" dirty="0"/>
              <a:t>Utsläppen vid traditionell </a:t>
            </a:r>
            <a:r>
              <a:rPr lang="sv-SE" dirty="0" err="1"/>
              <a:t>malmbaserad</a:t>
            </a:r>
            <a:r>
              <a:rPr lang="sv-SE" dirty="0"/>
              <a:t> ståltillverkning är ca 2,2 ton CO2 ekvivalenter per </a:t>
            </a:r>
            <a:r>
              <a:rPr lang="sv-SE" dirty="0" err="1"/>
              <a:t>tonstål</a:t>
            </a:r>
            <a:r>
              <a:rPr lang="sv-SE" dirty="0"/>
              <a:t>, medan den i HYBRIT-processen är nära noll. </a:t>
            </a:r>
          </a:p>
        </p:txBody>
      </p:sp>
      <p:sp>
        <p:nvSpPr>
          <p:cNvPr id="4" name="Slide Number Placeholder 3">
            <a:extLst>
              <a:ext uri="{FF2B5EF4-FFF2-40B4-BE49-F238E27FC236}">
                <a16:creationId xmlns:a16="http://schemas.microsoft.com/office/drawing/2014/main" id="{53D4A247-6455-6378-AE4D-1DB1FFDD4E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87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ADE5C-3070-BC43-C21F-8A407DDE53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9ACC3-877D-B170-E104-67BE7AF639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710BC1-9265-046B-62E9-90A6D175BF58}"/>
              </a:ext>
            </a:extLst>
          </p:cNvPr>
          <p:cNvSpPr>
            <a:spLocks noGrp="1"/>
          </p:cNvSpPr>
          <p:nvPr>
            <p:ph type="body" idx="1"/>
          </p:nvPr>
        </p:nvSpPr>
        <p:spPr/>
        <p:txBody>
          <a:bodyPr/>
          <a:lstStyle/>
          <a:p>
            <a:r>
              <a:rPr lang="sv-SE" b="1" dirty="0"/>
              <a:t>Industriell produktion i det framtida elsystemet  </a:t>
            </a:r>
          </a:p>
          <a:p>
            <a:endParaRPr lang="sv-SE" dirty="0"/>
          </a:p>
          <a:p>
            <a:r>
              <a:rPr lang="sv-SE" dirty="0"/>
              <a:t>Utmaningen med en storskalig industriell produktion av fossilfritt stål med vätgas är att processen kräver stora mängder el. I dagens elsystem varierar både produktion och efterfrågan på el över dygnet, mellan veckans dagar och mellan årets säsonger.  </a:t>
            </a:r>
          </a:p>
          <a:p>
            <a:endParaRPr lang="sv-SE" dirty="0"/>
          </a:p>
          <a:p>
            <a:r>
              <a:rPr lang="sv-SE" dirty="0"/>
              <a:t>Dessa variationer i balansen mellan utbud och efterfrågan på el leder till variationer i elpriset. I det framtida elsystemet förväntas variationerna på framför allt produktionssidan att öka – i takt med att andelen väderberoende kraftslag, som vind och sol, blir större i elnätet. Då förväntas även variationerna i priset på el att öka och därmed efterfrågan på flexibilitet.   </a:t>
            </a:r>
          </a:p>
          <a:p>
            <a:endParaRPr lang="sv-SE" dirty="0"/>
          </a:p>
        </p:txBody>
      </p:sp>
      <p:sp>
        <p:nvSpPr>
          <p:cNvPr id="4" name="Slide Number Placeholder 3">
            <a:extLst>
              <a:ext uri="{FF2B5EF4-FFF2-40B4-BE49-F238E27FC236}">
                <a16:creationId xmlns:a16="http://schemas.microsoft.com/office/drawing/2014/main" id="{EDBAEA32-97BC-6FBA-B86A-5A5B246168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974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CDC35-EB34-755F-32C5-784AD6C61B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E883C8-1859-16A0-E9DB-DEB7D20426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5D4F52-F09B-F31D-4E57-10FC77F272D1}"/>
              </a:ext>
            </a:extLst>
          </p:cNvPr>
          <p:cNvSpPr>
            <a:spLocks noGrp="1"/>
          </p:cNvSpPr>
          <p:nvPr>
            <p:ph type="body" idx="1"/>
          </p:nvPr>
        </p:nvSpPr>
        <p:spPr/>
        <p:txBody>
          <a:bodyPr/>
          <a:lstStyle/>
          <a:p>
            <a:r>
              <a:rPr lang="sv-SE" b="1" dirty="0"/>
              <a:t>Vätgaslagring reducerar den rörliga kostnaden för vätgasproduktion  </a:t>
            </a:r>
          </a:p>
          <a:p>
            <a:endParaRPr lang="sv-SE" dirty="0"/>
          </a:p>
          <a:p>
            <a:r>
              <a:rPr lang="sv-SE" dirty="0"/>
              <a:t>För att hantera och dra nytta av de varierande elpriserna ingår vätgaslagring som en del i </a:t>
            </a:r>
            <a:r>
              <a:rPr lang="sv-SE" dirty="0" err="1"/>
              <a:t>HYBRIT:s</a:t>
            </a:r>
            <a:r>
              <a:rPr lang="sv-SE" dirty="0"/>
              <a:t> värdekedja för produktion av fossilfritt järn och stål.   </a:t>
            </a:r>
          </a:p>
        </p:txBody>
      </p:sp>
      <p:sp>
        <p:nvSpPr>
          <p:cNvPr id="4" name="Slide Number Placeholder 3">
            <a:extLst>
              <a:ext uri="{FF2B5EF4-FFF2-40B4-BE49-F238E27FC236}">
                <a16:creationId xmlns:a16="http://schemas.microsoft.com/office/drawing/2014/main" id="{9130258F-8705-10E8-EC93-E60364629D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4C131-D2D0-AF4F-8F24-5ABFC19614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903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sv-SE" dirty="0"/>
              <a:t>Med ett vätgaslager skapas flexibilitet i den industriella processen. Genom att investera i ett vätgaslager och viss överkapacitet i vätgasproduktionen, kan perioder av låga elpriser nyttjas till att producera ett överskott av vätgas som sedan lagras parallellt med att den industriella processen förses med vätgas. </a:t>
            </a:r>
          </a:p>
          <a:p>
            <a:endParaRPr lang="sv-SE" dirty="0"/>
          </a:p>
        </p:txBody>
      </p:sp>
      <p:sp>
        <p:nvSpPr>
          <p:cNvPr id="4" name="Slide Number Placeholder 3"/>
          <p:cNvSpPr>
            <a:spLocks noGrp="1"/>
          </p:cNvSpPr>
          <p:nvPr>
            <p:ph type="sldNum" sz="quarter" idx="5"/>
          </p:nvPr>
        </p:nvSpPr>
        <p:spPr/>
        <p:txBody>
          <a:bodyPr/>
          <a:lstStyle/>
          <a:p>
            <a:fld id="{AB34C131-D2D0-AF4F-8F24-5ABFC19614A6}" type="slidenum">
              <a:rPr lang="sv-SE" smtClean="0"/>
              <a:t>9</a:t>
            </a:fld>
            <a:endParaRPr lang="sv-SE"/>
          </a:p>
        </p:txBody>
      </p:sp>
    </p:spTree>
    <p:extLst>
      <p:ext uri="{BB962C8B-B14F-4D97-AF65-F5344CB8AC3E}">
        <p14:creationId xmlns:p14="http://schemas.microsoft.com/office/powerpoint/2010/main" val="762821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996534"/>
            <a:ext cx="9144000" cy="830997"/>
          </a:xfrm>
        </p:spPr>
        <p:txBody>
          <a:bodyPr anchor="ctr" anchorCtr="0">
            <a:spAutoFit/>
          </a:bodyPr>
          <a:lstStyle>
            <a:lvl1pPr algn="ctr">
              <a:defRPr sz="6000">
                <a:solidFill>
                  <a:schemeClr val="tx1"/>
                </a:solidFill>
              </a:defRPr>
            </a:lvl1pPr>
          </a:lstStyle>
          <a:p>
            <a:r>
              <a:rPr lang="sv-SE"/>
              <a:t>Presentation </a:t>
            </a:r>
            <a:r>
              <a:rPr lang="sv-SE" err="1"/>
              <a:t>title</a:t>
            </a:r>
            <a:endParaRPr lang="sv-SE"/>
          </a:p>
        </p:txBody>
      </p:sp>
      <p:pic>
        <p:nvPicPr>
          <p:cNvPr id="8" name="Bildobjekt 7">
            <a:extLst>
              <a:ext uri="{FF2B5EF4-FFF2-40B4-BE49-F238E27FC236}">
                <a16:creationId xmlns:a16="http://schemas.microsoft.com/office/drawing/2014/main" id="{3C12348A-A10B-46B6-A0A0-B5F223A7806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661685" y="6201958"/>
            <a:ext cx="6885980" cy="656042"/>
          </a:xfrm>
          <a:prstGeom prst="rect">
            <a:avLst/>
          </a:prstGeom>
        </p:spPr>
      </p:pic>
    </p:spTree>
    <p:extLst>
      <p:ext uri="{BB962C8B-B14F-4D97-AF65-F5344CB8AC3E}">
        <p14:creationId xmlns:p14="http://schemas.microsoft.com/office/powerpoint/2010/main" val="1937111990"/>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ing and two block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98075"/>
            <a:ext cx="10072645" cy="1171704"/>
          </a:xfrm>
        </p:spPr>
        <p:txBody>
          <a:bodyPr/>
          <a:lstStyle>
            <a:lvl1pPr>
              <a:defRPr/>
            </a:lvl1pPr>
          </a:lstStyle>
          <a:p>
            <a:r>
              <a:rPr lang="sv-SE" err="1"/>
              <a:t>Heading</a:t>
            </a:r>
            <a:endParaRPr lang="sv-SE"/>
          </a:p>
        </p:txBody>
      </p:sp>
      <p:sp>
        <p:nvSpPr>
          <p:cNvPr id="13" name="Platshållare för innehåll 12">
            <a:extLst>
              <a:ext uri="{FF2B5EF4-FFF2-40B4-BE49-F238E27FC236}">
                <a16:creationId xmlns:a16="http://schemas.microsoft.com/office/drawing/2014/main" id="{19E2C2B4-592D-4CE2-8797-3A6C22810726}"/>
              </a:ext>
            </a:extLst>
          </p:cNvPr>
          <p:cNvSpPr>
            <a:spLocks noGrp="1"/>
          </p:cNvSpPr>
          <p:nvPr>
            <p:ph sz="quarter" idx="20" hasCustomPrompt="1"/>
          </p:nvPr>
        </p:nvSpPr>
        <p:spPr>
          <a:xfrm>
            <a:off x="1063625" y="2150325"/>
            <a:ext cx="4932000" cy="4176000"/>
          </a:xfrm>
        </p:spPr>
        <p:txBody>
          <a:bodyPr/>
          <a:lstStyle>
            <a:lvl1pPr>
              <a:defRPr/>
            </a:lvl1pPr>
            <a:lvl2pPr>
              <a:defRPr/>
            </a:lvl2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17" name="Platshållare för innehåll 16">
            <a:extLst>
              <a:ext uri="{FF2B5EF4-FFF2-40B4-BE49-F238E27FC236}">
                <a16:creationId xmlns:a16="http://schemas.microsoft.com/office/drawing/2014/main" id="{2588241F-EF75-4BA1-BD99-68BAC43D094E}"/>
              </a:ext>
            </a:extLst>
          </p:cNvPr>
          <p:cNvSpPr>
            <a:spLocks noGrp="1"/>
          </p:cNvSpPr>
          <p:nvPr>
            <p:ph sz="quarter" idx="21" hasCustomPrompt="1"/>
          </p:nvPr>
        </p:nvSpPr>
        <p:spPr>
          <a:xfrm>
            <a:off x="6210917" y="2150325"/>
            <a:ext cx="4925395" cy="4176000"/>
          </a:xfrm>
        </p:spPr>
        <p:txBody>
          <a:bodyPr/>
          <a:lstStyle>
            <a:lvl1pPr>
              <a:defRPr/>
            </a:lvl1pPr>
            <a:lvl2pPr>
              <a:defRPr/>
            </a:lvl2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6" name="Platshållare för datum 5">
            <a:extLst>
              <a:ext uri="{FF2B5EF4-FFF2-40B4-BE49-F238E27FC236}">
                <a16:creationId xmlns:a16="http://schemas.microsoft.com/office/drawing/2014/main" id="{4497BD57-7A69-4D5C-B4DA-B099BDE9182F}"/>
              </a:ext>
            </a:extLst>
          </p:cNvPr>
          <p:cNvSpPr>
            <a:spLocks noGrp="1"/>
          </p:cNvSpPr>
          <p:nvPr>
            <p:ph type="dt" sz="half" idx="22"/>
          </p:nvPr>
        </p:nvSpPr>
        <p:spPr/>
        <p:txBody>
          <a:bodyPr/>
          <a:lstStyle/>
          <a:p>
            <a:fld id="{73101871-5018-4A2B-8F27-2FF3AFE8D068}" type="datetime1">
              <a:rPr lang="sv-SE" smtClean="0"/>
              <a:t>2025-05-20</a:t>
            </a:fld>
            <a:endParaRPr lang="sv-SE"/>
          </a:p>
        </p:txBody>
      </p:sp>
      <p:sp>
        <p:nvSpPr>
          <p:cNvPr id="7" name="Platshållare för sidfot 6">
            <a:extLst>
              <a:ext uri="{FF2B5EF4-FFF2-40B4-BE49-F238E27FC236}">
                <a16:creationId xmlns:a16="http://schemas.microsoft.com/office/drawing/2014/main" id="{0C764F64-1D3D-483F-977C-52F6E3CBF277}"/>
              </a:ext>
            </a:extLst>
          </p:cNvPr>
          <p:cNvSpPr>
            <a:spLocks noGrp="1"/>
          </p:cNvSpPr>
          <p:nvPr>
            <p:ph type="ftr" sz="quarter" idx="23"/>
          </p:nvPr>
        </p:nvSpPr>
        <p:spPr/>
        <p:txBody>
          <a:bodyPr/>
          <a:lstStyle/>
          <a:p>
            <a:r>
              <a:rPr lang="en-US"/>
              <a:t>External</a:t>
            </a:r>
            <a:endParaRPr lang="sv-SE"/>
          </a:p>
        </p:txBody>
      </p:sp>
      <p:sp>
        <p:nvSpPr>
          <p:cNvPr id="8" name="Platshållare för bildnummer 7">
            <a:extLst>
              <a:ext uri="{FF2B5EF4-FFF2-40B4-BE49-F238E27FC236}">
                <a16:creationId xmlns:a16="http://schemas.microsoft.com/office/drawing/2014/main" id="{E5C646AF-F7D0-4791-BC24-DBA4FEA26259}"/>
              </a:ext>
            </a:extLst>
          </p:cNvPr>
          <p:cNvSpPr>
            <a:spLocks noGrp="1"/>
          </p:cNvSpPr>
          <p:nvPr>
            <p:ph type="sldNum" sz="quarter" idx="24"/>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198711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ing and 4 blocks, green and blue">
    <p:spTree>
      <p:nvGrpSpPr>
        <p:cNvPr id="1" name=""/>
        <p:cNvGrpSpPr/>
        <p:nvPr/>
      </p:nvGrpSpPr>
      <p:grpSpPr>
        <a:xfrm>
          <a:off x="0" y="0"/>
          <a:ext cx="0" cy="0"/>
          <a:chOff x="0" y="0"/>
          <a:chExt cx="0" cy="0"/>
        </a:xfrm>
      </p:grpSpPr>
      <p:sp>
        <p:nvSpPr>
          <p:cNvPr id="37" name="Rektangel 36">
            <a:extLst>
              <a:ext uri="{FF2B5EF4-FFF2-40B4-BE49-F238E27FC236}">
                <a16:creationId xmlns:a16="http://schemas.microsoft.com/office/drawing/2014/main" id="{B8B0BD90-7256-4EE7-A2FC-B14F05F0625B}"/>
              </a:ext>
            </a:extLst>
          </p:cNvPr>
          <p:cNvSpPr/>
          <p:nvPr userDrawn="1"/>
        </p:nvSpPr>
        <p:spPr>
          <a:xfrm>
            <a:off x="8729221" y="2160780"/>
            <a:ext cx="2413457" cy="38971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Platshållare för text 10">
            <a:extLst>
              <a:ext uri="{FF2B5EF4-FFF2-40B4-BE49-F238E27FC236}">
                <a16:creationId xmlns:a16="http://schemas.microsoft.com/office/drawing/2014/main" id="{B532AA24-4DE9-4E1E-955F-9E39DFA3838C}"/>
              </a:ext>
            </a:extLst>
          </p:cNvPr>
          <p:cNvSpPr>
            <a:spLocks noGrp="1"/>
          </p:cNvSpPr>
          <p:nvPr>
            <p:ph type="body" sz="quarter" idx="28" hasCustomPrompt="1"/>
          </p:nvPr>
        </p:nvSpPr>
        <p:spPr>
          <a:xfrm>
            <a:off x="8980818" y="2349977"/>
            <a:ext cx="2081122" cy="562606"/>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34" name="Rektangel 33">
            <a:extLst>
              <a:ext uri="{FF2B5EF4-FFF2-40B4-BE49-F238E27FC236}">
                <a16:creationId xmlns:a16="http://schemas.microsoft.com/office/drawing/2014/main" id="{82019FB4-DEE8-43D4-A0B2-42C40DE21686}"/>
              </a:ext>
            </a:extLst>
          </p:cNvPr>
          <p:cNvSpPr/>
          <p:nvPr userDrawn="1"/>
        </p:nvSpPr>
        <p:spPr>
          <a:xfrm>
            <a:off x="6173377" y="2160779"/>
            <a:ext cx="2413457" cy="3899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ektangel 30">
            <a:extLst>
              <a:ext uri="{FF2B5EF4-FFF2-40B4-BE49-F238E27FC236}">
                <a16:creationId xmlns:a16="http://schemas.microsoft.com/office/drawing/2014/main" id="{23C9F3D2-C845-40E9-80EA-EE1D9288C17C}"/>
              </a:ext>
            </a:extLst>
          </p:cNvPr>
          <p:cNvSpPr/>
          <p:nvPr userDrawn="1"/>
        </p:nvSpPr>
        <p:spPr>
          <a:xfrm>
            <a:off x="3605657" y="2160780"/>
            <a:ext cx="2413457" cy="3897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2" name="Platshållare för text 10">
            <a:extLst>
              <a:ext uri="{FF2B5EF4-FFF2-40B4-BE49-F238E27FC236}">
                <a16:creationId xmlns:a16="http://schemas.microsoft.com/office/drawing/2014/main" id="{ED7A2409-B7BA-4694-B981-F4D063EFC46F}"/>
              </a:ext>
            </a:extLst>
          </p:cNvPr>
          <p:cNvSpPr>
            <a:spLocks noGrp="1"/>
          </p:cNvSpPr>
          <p:nvPr>
            <p:ph type="body" sz="quarter" idx="24" hasCustomPrompt="1"/>
          </p:nvPr>
        </p:nvSpPr>
        <p:spPr>
          <a:xfrm>
            <a:off x="3884147" y="2349977"/>
            <a:ext cx="1989983" cy="562606"/>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30" name="Rektangel 29">
            <a:extLst>
              <a:ext uri="{FF2B5EF4-FFF2-40B4-BE49-F238E27FC236}">
                <a16:creationId xmlns:a16="http://schemas.microsoft.com/office/drawing/2014/main" id="{2FCCD665-0BBB-4583-AE41-207F424C22BF}"/>
              </a:ext>
            </a:extLst>
          </p:cNvPr>
          <p:cNvSpPr/>
          <p:nvPr userDrawn="1"/>
        </p:nvSpPr>
        <p:spPr>
          <a:xfrm>
            <a:off x="1070687" y="2160780"/>
            <a:ext cx="2413457" cy="38971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Platshållare för text 10">
            <a:extLst>
              <a:ext uri="{FF2B5EF4-FFF2-40B4-BE49-F238E27FC236}">
                <a16:creationId xmlns:a16="http://schemas.microsoft.com/office/drawing/2014/main" id="{A925EA6F-A06A-4C83-94D7-D2B0A85A7CAC}"/>
              </a:ext>
            </a:extLst>
          </p:cNvPr>
          <p:cNvSpPr>
            <a:spLocks noGrp="1"/>
          </p:cNvSpPr>
          <p:nvPr>
            <p:ph type="body" sz="quarter" idx="17" hasCustomPrompt="1"/>
          </p:nvPr>
        </p:nvSpPr>
        <p:spPr>
          <a:xfrm>
            <a:off x="1349176" y="2349977"/>
            <a:ext cx="2003624" cy="562605"/>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51637" y="686200"/>
            <a:ext cx="10084675" cy="1171704"/>
          </a:xfrm>
        </p:spPr>
        <p:txBody>
          <a:bodyPr/>
          <a:lstStyle>
            <a:lvl1pPr>
              <a:defRPr/>
            </a:lvl1pPr>
          </a:lstStyle>
          <a:p>
            <a:r>
              <a:rPr lang="sv-SE" err="1"/>
              <a:t>Heading</a:t>
            </a:r>
            <a:endParaRPr lang="sv-SE"/>
          </a:p>
        </p:txBody>
      </p:sp>
      <p:sp>
        <p:nvSpPr>
          <p:cNvPr id="23" name="Triangel 17">
            <a:extLst>
              <a:ext uri="{FF2B5EF4-FFF2-40B4-BE49-F238E27FC236}">
                <a16:creationId xmlns:a16="http://schemas.microsoft.com/office/drawing/2014/main" id="{FA035411-7E06-4942-877E-E90CB9C501E3}"/>
              </a:ext>
            </a:extLst>
          </p:cNvPr>
          <p:cNvSpPr/>
          <p:nvPr userDrawn="1"/>
        </p:nvSpPr>
        <p:spPr>
          <a:xfrm rot="5400000">
            <a:off x="3879096" y="305494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Triangel 17">
            <a:extLst>
              <a:ext uri="{FF2B5EF4-FFF2-40B4-BE49-F238E27FC236}">
                <a16:creationId xmlns:a16="http://schemas.microsoft.com/office/drawing/2014/main" id="{61DFD7BC-FB5C-4FC2-BBF1-EEA3C04EA358}"/>
              </a:ext>
            </a:extLst>
          </p:cNvPr>
          <p:cNvSpPr/>
          <p:nvPr userDrawn="1"/>
        </p:nvSpPr>
        <p:spPr>
          <a:xfrm rot="5400000">
            <a:off x="6433369" y="3054939"/>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Triangel 17">
            <a:extLst>
              <a:ext uri="{FF2B5EF4-FFF2-40B4-BE49-F238E27FC236}">
                <a16:creationId xmlns:a16="http://schemas.microsoft.com/office/drawing/2014/main" id="{D839DB3F-5ABE-48BF-870A-2B271BC72EAC}"/>
              </a:ext>
            </a:extLst>
          </p:cNvPr>
          <p:cNvSpPr/>
          <p:nvPr userDrawn="1"/>
        </p:nvSpPr>
        <p:spPr>
          <a:xfrm rot="5400000">
            <a:off x="8975767" y="3061008"/>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Platshållare för text 10">
            <a:extLst>
              <a:ext uri="{FF2B5EF4-FFF2-40B4-BE49-F238E27FC236}">
                <a16:creationId xmlns:a16="http://schemas.microsoft.com/office/drawing/2014/main" id="{D911B424-1444-48A3-8D73-22EA44167F09}"/>
              </a:ext>
            </a:extLst>
          </p:cNvPr>
          <p:cNvSpPr>
            <a:spLocks noGrp="1"/>
          </p:cNvSpPr>
          <p:nvPr>
            <p:ph type="body" sz="quarter" idx="26" hasCustomPrompt="1"/>
          </p:nvPr>
        </p:nvSpPr>
        <p:spPr>
          <a:xfrm>
            <a:off x="6438420" y="2349977"/>
            <a:ext cx="1991775" cy="562606"/>
          </a:xfrm>
          <a:noFill/>
        </p:spPr>
        <p:txBody>
          <a:bodyPr lIns="0" tIns="0" rIns="25200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14" name="Platshållare för innehåll 13">
            <a:extLst>
              <a:ext uri="{FF2B5EF4-FFF2-40B4-BE49-F238E27FC236}">
                <a16:creationId xmlns:a16="http://schemas.microsoft.com/office/drawing/2014/main" id="{CEC84391-C764-43DD-938E-14C19238D379}"/>
              </a:ext>
            </a:extLst>
          </p:cNvPr>
          <p:cNvSpPr>
            <a:spLocks noGrp="1"/>
          </p:cNvSpPr>
          <p:nvPr>
            <p:ph sz="quarter" idx="33" hasCustomPrompt="1"/>
          </p:nvPr>
        </p:nvSpPr>
        <p:spPr>
          <a:xfrm>
            <a:off x="1349375"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err="1"/>
              <a:t>Click</a:t>
            </a:r>
            <a:r>
              <a:rPr lang="sv-SE"/>
              <a:t>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p:txBody>
      </p:sp>
      <p:sp>
        <p:nvSpPr>
          <p:cNvPr id="40" name="Platshållare för innehåll 13">
            <a:extLst>
              <a:ext uri="{FF2B5EF4-FFF2-40B4-BE49-F238E27FC236}">
                <a16:creationId xmlns:a16="http://schemas.microsoft.com/office/drawing/2014/main" id="{3489BEC6-D2B1-45A4-B450-BE5AB6BFA4BE}"/>
              </a:ext>
            </a:extLst>
          </p:cNvPr>
          <p:cNvSpPr>
            <a:spLocks noGrp="1"/>
          </p:cNvSpPr>
          <p:nvPr>
            <p:ph sz="quarter" idx="34" hasCustomPrompt="1"/>
          </p:nvPr>
        </p:nvSpPr>
        <p:spPr>
          <a:xfrm>
            <a:off x="3884147"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p:txBody>
      </p:sp>
      <p:sp>
        <p:nvSpPr>
          <p:cNvPr id="41" name="Platshållare för innehåll 13">
            <a:extLst>
              <a:ext uri="{FF2B5EF4-FFF2-40B4-BE49-F238E27FC236}">
                <a16:creationId xmlns:a16="http://schemas.microsoft.com/office/drawing/2014/main" id="{03CEFC0A-E4D2-4729-B40E-97715AF34D9E}"/>
              </a:ext>
            </a:extLst>
          </p:cNvPr>
          <p:cNvSpPr>
            <a:spLocks noGrp="1"/>
          </p:cNvSpPr>
          <p:nvPr>
            <p:ph sz="quarter" idx="35" hasCustomPrompt="1"/>
          </p:nvPr>
        </p:nvSpPr>
        <p:spPr>
          <a:xfrm>
            <a:off x="6438420" y="3306054"/>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marL="0" marR="0" lvl="0" indent="0" algn="l" defTabSz="914400" rtl="0" eaLnBrk="1" fontAlgn="auto" latinLnBrk="0" hangingPunct="1">
              <a:lnSpc>
                <a:spcPct val="110000"/>
              </a:lnSpc>
              <a:spcBef>
                <a:spcPts val="0"/>
              </a:spcBef>
              <a:spcAft>
                <a:spcPts val="1200"/>
              </a:spcAft>
              <a:buClr>
                <a:schemeClr val="tx2"/>
              </a:buClr>
              <a:buSzPct val="80000"/>
              <a:buFont typeface="Arial" panose="020B0604020202020204" pitchFamily="34" charset="0"/>
              <a:buNone/>
              <a:tabLst/>
              <a:defRPr/>
            </a:pPr>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p:txBody>
      </p:sp>
      <p:sp>
        <p:nvSpPr>
          <p:cNvPr id="42" name="Platshållare för innehåll 13">
            <a:extLst>
              <a:ext uri="{FF2B5EF4-FFF2-40B4-BE49-F238E27FC236}">
                <a16:creationId xmlns:a16="http://schemas.microsoft.com/office/drawing/2014/main" id="{B135EFBA-697B-4CFF-89E3-0663B0D032D9}"/>
              </a:ext>
            </a:extLst>
          </p:cNvPr>
          <p:cNvSpPr>
            <a:spLocks noGrp="1"/>
          </p:cNvSpPr>
          <p:nvPr>
            <p:ph sz="quarter" idx="36" hasCustomPrompt="1"/>
          </p:nvPr>
        </p:nvSpPr>
        <p:spPr>
          <a:xfrm>
            <a:off x="8980818"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p:txBody>
      </p:sp>
      <p:sp>
        <p:nvSpPr>
          <p:cNvPr id="22" name="Triangel 17">
            <a:extLst>
              <a:ext uri="{FF2B5EF4-FFF2-40B4-BE49-F238E27FC236}">
                <a16:creationId xmlns:a16="http://schemas.microsoft.com/office/drawing/2014/main" id="{8CDED82A-6489-4B58-A3DF-A58A00663E0C}"/>
              </a:ext>
            </a:extLst>
          </p:cNvPr>
          <p:cNvSpPr/>
          <p:nvPr userDrawn="1"/>
        </p:nvSpPr>
        <p:spPr>
          <a:xfrm rot="5400000">
            <a:off x="1384361" y="305494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Platshållare för datum 5">
            <a:extLst>
              <a:ext uri="{FF2B5EF4-FFF2-40B4-BE49-F238E27FC236}">
                <a16:creationId xmlns:a16="http://schemas.microsoft.com/office/drawing/2014/main" id="{382077A6-FFC5-41B9-892B-EB32994AC650}"/>
              </a:ext>
            </a:extLst>
          </p:cNvPr>
          <p:cNvSpPr>
            <a:spLocks noGrp="1"/>
          </p:cNvSpPr>
          <p:nvPr>
            <p:ph type="dt" sz="half" idx="37"/>
          </p:nvPr>
        </p:nvSpPr>
        <p:spPr/>
        <p:txBody>
          <a:bodyPr/>
          <a:lstStyle/>
          <a:p>
            <a:fld id="{5B37D629-B65A-4E2C-A748-FAFE33224F8B}" type="datetime1">
              <a:rPr lang="sv-SE" smtClean="0"/>
              <a:t>2025-05-20</a:t>
            </a:fld>
            <a:endParaRPr lang="sv-SE"/>
          </a:p>
        </p:txBody>
      </p:sp>
      <p:sp>
        <p:nvSpPr>
          <p:cNvPr id="7" name="Platshållare för sidfot 6">
            <a:extLst>
              <a:ext uri="{FF2B5EF4-FFF2-40B4-BE49-F238E27FC236}">
                <a16:creationId xmlns:a16="http://schemas.microsoft.com/office/drawing/2014/main" id="{4ADBB7BE-22B9-4D81-BFC0-41064263F2B7}"/>
              </a:ext>
            </a:extLst>
          </p:cNvPr>
          <p:cNvSpPr>
            <a:spLocks noGrp="1"/>
          </p:cNvSpPr>
          <p:nvPr>
            <p:ph type="ftr" sz="quarter" idx="38"/>
          </p:nvPr>
        </p:nvSpPr>
        <p:spPr/>
        <p:txBody>
          <a:bodyPr/>
          <a:lstStyle/>
          <a:p>
            <a:r>
              <a:rPr lang="en-US"/>
              <a:t>External</a:t>
            </a:r>
            <a:endParaRPr lang="sv-SE"/>
          </a:p>
        </p:txBody>
      </p:sp>
      <p:sp>
        <p:nvSpPr>
          <p:cNvPr id="8" name="Platshållare för bildnummer 7">
            <a:extLst>
              <a:ext uri="{FF2B5EF4-FFF2-40B4-BE49-F238E27FC236}">
                <a16:creationId xmlns:a16="http://schemas.microsoft.com/office/drawing/2014/main" id="{7D45B395-C5C0-4E14-80CB-A2E7440D6EAF}"/>
              </a:ext>
            </a:extLst>
          </p:cNvPr>
          <p:cNvSpPr>
            <a:spLocks noGrp="1"/>
          </p:cNvSpPr>
          <p:nvPr>
            <p:ph type="sldNum" sz="quarter" idx="39"/>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713218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ing and four white blocks">
    <p:spTree>
      <p:nvGrpSpPr>
        <p:cNvPr id="1" name=""/>
        <p:cNvGrpSpPr/>
        <p:nvPr/>
      </p:nvGrpSpPr>
      <p:grpSpPr>
        <a:xfrm>
          <a:off x="0" y="0"/>
          <a:ext cx="0" cy="0"/>
          <a:chOff x="0" y="0"/>
          <a:chExt cx="0" cy="0"/>
        </a:xfrm>
      </p:grpSpPr>
      <p:sp>
        <p:nvSpPr>
          <p:cNvPr id="18" name="Platshållare för text 10">
            <a:extLst>
              <a:ext uri="{FF2B5EF4-FFF2-40B4-BE49-F238E27FC236}">
                <a16:creationId xmlns:a16="http://schemas.microsoft.com/office/drawing/2014/main" id="{A925EA6F-A06A-4C83-94D7-D2B0A85A7CAC}"/>
              </a:ext>
            </a:extLst>
          </p:cNvPr>
          <p:cNvSpPr>
            <a:spLocks noGrp="1"/>
          </p:cNvSpPr>
          <p:nvPr>
            <p:ph type="body" sz="quarter" idx="17" hasCustomPrompt="1"/>
          </p:nvPr>
        </p:nvSpPr>
        <p:spPr>
          <a:xfrm>
            <a:off x="1070687"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513" y="686200"/>
            <a:ext cx="10060470" cy="1171704"/>
          </a:xfrm>
        </p:spPr>
        <p:txBody>
          <a:bodyPr/>
          <a:lstStyle>
            <a:lvl1pPr>
              <a:defRPr/>
            </a:lvl1pPr>
          </a:lstStyle>
          <a:p>
            <a:r>
              <a:rPr lang="sv-SE" err="1"/>
              <a:t>Heading</a:t>
            </a:r>
            <a:endParaRPr lang="sv-SE"/>
          </a:p>
        </p:txBody>
      </p:sp>
      <p:sp>
        <p:nvSpPr>
          <p:cNvPr id="10" name="Triangel 17">
            <a:extLst>
              <a:ext uri="{FF2B5EF4-FFF2-40B4-BE49-F238E27FC236}">
                <a16:creationId xmlns:a16="http://schemas.microsoft.com/office/drawing/2014/main" id="{EC66FE8D-48D9-4BF5-B0A9-3975D39CBC82}"/>
              </a:ext>
            </a:extLst>
          </p:cNvPr>
          <p:cNvSpPr/>
          <p:nvPr userDrawn="1"/>
        </p:nvSpPr>
        <p:spPr>
          <a:xfrm rot="10800000">
            <a:off x="2049436"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2" name="Platshållare för text 10">
            <a:extLst>
              <a:ext uri="{FF2B5EF4-FFF2-40B4-BE49-F238E27FC236}">
                <a16:creationId xmlns:a16="http://schemas.microsoft.com/office/drawing/2014/main" id="{8A52F4D9-C4A2-4174-B24B-C5DA56F6808B}"/>
              </a:ext>
            </a:extLst>
          </p:cNvPr>
          <p:cNvSpPr>
            <a:spLocks noGrp="1"/>
          </p:cNvSpPr>
          <p:nvPr>
            <p:ph type="body" sz="quarter" idx="18" hasCustomPrompt="1"/>
          </p:nvPr>
        </p:nvSpPr>
        <p:spPr>
          <a:xfrm>
            <a:off x="3701906"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34" name="Triangel 17">
            <a:extLst>
              <a:ext uri="{FF2B5EF4-FFF2-40B4-BE49-F238E27FC236}">
                <a16:creationId xmlns:a16="http://schemas.microsoft.com/office/drawing/2014/main" id="{9E306581-A783-4757-A73F-5F3BE6F2B04F}"/>
              </a:ext>
            </a:extLst>
          </p:cNvPr>
          <p:cNvSpPr/>
          <p:nvPr userDrawn="1"/>
        </p:nvSpPr>
        <p:spPr>
          <a:xfrm rot="10800000">
            <a:off x="4680655"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Platshållare för text 10">
            <a:extLst>
              <a:ext uri="{FF2B5EF4-FFF2-40B4-BE49-F238E27FC236}">
                <a16:creationId xmlns:a16="http://schemas.microsoft.com/office/drawing/2014/main" id="{A7ACF604-2EA2-4B93-9C35-4D157B3C8252}"/>
              </a:ext>
            </a:extLst>
          </p:cNvPr>
          <p:cNvSpPr>
            <a:spLocks noGrp="1"/>
          </p:cNvSpPr>
          <p:nvPr>
            <p:ph type="body" sz="quarter" idx="20" hasCustomPrompt="1"/>
          </p:nvPr>
        </p:nvSpPr>
        <p:spPr>
          <a:xfrm>
            <a:off x="6333125"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37" name="Triangel 17">
            <a:extLst>
              <a:ext uri="{FF2B5EF4-FFF2-40B4-BE49-F238E27FC236}">
                <a16:creationId xmlns:a16="http://schemas.microsoft.com/office/drawing/2014/main" id="{03704152-67EA-43A2-B84D-BFB8901E879E}"/>
              </a:ext>
            </a:extLst>
          </p:cNvPr>
          <p:cNvSpPr/>
          <p:nvPr userDrawn="1"/>
        </p:nvSpPr>
        <p:spPr>
          <a:xfrm rot="10800000">
            <a:off x="7311874"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Platshållare för text 10">
            <a:extLst>
              <a:ext uri="{FF2B5EF4-FFF2-40B4-BE49-F238E27FC236}">
                <a16:creationId xmlns:a16="http://schemas.microsoft.com/office/drawing/2014/main" id="{51A28D5A-8F30-44EF-9C90-9000F2C50933}"/>
              </a:ext>
            </a:extLst>
          </p:cNvPr>
          <p:cNvSpPr>
            <a:spLocks noGrp="1"/>
          </p:cNvSpPr>
          <p:nvPr>
            <p:ph type="body" sz="quarter" idx="22" hasCustomPrompt="1"/>
          </p:nvPr>
        </p:nvSpPr>
        <p:spPr>
          <a:xfrm>
            <a:off x="9042396"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a:t>Rubrik </a:t>
            </a:r>
            <a:r>
              <a:rPr lang="sv-SE" err="1"/>
              <a:t>lorem</a:t>
            </a:r>
            <a:r>
              <a:rPr lang="sv-SE"/>
              <a:t> </a:t>
            </a:r>
            <a:r>
              <a:rPr lang="sv-SE" err="1"/>
              <a:t>ispum</a:t>
            </a:r>
            <a:r>
              <a:rPr lang="sv-SE"/>
              <a:t> </a:t>
            </a:r>
            <a:r>
              <a:rPr lang="sv-SE" err="1"/>
              <a:t>sit</a:t>
            </a:r>
            <a:r>
              <a:rPr lang="sv-SE"/>
              <a:t> </a:t>
            </a:r>
            <a:r>
              <a:rPr lang="sv-SE" err="1"/>
              <a:t>amet</a:t>
            </a:r>
            <a:endParaRPr lang="sv-SE"/>
          </a:p>
        </p:txBody>
      </p:sp>
      <p:sp>
        <p:nvSpPr>
          <p:cNvPr id="40" name="Triangel 17">
            <a:extLst>
              <a:ext uri="{FF2B5EF4-FFF2-40B4-BE49-F238E27FC236}">
                <a16:creationId xmlns:a16="http://schemas.microsoft.com/office/drawing/2014/main" id="{0A574742-305D-4472-B8D3-21BA4582A3DA}"/>
              </a:ext>
            </a:extLst>
          </p:cNvPr>
          <p:cNvSpPr/>
          <p:nvPr userDrawn="1"/>
        </p:nvSpPr>
        <p:spPr>
          <a:xfrm rot="10800000">
            <a:off x="10021145"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Platshållare för innehåll 11">
            <a:extLst>
              <a:ext uri="{FF2B5EF4-FFF2-40B4-BE49-F238E27FC236}">
                <a16:creationId xmlns:a16="http://schemas.microsoft.com/office/drawing/2014/main" id="{7B9151D9-9E04-4EF1-B67D-707113587700}"/>
              </a:ext>
            </a:extLst>
          </p:cNvPr>
          <p:cNvSpPr>
            <a:spLocks noGrp="1"/>
          </p:cNvSpPr>
          <p:nvPr>
            <p:ph sz="quarter" idx="27" hasCustomPrompt="1"/>
          </p:nvPr>
        </p:nvSpPr>
        <p:spPr>
          <a:xfrm>
            <a:off x="1050925"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27" name="Platshållare för innehåll 11">
            <a:extLst>
              <a:ext uri="{FF2B5EF4-FFF2-40B4-BE49-F238E27FC236}">
                <a16:creationId xmlns:a16="http://schemas.microsoft.com/office/drawing/2014/main" id="{CA031AA6-D307-45CD-8C7F-77DDF8F5B7F6}"/>
              </a:ext>
            </a:extLst>
          </p:cNvPr>
          <p:cNvSpPr>
            <a:spLocks noGrp="1"/>
          </p:cNvSpPr>
          <p:nvPr>
            <p:ph sz="quarter" idx="28" hasCustomPrompt="1"/>
          </p:nvPr>
        </p:nvSpPr>
        <p:spPr>
          <a:xfrm>
            <a:off x="3701906"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28" name="Platshållare för innehåll 11">
            <a:extLst>
              <a:ext uri="{FF2B5EF4-FFF2-40B4-BE49-F238E27FC236}">
                <a16:creationId xmlns:a16="http://schemas.microsoft.com/office/drawing/2014/main" id="{06B7DBBF-E184-4646-BA2A-F8AD2D35A2FC}"/>
              </a:ext>
            </a:extLst>
          </p:cNvPr>
          <p:cNvSpPr>
            <a:spLocks noGrp="1"/>
          </p:cNvSpPr>
          <p:nvPr>
            <p:ph sz="quarter" idx="29" hasCustomPrompt="1"/>
          </p:nvPr>
        </p:nvSpPr>
        <p:spPr>
          <a:xfrm>
            <a:off x="6349087"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marL="0" marR="0" lvl="0" indent="12700" algn="ctr" defTabSz="914400" rtl="0" eaLnBrk="1" fontAlgn="auto" latinLnBrk="0" hangingPunct="1">
              <a:lnSpc>
                <a:spcPct val="110000"/>
              </a:lnSpc>
              <a:spcBef>
                <a:spcPts val="0"/>
              </a:spcBef>
              <a:spcAft>
                <a:spcPts val="1200"/>
              </a:spcAft>
              <a:buClr>
                <a:schemeClr val="tx2"/>
              </a:buClr>
              <a:buSzPct val="80000"/>
              <a:buFont typeface="Arial" panose="020B0604020202020204" pitchFamily="34" charset="0"/>
              <a:buNone/>
              <a:tabLst/>
              <a:defRPr/>
            </a:pPr>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29" name="Platshållare för innehåll 11">
            <a:extLst>
              <a:ext uri="{FF2B5EF4-FFF2-40B4-BE49-F238E27FC236}">
                <a16:creationId xmlns:a16="http://schemas.microsoft.com/office/drawing/2014/main" id="{05530442-3770-4FB7-9E1C-F63DEBCAFEFF}"/>
              </a:ext>
            </a:extLst>
          </p:cNvPr>
          <p:cNvSpPr>
            <a:spLocks noGrp="1"/>
          </p:cNvSpPr>
          <p:nvPr>
            <p:ph sz="quarter" idx="30" hasCustomPrompt="1"/>
          </p:nvPr>
        </p:nvSpPr>
        <p:spPr>
          <a:xfrm>
            <a:off x="9042396"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6" name="Platshållare för datum 5">
            <a:extLst>
              <a:ext uri="{FF2B5EF4-FFF2-40B4-BE49-F238E27FC236}">
                <a16:creationId xmlns:a16="http://schemas.microsoft.com/office/drawing/2014/main" id="{BBA7DC00-0CF2-48B9-BA64-0A147DFF14BC}"/>
              </a:ext>
            </a:extLst>
          </p:cNvPr>
          <p:cNvSpPr>
            <a:spLocks noGrp="1"/>
          </p:cNvSpPr>
          <p:nvPr>
            <p:ph type="dt" sz="half" idx="31"/>
          </p:nvPr>
        </p:nvSpPr>
        <p:spPr/>
        <p:txBody>
          <a:bodyPr/>
          <a:lstStyle/>
          <a:p>
            <a:fld id="{C6908A7A-AAB8-426D-8511-A455633CE0E9}" type="datetime1">
              <a:rPr lang="sv-SE" smtClean="0"/>
              <a:t>2025-05-20</a:t>
            </a:fld>
            <a:endParaRPr lang="sv-SE"/>
          </a:p>
        </p:txBody>
      </p:sp>
      <p:sp>
        <p:nvSpPr>
          <p:cNvPr id="7" name="Platshållare för sidfot 6">
            <a:extLst>
              <a:ext uri="{FF2B5EF4-FFF2-40B4-BE49-F238E27FC236}">
                <a16:creationId xmlns:a16="http://schemas.microsoft.com/office/drawing/2014/main" id="{D52A72C8-87C4-4D55-B925-E5F15B3B0EBC}"/>
              </a:ext>
            </a:extLst>
          </p:cNvPr>
          <p:cNvSpPr>
            <a:spLocks noGrp="1"/>
          </p:cNvSpPr>
          <p:nvPr>
            <p:ph type="ftr" sz="quarter" idx="32"/>
          </p:nvPr>
        </p:nvSpPr>
        <p:spPr/>
        <p:txBody>
          <a:bodyPr/>
          <a:lstStyle/>
          <a:p>
            <a:r>
              <a:rPr lang="en-US"/>
              <a:t>External</a:t>
            </a:r>
            <a:endParaRPr lang="sv-SE"/>
          </a:p>
        </p:txBody>
      </p:sp>
      <p:sp>
        <p:nvSpPr>
          <p:cNvPr id="8" name="Platshållare för bildnummer 7">
            <a:extLst>
              <a:ext uri="{FF2B5EF4-FFF2-40B4-BE49-F238E27FC236}">
                <a16:creationId xmlns:a16="http://schemas.microsoft.com/office/drawing/2014/main" id="{33A5042A-F1B7-4392-8EEA-A90D5F07E13C}"/>
              </a:ext>
            </a:extLst>
          </p:cNvPr>
          <p:cNvSpPr>
            <a:spLocks noGrp="1"/>
          </p:cNvSpPr>
          <p:nvPr>
            <p:ph type="sldNum" sz="quarter" idx="33"/>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3461524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ing, text and image to the righ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8" y="686200"/>
            <a:ext cx="5604761" cy="1173600"/>
          </a:xfrm>
        </p:spPr>
        <p:txBody>
          <a:bodyPr/>
          <a:lstStyle>
            <a:lvl1pPr>
              <a:defRPr/>
            </a:lvl1pPr>
          </a:lstStyle>
          <a:p>
            <a:r>
              <a:rPr lang="sv-SE" err="1"/>
              <a:t>Heading</a:t>
            </a:r>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hasCustomPrompt="1"/>
          </p:nvPr>
        </p:nvSpPr>
        <p:spPr>
          <a:xfrm>
            <a:off x="1063667" y="2161125"/>
            <a:ext cx="5604762" cy="4089114"/>
          </a:xfrm>
        </p:spPr>
        <p:txBody>
          <a:bodyPr/>
          <a:lstStyle>
            <a:lvl1pPr>
              <a:defRPr/>
            </a:lvl1pPr>
            <a:lvl2pPr>
              <a:defRPr/>
            </a:lvl2pPr>
            <a:lvl3pPr>
              <a:defRPr/>
            </a:lvl3pPr>
            <a:lvl4pPr>
              <a:defRPr/>
            </a:lvl4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14" name="Platshållare för bild 13">
            <a:extLst>
              <a:ext uri="{FF2B5EF4-FFF2-40B4-BE49-F238E27FC236}">
                <a16:creationId xmlns:a16="http://schemas.microsoft.com/office/drawing/2014/main" id="{9F8119B9-7A98-45FB-81B1-64E73BCB33FA}"/>
              </a:ext>
            </a:extLst>
          </p:cNvPr>
          <p:cNvSpPr>
            <a:spLocks noGrp="1"/>
          </p:cNvSpPr>
          <p:nvPr>
            <p:ph type="pic" sz="quarter" idx="14" hasCustomPrompt="1"/>
          </p:nvPr>
        </p:nvSpPr>
        <p:spPr>
          <a:xfrm>
            <a:off x="7221538" y="0"/>
            <a:ext cx="4970462" cy="6858000"/>
          </a:xfrm>
        </p:spPr>
        <p:txBody>
          <a:bodyPr lIns="360000" tIns="360000" rIns="360000"/>
          <a:lstStyle>
            <a:lvl1pPr>
              <a:defRPr/>
            </a:lvl1pPr>
          </a:lstStyle>
          <a:p>
            <a:r>
              <a:rPr lang="sv-SE" err="1"/>
              <a:t>Click</a:t>
            </a:r>
            <a:r>
              <a:rPr lang="sv-SE"/>
              <a:t> the </a:t>
            </a:r>
            <a:r>
              <a:rPr lang="sv-SE" err="1"/>
              <a:t>icon</a:t>
            </a:r>
            <a:r>
              <a:rPr lang="sv-SE"/>
              <a:t> </a:t>
            </a:r>
            <a:r>
              <a:rPr lang="sv-SE" err="1"/>
              <a:t>below</a:t>
            </a:r>
            <a:r>
              <a:rPr lang="sv-SE"/>
              <a:t> to </a:t>
            </a:r>
            <a:r>
              <a:rPr lang="sv-SE" err="1"/>
              <a:t>insert</a:t>
            </a:r>
            <a:r>
              <a:rPr lang="sv-SE"/>
              <a:t> an image</a:t>
            </a:r>
          </a:p>
        </p:txBody>
      </p:sp>
    </p:spTree>
    <p:extLst>
      <p:ext uri="{BB962C8B-B14F-4D97-AF65-F5344CB8AC3E}">
        <p14:creationId xmlns:p14="http://schemas.microsoft.com/office/powerpoint/2010/main" val="2184409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ading, text and image to the lef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5722374" y="686200"/>
            <a:ext cx="5413939" cy="1173600"/>
          </a:xfrm>
        </p:spPr>
        <p:txBody>
          <a:bodyPr/>
          <a:lstStyle>
            <a:lvl1pPr>
              <a:defRPr/>
            </a:lvl1pPr>
          </a:lstStyle>
          <a:p>
            <a:r>
              <a:rPr lang="sv-SE" err="1"/>
              <a:t>Heading</a:t>
            </a:r>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hasCustomPrompt="1"/>
          </p:nvPr>
        </p:nvSpPr>
        <p:spPr>
          <a:xfrm>
            <a:off x="5722374" y="2161124"/>
            <a:ext cx="5413939" cy="4089113"/>
          </a:xfrm>
        </p:spPr>
        <p:txBody>
          <a:bodyPr/>
          <a:lstStyle>
            <a:lvl1pPr>
              <a:defRPr/>
            </a:lvl1pPr>
            <a:lvl2pPr>
              <a:defRPr/>
            </a:lvl2pPr>
            <a:lvl3pPr>
              <a:defRPr/>
            </a:lvl3pPr>
            <a:lvl4pPr>
              <a:defRPr/>
            </a:lvl4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8" name="Platshållare för bild 3">
            <a:extLst>
              <a:ext uri="{FF2B5EF4-FFF2-40B4-BE49-F238E27FC236}">
                <a16:creationId xmlns:a16="http://schemas.microsoft.com/office/drawing/2014/main" id="{AAADDA6B-F619-45C3-B29B-8EB4CA0B0C0E}"/>
              </a:ext>
            </a:extLst>
          </p:cNvPr>
          <p:cNvSpPr>
            <a:spLocks noGrp="1"/>
          </p:cNvSpPr>
          <p:nvPr>
            <p:ph type="pic" sz="quarter" idx="14" hasCustomPrompt="1"/>
          </p:nvPr>
        </p:nvSpPr>
        <p:spPr>
          <a:xfrm>
            <a:off x="0" y="1"/>
            <a:ext cx="4765287" cy="6857999"/>
          </a:xfrm>
          <a:noFill/>
        </p:spPr>
        <p:txBody>
          <a:bodyPr lIns="360000" tIns="360000" rIns="360000" bIns="360000"/>
          <a:lstStyle>
            <a:lvl1pPr>
              <a:defRPr/>
            </a:lvl1pPr>
          </a:lstStyle>
          <a:p>
            <a:r>
              <a:rPr lang="sv-SE" err="1"/>
              <a:t>Click</a:t>
            </a:r>
            <a:r>
              <a:rPr lang="sv-SE"/>
              <a:t> the </a:t>
            </a:r>
            <a:r>
              <a:rPr lang="sv-SE" err="1"/>
              <a:t>icon</a:t>
            </a:r>
            <a:r>
              <a:rPr lang="sv-SE"/>
              <a:t> </a:t>
            </a:r>
            <a:r>
              <a:rPr lang="sv-SE" err="1"/>
              <a:t>below</a:t>
            </a:r>
            <a:r>
              <a:rPr lang="sv-SE"/>
              <a:t> to </a:t>
            </a:r>
            <a:r>
              <a:rPr lang="sv-SE" err="1"/>
              <a:t>insert</a:t>
            </a:r>
            <a:r>
              <a:rPr lang="sv-SE"/>
              <a:t> an image</a:t>
            </a:r>
          </a:p>
        </p:txBody>
      </p:sp>
      <p:sp>
        <p:nvSpPr>
          <p:cNvPr id="6" name="Platshållare för datum 5">
            <a:extLst>
              <a:ext uri="{FF2B5EF4-FFF2-40B4-BE49-F238E27FC236}">
                <a16:creationId xmlns:a16="http://schemas.microsoft.com/office/drawing/2014/main" id="{B57E30E4-A11A-48C5-8BDC-CB24462B6967}"/>
              </a:ext>
            </a:extLst>
          </p:cNvPr>
          <p:cNvSpPr>
            <a:spLocks noGrp="1"/>
          </p:cNvSpPr>
          <p:nvPr>
            <p:ph type="dt" sz="half" idx="15"/>
          </p:nvPr>
        </p:nvSpPr>
        <p:spPr/>
        <p:txBody>
          <a:bodyPr/>
          <a:lstStyle/>
          <a:p>
            <a:fld id="{77F75BF0-A5E2-42D6-932A-546706F647FD}" type="datetime1">
              <a:rPr lang="sv-SE" smtClean="0"/>
              <a:t>2025-05-20</a:t>
            </a:fld>
            <a:endParaRPr lang="sv-SE"/>
          </a:p>
        </p:txBody>
      </p:sp>
      <p:sp>
        <p:nvSpPr>
          <p:cNvPr id="7" name="Platshållare för sidfot 6">
            <a:extLst>
              <a:ext uri="{FF2B5EF4-FFF2-40B4-BE49-F238E27FC236}">
                <a16:creationId xmlns:a16="http://schemas.microsoft.com/office/drawing/2014/main" id="{D36D8DFB-53D5-4DA4-BBEF-14653BD16F9E}"/>
              </a:ext>
            </a:extLst>
          </p:cNvPr>
          <p:cNvSpPr>
            <a:spLocks noGrp="1"/>
          </p:cNvSpPr>
          <p:nvPr>
            <p:ph type="ftr" sz="quarter" idx="16"/>
          </p:nvPr>
        </p:nvSpPr>
        <p:spPr/>
        <p:txBody>
          <a:bodyPr/>
          <a:lstStyle/>
          <a:p>
            <a:r>
              <a:rPr lang="en-US"/>
              <a:t>External</a:t>
            </a:r>
            <a:endParaRPr lang="sv-SE"/>
          </a:p>
        </p:txBody>
      </p:sp>
      <p:sp>
        <p:nvSpPr>
          <p:cNvPr id="9" name="Platshållare för bildnummer 8">
            <a:extLst>
              <a:ext uri="{FF2B5EF4-FFF2-40B4-BE49-F238E27FC236}">
                <a16:creationId xmlns:a16="http://schemas.microsoft.com/office/drawing/2014/main" id="{B6D65FBE-BF7B-472B-8F87-0ECC9F2FCCD9}"/>
              </a:ext>
            </a:extLst>
          </p:cNvPr>
          <p:cNvSpPr>
            <a:spLocks noGrp="1"/>
          </p:cNvSpPr>
          <p:nvPr>
            <p:ph type="sldNum" sz="quarter" idx="17"/>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1938095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8" name="Platshållare för bild 3">
            <a:extLst>
              <a:ext uri="{FF2B5EF4-FFF2-40B4-BE49-F238E27FC236}">
                <a16:creationId xmlns:a16="http://schemas.microsoft.com/office/drawing/2014/main" id="{AAADDA6B-F619-45C3-B29B-8EB4CA0B0C0E}"/>
              </a:ext>
            </a:extLst>
          </p:cNvPr>
          <p:cNvSpPr>
            <a:spLocks noGrp="1"/>
          </p:cNvSpPr>
          <p:nvPr>
            <p:ph type="pic" sz="quarter" idx="14" hasCustomPrompt="1"/>
          </p:nvPr>
        </p:nvSpPr>
        <p:spPr>
          <a:xfrm>
            <a:off x="0" y="1"/>
            <a:ext cx="12192000" cy="6857999"/>
          </a:xfrm>
          <a:noFill/>
        </p:spPr>
        <p:txBody>
          <a:bodyPr lIns="360000" tIns="360000" rIns="360000" bIns="360000"/>
          <a:lstStyle>
            <a:lvl1pPr>
              <a:defRPr/>
            </a:lvl1pPr>
          </a:lstStyle>
          <a:p>
            <a:r>
              <a:rPr lang="sv-SE" err="1"/>
              <a:t>Click</a:t>
            </a:r>
            <a:r>
              <a:rPr lang="sv-SE"/>
              <a:t> the </a:t>
            </a:r>
            <a:r>
              <a:rPr lang="sv-SE" err="1"/>
              <a:t>icon</a:t>
            </a:r>
            <a:r>
              <a:rPr lang="sv-SE"/>
              <a:t> </a:t>
            </a:r>
            <a:r>
              <a:rPr lang="sv-SE" err="1"/>
              <a:t>below</a:t>
            </a:r>
            <a:r>
              <a:rPr lang="sv-SE"/>
              <a:t> to </a:t>
            </a:r>
            <a:r>
              <a:rPr lang="sv-SE" err="1"/>
              <a:t>insert</a:t>
            </a:r>
            <a:r>
              <a:rPr lang="sv-SE"/>
              <a:t> an image</a:t>
            </a:r>
          </a:p>
        </p:txBody>
      </p:sp>
    </p:spTree>
    <p:extLst>
      <p:ext uri="{BB962C8B-B14F-4D97-AF65-F5344CB8AC3E}">
        <p14:creationId xmlns:p14="http://schemas.microsoft.com/office/powerpoint/2010/main" val="16013881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ing at the top">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55687" y="510636"/>
            <a:ext cx="10080625" cy="1356708"/>
          </a:xfrm>
        </p:spPr>
        <p:txBody>
          <a:bodyPr anchor="b" anchorCtr="0">
            <a:noAutofit/>
          </a:bodyPr>
          <a:lstStyle>
            <a:lvl1pPr>
              <a:defRPr/>
            </a:lvl1pPr>
          </a:lstStyle>
          <a:p>
            <a:r>
              <a:rPr lang="sv-SE" dirty="0" err="1"/>
              <a:t>Heading</a:t>
            </a:r>
            <a:endParaRPr lang="sv-SE" dirty="0"/>
          </a:p>
        </p:txBody>
      </p:sp>
      <p:sp>
        <p:nvSpPr>
          <p:cNvPr id="5" name="Platshållare för datum 4">
            <a:extLst>
              <a:ext uri="{FF2B5EF4-FFF2-40B4-BE49-F238E27FC236}">
                <a16:creationId xmlns:a16="http://schemas.microsoft.com/office/drawing/2014/main" id="{04F885E5-A9B9-4851-9AEF-7C26C3812363}"/>
              </a:ext>
            </a:extLst>
          </p:cNvPr>
          <p:cNvSpPr>
            <a:spLocks noGrp="1"/>
          </p:cNvSpPr>
          <p:nvPr>
            <p:ph type="dt" sz="half" idx="10"/>
          </p:nvPr>
        </p:nvSpPr>
        <p:spPr/>
        <p:txBody>
          <a:bodyPr/>
          <a:lstStyle/>
          <a:p>
            <a:fld id="{2EDC914F-11F8-4453-8687-D2FA2AE2D47B}" type="datetime1">
              <a:rPr lang="sv-SE" smtClean="0"/>
              <a:t>2025-05-20</a:t>
            </a:fld>
            <a:endParaRPr lang="sv-SE"/>
          </a:p>
        </p:txBody>
      </p:sp>
      <p:sp>
        <p:nvSpPr>
          <p:cNvPr id="6" name="Platshållare för sidfot 5">
            <a:extLst>
              <a:ext uri="{FF2B5EF4-FFF2-40B4-BE49-F238E27FC236}">
                <a16:creationId xmlns:a16="http://schemas.microsoft.com/office/drawing/2014/main" id="{19B395BB-B9CC-4C03-9F95-CE98733C7D6D}"/>
              </a:ext>
            </a:extLst>
          </p:cNvPr>
          <p:cNvSpPr>
            <a:spLocks noGrp="1"/>
          </p:cNvSpPr>
          <p:nvPr>
            <p:ph type="ftr" sz="quarter" idx="11"/>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64A28883-228B-48D0-8440-8D81602EEDF8}"/>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1117623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546100" y="752400"/>
            <a:ext cx="10080625" cy="1356708"/>
          </a:xfrm>
        </p:spPr>
        <p:txBody>
          <a:bodyPr anchor="t" anchorCtr="0">
            <a:noAutofit/>
          </a:bodyPr>
          <a:lstStyle>
            <a:lvl1pPr>
              <a:defRPr sz="4400">
                <a:solidFill>
                  <a:schemeClr val="tx1"/>
                </a:solidFill>
                <a:latin typeface="+mn-lt"/>
              </a:defRPr>
            </a:lvl1pPr>
          </a:lstStyle>
          <a:p>
            <a:r>
              <a:rPr lang="sv-SE" dirty="0" err="1"/>
              <a:t>Heading</a:t>
            </a:r>
            <a:endParaRPr lang="sv-SE" dirty="0"/>
          </a:p>
        </p:txBody>
      </p:sp>
      <p:sp>
        <p:nvSpPr>
          <p:cNvPr id="5" name="Platshållare för datum 4">
            <a:extLst>
              <a:ext uri="{FF2B5EF4-FFF2-40B4-BE49-F238E27FC236}">
                <a16:creationId xmlns:a16="http://schemas.microsoft.com/office/drawing/2014/main" id="{04F885E5-A9B9-4851-9AEF-7C26C3812363}"/>
              </a:ext>
            </a:extLst>
          </p:cNvPr>
          <p:cNvSpPr>
            <a:spLocks noGrp="1"/>
          </p:cNvSpPr>
          <p:nvPr>
            <p:ph type="dt" sz="half" idx="10"/>
          </p:nvPr>
        </p:nvSpPr>
        <p:spPr/>
        <p:txBody>
          <a:bodyPr/>
          <a:lstStyle/>
          <a:p>
            <a:fld id="{2EDC914F-11F8-4453-8687-D2FA2AE2D47B}" type="datetime1">
              <a:rPr lang="sv-SE" smtClean="0"/>
              <a:t>2025-05-20</a:t>
            </a:fld>
            <a:endParaRPr lang="sv-SE"/>
          </a:p>
        </p:txBody>
      </p:sp>
      <p:sp>
        <p:nvSpPr>
          <p:cNvPr id="6" name="Platshållare för sidfot 5">
            <a:extLst>
              <a:ext uri="{FF2B5EF4-FFF2-40B4-BE49-F238E27FC236}">
                <a16:creationId xmlns:a16="http://schemas.microsoft.com/office/drawing/2014/main" id="{19B395BB-B9CC-4C03-9F95-CE98733C7D6D}"/>
              </a:ext>
            </a:extLst>
          </p:cNvPr>
          <p:cNvSpPr>
            <a:spLocks noGrp="1"/>
          </p:cNvSpPr>
          <p:nvPr>
            <p:ph type="ftr" sz="quarter" idx="11"/>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64A28883-228B-48D0-8440-8D81602EEDF8}"/>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7277201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ing at the center">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63667" y="3171737"/>
            <a:ext cx="10072645" cy="526298"/>
          </a:xfrm>
        </p:spPr>
        <p:txBody>
          <a:bodyPr wrap="square" anchor="ctr" anchorCtr="0">
            <a:spAutoFit/>
          </a:bodyPr>
          <a:lstStyle>
            <a:lvl1pPr>
              <a:defRPr/>
            </a:lvl1pPr>
          </a:lstStyle>
          <a:p>
            <a:r>
              <a:rPr lang="sv-SE" err="1"/>
              <a:t>Heading</a:t>
            </a:r>
            <a:endParaRPr lang="sv-SE"/>
          </a:p>
        </p:txBody>
      </p:sp>
      <p:sp>
        <p:nvSpPr>
          <p:cNvPr id="5" name="Platshållare för datum 4">
            <a:extLst>
              <a:ext uri="{FF2B5EF4-FFF2-40B4-BE49-F238E27FC236}">
                <a16:creationId xmlns:a16="http://schemas.microsoft.com/office/drawing/2014/main" id="{0D3385BE-8B49-4C68-9612-5EA9C60E42AE}"/>
              </a:ext>
            </a:extLst>
          </p:cNvPr>
          <p:cNvSpPr>
            <a:spLocks noGrp="1"/>
          </p:cNvSpPr>
          <p:nvPr>
            <p:ph type="dt" sz="half" idx="10"/>
          </p:nvPr>
        </p:nvSpPr>
        <p:spPr/>
        <p:txBody>
          <a:bodyPr/>
          <a:lstStyle/>
          <a:p>
            <a:fld id="{559B163B-6B2F-4339-A1B7-1C954B5A561E}" type="datetime1">
              <a:rPr lang="sv-SE" smtClean="0"/>
              <a:t>2025-05-20</a:t>
            </a:fld>
            <a:endParaRPr lang="sv-SE"/>
          </a:p>
        </p:txBody>
      </p:sp>
      <p:sp>
        <p:nvSpPr>
          <p:cNvPr id="6" name="Platshållare för sidfot 5">
            <a:extLst>
              <a:ext uri="{FF2B5EF4-FFF2-40B4-BE49-F238E27FC236}">
                <a16:creationId xmlns:a16="http://schemas.microsoft.com/office/drawing/2014/main" id="{9382AEDF-D74C-4493-AD39-76A41512054F}"/>
              </a:ext>
            </a:extLst>
          </p:cNvPr>
          <p:cNvSpPr>
            <a:spLocks noGrp="1"/>
          </p:cNvSpPr>
          <p:nvPr>
            <p:ph type="ftr" sz="quarter" idx="11"/>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A69930B7-BFAC-4C55-BD3E-C2ED4800D8C1}"/>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18145965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n background image">
    <p:spTree>
      <p:nvGrpSpPr>
        <p:cNvPr id="1" name=""/>
        <p:cNvGrpSpPr/>
        <p:nvPr/>
      </p:nvGrpSpPr>
      <p:grpSpPr>
        <a:xfrm>
          <a:off x="0" y="0"/>
          <a:ext cx="0" cy="0"/>
          <a:chOff x="0" y="0"/>
          <a:chExt cx="0" cy="0"/>
        </a:xfrm>
      </p:grpSpPr>
      <p:sp>
        <p:nvSpPr>
          <p:cNvPr id="7" name="Platshållare för bild 6">
            <a:extLst>
              <a:ext uri="{FF2B5EF4-FFF2-40B4-BE49-F238E27FC236}">
                <a16:creationId xmlns:a16="http://schemas.microsoft.com/office/drawing/2014/main" id="{50597F66-B0AF-8644-8D02-B8EB0A69DCF1}"/>
              </a:ext>
            </a:extLst>
          </p:cNvPr>
          <p:cNvSpPr>
            <a:spLocks noGrp="1"/>
          </p:cNvSpPr>
          <p:nvPr>
            <p:ph type="pic" sz="quarter" idx="13" hasCustomPrompt="1"/>
          </p:nvPr>
        </p:nvSpPr>
        <p:spPr>
          <a:xfrm>
            <a:off x="0" y="0"/>
            <a:ext cx="12192000" cy="6858000"/>
          </a:xfrm>
          <a:solidFill>
            <a:schemeClr val="bg1">
              <a:lumMod val="95000"/>
            </a:schemeClr>
          </a:solidFill>
        </p:spPr>
        <p:txBody>
          <a:bodyPr lIns="360000" tIns="360000" rIns="360000"/>
          <a:lstStyle>
            <a:lvl1pPr>
              <a:defRPr sz="1600">
                <a:latin typeface="Calibri" panose="020F0502020204030204" pitchFamily="34" charset="0"/>
                <a:cs typeface="Calibri" panose="020F0502020204030204" pitchFamily="34" charset="0"/>
              </a:defRPr>
            </a:lvl1pPr>
          </a:lstStyle>
          <a:p>
            <a:pPr>
              <a:spcAft>
                <a:spcPts val="600"/>
              </a:spcAft>
            </a:pPr>
            <a:r>
              <a:rPr lang="sv-SE" err="1"/>
              <a:t>Click</a:t>
            </a:r>
            <a:r>
              <a:rPr lang="sv-SE"/>
              <a:t> the </a:t>
            </a:r>
            <a:r>
              <a:rPr lang="sv-SE" err="1"/>
              <a:t>icon</a:t>
            </a:r>
            <a:r>
              <a:rPr lang="sv-SE"/>
              <a:t> </a:t>
            </a:r>
            <a:r>
              <a:rPr lang="sv-SE" err="1"/>
              <a:t>below</a:t>
            </a:r>
            <a:r>
              <a:rPr lang="sv-SE"/>
              <a:t> to </a:t>
            </a:r>
            <a:r>
              <a:rPr lang="sv-SE" err="1"/>
              <a:t>insert</a:t>
            </a:r>
            <a:r>
              <a:rPr lang="sv-SE"/>
              <a:t> an image. </a:t>
            </a:r>
            <a:br>
              <a:rPr lang="sv-SE"/>
            </a:br>
            <a:r>
              <a:rPr lang="sv-SE" err="1"/>
              <a:t>You</a:t>
            </a:r>
            <a:r>
              <a:rPr lang="sv-SE"/>
              <a:t> </a:t>
            </a:r>
            <a:r>
              <a:rPr lang="sv-SE" err="1"/>
              <a:t>may</a:t>
            </a:r>
            <a:r>
              <a:rPr lang="sv-SE"/>
              <a:t> </a:t>
            </a:r>
            <a:r>
              <a:rPr lang="sv-SE" err="1"/>
              <a:t>need</a:t>
            </a:r>
            <a:r>
              <a:rPr lang="sv-SE"/>
              <a:t> to </a:t>
            </a:r>
            <a:r>
              <a:rPr lang="sv-SE" err="1"/>
              <a:t>change</a:t>
            </a:r>
            <a:r>
              <a:rPr lang="sv-SE"/>
              <a:t> the color of the </a:t>
            </a:r>
            <a:r>
              <a:rPr lang="sv-SE" err="1"/>
              <a:t>caption</a:t>
            </a:r>
            <a:r>
              <a:rPr lang="sv-SE"/>
              <a:t> </a:t>
            </a:r>
            <a:r>
              <a:rPr lang="sv-SE" err="1"/>
              <a:t>below</a:t>
            </a:r>
            <a:r>
              <a:rPr lang="sv-SE"/>
              <a:t> </a:t>
            </a:r>
            <a:r>
              <a:rPr lang="sv-SE" err="1"/>
              <a:t>if</a:t>
            </a:r>
            <a:r>
              <a:rPr lang="sv-SE"/>
              <a:t> </a:t>
            </a:r>
            <a:r>
              <a:rPr lang="sv-SE" err="1"/>
              <a:t>you</a:t>
            </a:r>
            <a:r>
              <a:rPr lang="sv-SE"/>
              <a:t> </a:t>
            </a:r>
            <a:r>
              <a:rPr lang="sv-SE" err="1"/>
              <a:t>choose</a:t>
            </a:r>
            <a:r>
              <a:rPr lang="sv-SE"/>
              <a:t> a </a:t>
            </a:r>
            <a:r>
              <a:rPr lang="sv-SE" err="1"/>
              <a:t>bright</a:t>
            </a:r>
            <a:r>
              <a:rPr lang="sv-SE"/>
              <a:t> image.</a:t>
            </a:r>
            <a:br>
              <a:rPr lang="sv-SE"/>
            </a:br>
            <a:r>
              <a:rPr lang="sv-SE" err="1"/>
              <a:t>You</a:t>
            </a:r>
            <a:r>
              <a:rPr lang="sv-SE"/>
              <a:t> </a:t>
            </a:r>
            <a:r>
              <a:rPr lang="sv-SE" err="1"/>
              <a:t>may</a:t>
            </a:r>
            <a:r>
              <a:rPr lang="sv-SE"/>
              <a:t> </a:t>
            </a:r>
            <a:r>
              <a:rPr lang="sv-SE" err="1"/>
              <a:t>also</a:t>
            </a:r>
            <a:r>
              <a:rPr lang="sv-SE"/>
              <a:t> </a:t>
            </a:r>
            <a:r>
              <a:rPr lang="sv-SE" err="1"/>
              <a:t>need</a:t>
            </a:r>
            <a:r>
              <a:rPr lang="sv-SE"/>
              <a:t> to </a:t>
            </a:r>
            <a:r>
              <a:rPr lang="sv-SE" err="1"/>
              <a:t>move</a:t>
            </a:r>
            <a:r>
              <a:rPr lang="sv-SE"/>
              <a:t> the text to </a:t>
            </a:r>
            <a:r>
              <a:rPr lang="sv-SE" err="1"/>
              <a:t>work</a:t>
            </a:r>
            <a:r>
              <a:rPr lang="sv-SE"/>
              <a:t> with the </a:t>
            </a:r>
            <a:r>
              <a:rPr lang="sv-SE" err="1"/>
              <a:t>subject</a:t>
            </a:r>
            <a:r>
              <a:rPr lang="sv-SE"/>
              <a:t>.</a:t>
            </a:r>
          </a:p>
        </p:txBody>
      </p:sp>
      <p:sp>
        <p:nvSpPr>
          <p:cNvPr id="2" name="Rubrik 1">
            <a:extLst>
              <a:ext uri="{FF2B5EF4-FFF2-40B4-BE49-F238E27FC236}">
                <a16:creationId xmlns:a16="http://schemas.microsoft.com/office/drawing/2014/main" id="{AE52BED6-BC08-4245-9ABA-5A297871713E}"/>
              </a:ext>
            </a:extLst>
          </p:cNvPr>
          <p:cNvSpPr>
            <a:spLocks noGrp="1"/>
          </p:cNvSpPr>
          <p:nvPr>
            <p:ph type="title" hasCustomPrompt="1"/>
          </p:nvPr>
        </p:nvSpPr>
        <p:spPr>
          <a:xfrm>
            <a:off x="1078182" y="1768564"/>
            <a:ext cx="10058131" cy="526298"/>
          </a:xfrm>
        </p:spPr>
        <p:txBody>
          <a:bodyPr wrap="square" anchor="b" anchorCtr="0">
            <a:spAutoFit/>
          </a:bodyPr>
          <a:lstStyle>
            <a:lvl1pPr>
              <a:defRPr>
                <a:solidFill>
                  <a:schemeClr val="bg1"/>
                </a:solidFill>
              </a:defRPr>
            </a:lvl1pPr>
          </a:lstStyle>
          <a:p>
            <a:r>
              <a:rPr lang="sv-SE" err="1"/>
              <a:t>Heading</a:t>
            </a:r>
            <a:r>
              <a:rPr lang="sv-SE"/>
              <a:t> on </a:t>
            </a:r>
            <a:r>
              <a:rPr lang="sv-SE" err="1"/>
              <a:t>background</a:t>
            </a:r>
            <a:r>
              <a:rPr lang="sv-SE"/>
              <a:t> </a:t>
            </a:r>
            <a:r>
              <a:rPr lang="sv-SE" err="1"/>
              <a:t>imgae</a:t>
            </a:r>
            <a:endParaRPr lang="sv-SE"/>
          </a:p>
        </p:txBody>
      </p:sp>
    </p:spTree>
    <p:extLst>
      <p:ext uri="{BB962C8B-B14F-4D97-AF65-F5344CB8AC3E}">
        <p14:creationId xmlns:p14="http://schemas.microsoft.com/office/powerpoint/2010/main" val="1216427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 white">
    <p:bg>
      <p:bgPr>
        <a:solidFill>
          <a:schemeClr val="tx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996534"/>
            <a:ext cx="9144000" cy="830997"/>
          </a:xfrm>
        </p:spPr>
        <p:txBody>
          <a:bodyPr anchor="ctr" anchorCtr="0">
            <a:spAutoFit/>
          </a:bodyPr>
          <a:lstStyle>
            <a:lvl1pPr algn="ctr">
              <a:defRPr sz="6000">
                <a:solidFill>
                  <a:schemeClr val="bg2"/>
                </a:solidFill>
              </a:defRPr>
            </a:lvl1pPr>
          </a:lstStyle>
          <a:p>
            <a:r>
              <a:rPr lang="sv-SE"/>
              <a:t>Presentation </a:t>
            </a:r>
            <a:r>
              <a:rPr lang="sv-SE" err="1"/>
              <a:t>title</a:t>
            </a:r>
            <a:endParaRPr lang="sv-SE"/>
          </a:p>
        </p:txBody>
      </p:sp>
      <p:pic>
        <p:nvPicPr>
          <p:cNvPr id="3" name="Bildobjekt 2">
            <a:extLst>
              <a:ext uri="{FF2B5EF4-FFF2-40B4-BE49-F238E27FC236}">
                <a16:creationId xmlns:a16="http://schemas.microsoft.com/office/drawing/2014/main" id="{AAE37A39-E5DA-41DC-83CB-63BCE57D05D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1827" y="6336926"/>
            <a:ext cx="5942393" cy="275540"/>
          </a:xfrm>
          <a:prstGeom prst="rect">
            <a:avLst/>
          </a:prstGeom>
        </p:spPr>
      </p:pic>
      <p:pic>
        <p:nvPicPr>
          <p:cNvPr id="5" name="Bildobjekt 4">
            <a:extLst>
              <a:ext uri="{FF2B5EF4-FFF2-40B4-BE49-F238E27FC236}">
                <a16:creationId xmlns:a16="http://schemas.microsoft.com/office/drawing/2014/main" id="{590FAD5D-9CF3-47A6-979F-6572E938AC9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661685" y="6201958"/>
            <a:ext cx="6885980" cy="656042"/>
          </a:xfrm>
          <a:prstGeom prst="rect">
            <a:avLst/>
          </a:prstGeom>
        </p:spPr>
      </p:pic>
    </p:spTree>
    <p:extLst>
      <p:ext uri="{BB962C8B-B14F-4D97-AF65-F5344CB8AC3E}">
        <p14:creationId xmlns:p14="http://schemas.microsoft.com/office/powerpoint/2010/main" val="155910618"/>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mleline">
    <p:spTree>
      <p:nvGrpSpPr>
        <p:cNvPr id="1" name=""/>
        <p:cNvGrpSpPr/>
        <p:nvPr/>
      </p:nvGrpSpPr>
      <p:grpSpPr>
        <a:xfrm>
          <a:off x="0" y="0"/>
          <a:ext cx="0" cy="0"/>
          <a:chOff x="0" y="0"/>
          <a:chExt cx="0" cy="0"/>
        </a:xfrm>
      </p:grpSpPr>
      <p:sp>
        <p:nvSpPr>
          <p:cNvPr id="9" name="Platshållare för tabell 8">
            <a:extLst>
              <a:ext uri="{FF2B5EF4-FFF2-40B4-BE49-F238E27FC236}">
                <a16:creationId xmlns:a16="http://schemas.microsoft.com/office/drawing/2014/main" id="{9BBFE55A-95F6-464B-ABFC-1792ADBA549C}"/>
              </a:ext>
            </a:extLst>
          </p:cNvPr>
          <p:cNvSpPr>
            <a:spLocks noGrp="1"/>
          </p:cNvSpPr>
          <p:nvPr>
            <p:ph type="tbl" sz="quarter" idx="29" hasCustomPrompt="1"/>
          </p:nvPr>
        </p:nvSpPr>
        <p:spPr>
          <a:xfrm>
            <a:off x="1068388" y="2084100"/>
            <a:ext cx="10283825" cy="4261138"/>
          </a:xfrm>
        </p:spPr>
        <p:txBody>
          <a:bodyPr/>
          <a:lstStyle>
            <a:lvl1pPr>
              <a:defRPr/>
            </a:lvl1pPr>
          </a:lstStyle>
          <a:p>
            <a:r>
              <a:rPr lang="sv-SE" err="1"/>
              <a:t>Click</a:t>
            </a:r>
            <a:r>
              <a:rPr lang="sv-SE"/>
              <a:t> the </a:t>
            </a:r>
            <a:r>
              <a:rPr lang="sv-SE" err="1"/>
              <a:t>icon</a:t>
            </a:r>
            <a:r>
              <a:rPr lang="sv-SE"/>
              <a:t> to </a:t>
            </a:r>
            <a:r>
              <a:rPr lang="sv-SE" err="1"/>
              <a:t>insert</a:t>
            </a:r>
            <a:r>
              <a:rPr lang="sv-SE"/>
              <a:t> a table as a </a:t>
            </a:r>
            <a:r>
              <a:rPr lang="sv-SE" err="1"/>
              <a:t>backgrund</a:t>
            </a:r>
            <a:endParaRPr lang="sv-SE"/>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8388" y="686200"/>
            <a:ext cx="10067925" cy="1173600"/>
          </a:xfrm>
        </p:spPr>
        <p:txBody>
          <a:bodyPr/>
          <a:lstStyle>
            <a:lvl1pPr>
              <a:defRPr/>
            </a:lvl1pPr>
          </a:lstStyle>
          <a:p>
            <a:r>
              <a:rPr lang="sv-SE" err="1"/>
              <a:t>Heading</a:t>
            </a:r>
            <a:r>
              <a:rPr lang="sv-SE"/>
              <a:t> </a:t>
            </a:r>
            <a:r>
              <a:rPr lang="sv-SE" err="1"/>
              <a:t>timeline</a:t>
            </a:r>
            <a:endParaRPr lang="sv-SE"/>
          </a:p>
        </p:txBody>
      </p:sp>
      <p:sp>
        <p:nvSpPr>
          <p:cNvPr id="36" name="Platshållare för text 33">
            <a:extLst>
              <a:ext uri="{FF2B5EF4-FFF2-40B4-BE49-F238E27FC236}">
                <a16:creationId xmlns:a16="http://schemas.microsoft.com/office/drawing/2014/main" id="{A3094F39-15AB-264B-9E40-8C2AE0456556}"/>
              </a:ext>
            </a:extLst>
          </p:cNvPr>
          <p:cNvSpPr>
            <a:spLocks noGrp="1"/>
          </p:cNvSpPr>
          <p:nvPr>
            <p:ph type="body" sz="quarter" idx="23" hasCustomPrompt="1"/>
          </p:nvPr>
        </p:nvSpPr>
        <p:spPr>
          <a:xfrm>
            <a:off x="4840868" y="2744576"/>
            <a:ext cx="4733667" cy="720000"/>
          </a:xfrm>
          <a:prstGeom prst="chevron">
            <a:avLst/>
          </a:prstGeom>
          <a:solidFill>
            <a:schemeClr val="tx1">
              <a:alpha val="60000"/>
            </a:schemeClr>
          </a:solidFill>
          <a:ln>
            <a:noFill/>
          </a:ln>
        </p:spPr>
        <p:txBody>
          <a:bodyPr wrap="none" lIns="0" anchor="ctr" anchorCtr="0"/>
          <a:lstStyle>
            <a:lvl1pPr marL="0" indent="0" algn="ctr">
              <a:buNone/>
              <a:defRPr sz="1600">
                <a:solidFill>
                  <a:schemeClr val="bg1"/>
                </a:solidFill>
              </a:defRPr>
            </a:lvl1pPr>
          </a:lstStyle>
          <a:p>
            <a:pPr lvl="0"/>
            <a:r>
              <a:rPr lang="sv-SE" err="1"/>
              <a:t>Phase</a:t>
            </a:r>
            <a:r>
              <a:rPr lang="sv-SE"/>
              <a:t> 3</a:t>
            </a:r>
          </a:p>
        </p:txBody>
      </p:sp>
      <p:sp>
        <p:nvSpPr>
          <p:cNvPr id="37" name="Platshållare för text 33">
            <a:extLst>
              <a:ext uri="{FF2B5EF4-FFF2-40B4-BE49-F238E27FC236}">
                <a16:creationId xmlns:a16="http://schemas.microsoft.com/office/drawing/2014/main" id="{0A88A8B8-4D74-A746-8F5F-A19C637EEA47}"/>
              </a:ext>
            </a:extLst>
          </p:cNvPr>
          <p:cNvSpPr>
            <a:spLocks noGrp="1"/>
          </p:cNvSpPr>
          <p:nvPr>
            <p:ph type="body" sz="quarter" idx="24" hasCustomPrompt="1"/>
          </p:nvPr>
        </p:nvSpPr>
        <p:spPr>
          <a:xfrm>
            <a:off x="9335266" y="2744576"/>
            <a:ext cx="2369257" cy="720000"/>
          </a:xfrm>
          <a:prstGeom prst="chevron">
            <a:avLst/>
          </a:prstGeom>
          <a:solidFill>
            <a:schemeClr val="tx1">
              <a:alpha val="40000"/>
            </a:schemeClr>
          </a:solidFill>
          <a:ln>
            <a:noFill/>
          </a:ln>
        </p:spPr>
        <p:txBody>
          <a:bodyPr wrap="none" lIns="0" anchor="ctr" anchorCtr="0"/>
          <a:lstStyle>
            <a:lvl1pPr marL="0" indent="0" algn="ctr">
              <a:buNone/>
              <a:defRPr sz="1600">
                <a:solidFill>
                  <a:schemeClr val="bg1"/>
                </a:solidFill>
              </a:defRPr>
            </a:lvl1pPr>
          </a:lstStyle>
          <a:p>
            <a:pPr lvl="0"/>
            <a:r>
              <a:rPr lang="sv-SE" err="1"/>
              <a:t>Phase</a:t>
            </a:r>
            <a:r>
              <a:rPr lang="sv-SE"/>
              <a:t> 4</a:t>
            </a:r>
          </a:p>
        </p:txBody>
      </p:sp>
      <p:sp>
        <p:nvSpPr>
          <p:cNvPr id="38" name="Platshållare för text 33">
            <a:extLst>
              <a:ext uri="{FF2B5EF4-FFF2-40B4-BE49-F238E27FC236}">
                <a16:creationId xmlns:a16="http://schemas.microsoft.com/office/drawing/2014/main" id="{9A168A50-C4CF-D049-93A4-892854B31A3D}"/>
              </a:ext>
            </a:extLst>
          </p:cNvPr>
          <p:cNvSpPr>
            <a:spLocks noGrp="1"/>
          </p:cNvSpPr>
          <p:nvPr>
            <p:ph type="body" sz="quarter" idx="25" hasCustomPrompt="1"/>
          </p:nvPr>
        </p:nvSpPr>
        <p:spPr>
          <a:xfrm>
            <a:off x="1068389" y="4347515"/>
            <a:ext cx="3373028" cy="720000"/>
          </a:xfrm>
          <a:prstGeom prst="homePlate">
            <a:avLst/>
          </a:prstGeom>
          <a:solidFill>
            <a:schemeClr val="tx2"/>
          </a:solidFill>
          <a:ln>
            <a:noFill/>
          </a:ln>
        </p:spPr>
        <p:txBody>
          <a:bodyPr wrap="none" lIns="180000" anchor="ctr" anchorCtr="0"/>
          <a:lstStyle>
            <a:lvl1pPr marL="0" indent="0" algn="l">
              <a:buNone/>
              <a:defRPr sz="1600">
                <a:solidFill>
                  <a:schemeClr val="bg1"/>
                </a:solidFill>
              </a:defRPr>
            </a:lvl1pPr>
          </a:lstStyle>
          <a:p>
            <a:pPr lvl="0"/>
            <a:r>
              <a:rPr lang="sv-SE" err="1"/>
              <a:t>Parallel</a:t>
            </a:r>
            <a:r>
              <a:rPr lang="sv-SE"/>
              <a:t> process</a:t>
            </a:r>
          </a:p>
        </p:txBody>
      </p:sp>
      <p:sp>
        <p:nvSpPr>
          <p:cNvPr id="39" name="Platshållare för text 33">
            <a:extLst>
              <a:ext uri="{FF2B5EF4-FFF2-40B4-BE49-F238E27FC236}">
                <a16:creationId xmlns:a16="http://schemas.microsoft.com/office/drawing/2014/main" id="{66D65F92-1A8F-BB47-9178-36071309E7C5}"/>
              </a:ext>
            </a:extLst>
          </p:cNvPr>
          <p:cNvSpPr>
            <a:spLocks noGrp="1"/>
          </p:cNvSpPr>
          <p:nvPr>
            <p:ph type="body" sz="quarter" idx="26" hasCustomPrompt="1"/>
          </p:nvPr>
        </p:nvSpPr>
        <p:spPr>
          <a:xfrm>
            <a:off x="4209452" y="4347515"/>
            <a:ext cx="2369257" cy="720000"/>
          </a:xfrm>
          <a:prstGeom prst="chevron">
            <a:avLst/>
          </a:prstGeom>
          <a:solidFill>
            <a:schemeClr val="tx2">
              <a:alpha val="70000"/>
            </a:schemeClr>
          </a:solidFill>
          <a:ln>
            <a:noFill/>
          </a:ln>
        </p:spPr>
        <p:txBody>
          <a:bodyPr wrap="none" lIns="36000" anchor="ctr" anchorCtr="0"/>
          <a:lstStyle>
            <a:lvl1pPr marL="0" indent="0" algn="ctr">
              <a:buNone/>
              <a:defRPr sz="1600">
                <a:solidFill>
                  <a:schemeClr val="bg1"/>
                </a:solidFill>
              </a:defRPr>
            </a:lvl1pPr>
          </a:lstStyle>
          <a:p>
            <a:pPr lvl="0"/>
            <a:r>
              <a:rPr lang="sv-SE" err="1"/>
              <a:t>Phase</a:t>
            </a:r>
            <a:r>
              <a:rPr lang="sv-SE"/>
              <a:t> 2</a:t>
            </a:r>
          </a:p>
        </p:txBody>
      </p:sp>
      <p:sp>
        <p:nvSpPr>
          <p:cNvPr id="40" name="Platshållare för text 33">
            <a:extLst>
              <a:ext uri="{FF2B5EF4-FFF2-40B4-BE49-F238E27FC236}">
                <a16:creationId xmlns:a16="http://schemas.microsoft.com/office/drawing/2014/main" id="{A8424413-0AEB-594A-8678-864C22BB86A3}"/>
              </a:ext>
            </a:extLst>
          </p:cNvPr>
          <p:cNvSpPr>
            <a:spLocks noGrp="1"/>
          </p:cNvSpPr>
          <p:nvPr>
            <p:ph type="body" sz="quarter" idx="27" hasCustomPrompt="1"/>
          </p:nvPr>
        </p:nvSpPr>
        <p:spPr>
          <a:xfrm>
            <a:off x="1068389" y="5236399"/>
            <a:ext cx="3373028" cy="720000"/>
          </a:xfrm>
          <a:prstGeom prst="homePlate">
            <a:avLst/>
          </a:prstGeom>
          <a:solidFill>
            <a:schemeClr val="accent3"/>
          </a:solidFill>
          <a:ln>
            <a:noFill/>
          </a:ln>
        </p:spPr>
        <p:txBody>
          <a:bodyPr wrap="none" lIns="180000" anchor="ctr" anchorCtr="0"/>
          <a:lstStyle>
            <a:lvl1pPr marL="0" indent="0" algn="l">
              <a:buNone/>
              <a:defRPr sz="1600">
                <a:solidFill>
                  <a:schemeClr val="bg1"/>
                </a:solidFill>
              </a:defRPr>
            </a:lvl1pPr>
          </a:lstStyle>
          <a:p>
            <a:pPr lvl="0"/>
            <a:r>
              <a:rPr lang="sv-SE" err="1"/>
              <a:t>Parallel</a:t>
            </a:r>
            <a:r>
              <a:rPr lang="sv-SE"/>
              <a:t> process</a:t>
            </a:r>
          </a:p>
        </p:txBody>
      </p:sp>
      <p:sp>
        <p:nvSpPr>
          <p:cNvPr id="41" name="Platshållare för text 33">
            <a:extLst>
              <a:ext uri="{FF2B5EF4-FFF2-40B4-BE49-F238E27FC236}">
                <a16:creationId xmlns:a16="http://schemas.microsoft.com/office/drawing/2014/main" id="{2354B13C-1017-2546-A454-BBBB565668EE}"/>
              </a:ext>
            </a:extLst>
          </p:cNvPr>
          <p:cNvSpPr>
            <a:spLocks noGrp="1"/>
          </p:cNvSpPr>
          <p:nvPr>
            <p:ph type="body" sz="quarter" idx="28" hasCustomPrompt="1"/>
          </p:nvPr>
        </p:nvSpPr>
        <p:spPr>
          <a:xfrm>
            <a:off x="4209452" y="5236399"/>
            <a:ext cx="2369257" cy="720000"/>
          </a:xfrm>
          <a:prstGeom prst="chevron">
            <a:avLst/>
          </a:prstGeom>
          <a:solidFill>
            <a:schemeClr val="accent3">
              <a:alpha val="80000"/>
            </a:schemeClr>
          </a:solidFill>
          <a:ln>
            <a:noFill/>
          </a:ln>
        </p:spPr>
        <p:txBody>
          <a:bodyPr wrap="none" lIns="36000" anchor="ctr" anchorCtr="0"/>
          <a:lstStyle>
            <a:lvl1pPr marL="0" indent="0" algn="ctr">
              <a:buNone/>
              <a:defRPr sz="1600">
                <a:solidFill>
                  <a:schemeClr val="bg1"/>
                </a:solidFill>
              </a:defRPr>
            </a:lvl1pPr>
          </a:lstStyle>
          <a:p>
            <a:pPr lvl="0"/>
            <a:r>
              <a:rPr lang="sv-SE" err="1"/>
              <a:t>Phase</a:t>
            </a:r>
            <a:r>
              <a:rPr lang="sv-SE"/>
              <a:t> 2</a:t>
            </a:r>
          </a:p>
        </p:txBody>
      </p:sp>
      <p:sp>
        <p:nvSpPr>
          <p:cNvPr id="16" name="Platshållare för text 33">
            <a:extLst>
              <a:ext uri="{FF2B5EF4-FFF2-40B4-BE49-F238E27FC236}">
                <a16:creationId xmlns:a16="http://schemas.microsoft.com/office/drawing/2014/main" id="{293FAD16-7DDE-40C4-9DCB-01ECD75C942D}"/>
              </a:ext>
            </a:extLst>
          </p:cNvPr>
          <p:cNvSpPr>
            <a:spLocks noGrp="1"/>
          </p:cNvSpPr>
          <p:nvPr>
            <p:ph type="body" sz="quarter" idx="33" hasCustomPrompt="1"/>
          </p:nvPr>
        </p:nvSpPr>
        <p:spPr>
          <a:xfrm>
            <a:off x="2716803" y="2744576"/>
            <a:ext cx="2369257" cy="720000"/>
          </a:xfrm>
          <a:prstGeom prst="chevron">
            <a:avLst/>
          </a:prstGeom>
          <a:solidFill>
            <a:schemeClr val="tx1">
              <a:alpha val="80000"/>
            </a:schemeClr>
          </a:solidFill>
          <a:ln>
            <a:noFill/>
          </a:ln>
        </p:spPr>
        <p:txBody>
          <a:bodyPr wrap="none" lIns="0" anchor="ctr" anchorCtr="0"/>
          <a:lstStyle>
            <a:lvl1pPr marL="0" indent="0" algn="ctr">
              <a:buNone/>
              <a:defRPr sz="1600">
                <a:solidFill>
                  <a:schemeClr val="bg1"/>
                </a:solidFill>
              </a:defRPr>
            </a:lvl1pPr>
          </a:lstStyle>
          <a:p>
            <a:pPr lvl="0"/>
            <a:r>
              <a:rPr lang="sv-SE" err="1"/>
              <a:t>Phase</a:t>
            </a:r>
            <a:r>
              <a:rPr lang="sv-SE"/>
              <a:t> 2</a:t>
            </a:r>
          </a:p>
        </p:txBody>
      </p:sp>
      <p:sp>
        <p:nvSpPr>
          <p:cNvPr id="17" name="Platshållare för text 33">
            <a:extLst>
              <a:ext uri="{FF2B5EF4-FFF2-40B4-BE49-F238E27FC236}">
                <a16:creationId xmlns:a16="http://schemas.microsoft.com/office/drawing/2014/main" id="{B9523AF8-BEED-49C0-922A-2DDAA81B9DA6}"/>
              </a:ext>
            </a:extLst>
          </p:cNvPr>
          <p:cNvSpPr>
            <a:spLocks noGrp="1"/>
          </p:cNvSpPr>
          <p:nvPr>
            <p:ph type="body" sz="quarter" idx="34" hasCustomPrompt="1"/>
          </p:nvPr>
        </p:nvSpPr>
        <p:spPr>
          <a:xfrm>
            <a:off x="1068389" y="2744576"/>
            <a:ext cx="1901982" cy="720000"/>
          </a:xfrm>
          <a:prstGeom prst="homePlate">
            <a:avLst/>
          </a:prstGeom>
          <a:solidFill>
            <a:schemeClr val="tx1"/>
          </a:solidFill>
          <a:ln>
            <a:noFill/>
          </a:ln>
        </p:spPr>
        <p:txBody>
          <a:bodyPr wrap="none" lIns="180000" anchor="ctr" anchorCtr="0"/>
          <a:lstStyle>
            <a:lvl1pPr marL="0" indent="0" algn="l">
              <a:buNone/>
              <a:defRPr sz="1600">
                <a:solidFill>
                  <a:schemeClr val="bg1"/>
                </a:solidFill>
              </a:defRPr>
            </a:lvl1pPr>
          </a:lstStyle>
          <a:p>
            <a:pPr lvl="0"/>
            <a:r>
              <a:rPr lang="sv-SE" err="1"/>
              <a:t>Phase</a:t>
            </a:r>
            <a:r>
              <a:rPr lang="sv-SE"/>
              <a:t> 1</a:t>
            </a:r>
          </a:p>
        </p:txBody>
      </p:sp>
      <p:sp>
        <p:nvSpPr>
          <p:cNvPr id="6" name="Platshållare för datum 5">
            <a:extLst>
              <a:ext uri="{FF2B5EF4-FFF2-40B4-BE49-F238E27FC236}">
                <a16:creationId xmlns:a16="http://schemas.microsoft.com/office/drawing/2014/main" id="{7CC9F419-8B2F-40C1-A1DA-673468601F00}"/>
              </a:ext>
            </a:extLst>
          </p:cNvPr>
          <p:cNvSpPr>
            <a:spLocks noGrp="1"/>
          </p:cNvSpPr>
          <p:nvPr>
            <p:ph type="dt" sz="half" idx="35"/>
          </p:nvPr>
        </p:nvSpPr>
        <p:spPr/>
        <p:txBody>
          <a:bodyPr/>
          <a:lstStyle/>
          <a:p>
            <a:fld id="{6FA2E862-FC8F-4B00-932D-812DA81753BD}" type="datetime1">
              <a:rPr lang="sv-SE" smtClean="0"/>
              <a:t>2025-05-20</a:t>
            </a:fld>
            <a:endParaRPr lang="sv-SE"/>
          </a:p>
        </p:txBody>
      </p:sp>
      <p:sp>
        <p:nvSpPr>
          <p:cNvPr id="7" name="Platshållare för sidfot 6">
            <a:extLst>
              <a:ext uri="{FF2B5EF4-FFF2-40B4-BE49-F238E27FC236}">
                <a16:creationId xmlns:a16="http://schemas.microsoft.com/office/drawing/2014/main" id="{D6FFBF35-A39C-4AB5-909D-91A35B8F4783}"/>
              </a:ext>
            </a:extLst>
          </p:cNvPr>
          <p:cNvSpPr>
            <a:spLocks noGrp="1"/>
          </p:cNvSpPr>
          <p:nvPr>
            <p:ph type="ftr" sz="quarter" idx="36"/>
          </p:nvPr>
        </p:nvSpPr>
        <p:spPr/>
        <p:txBody>
          <a:bodyPr/>
          <a:lstStyle/>
          <a:p>
            <a:r>
              <a:rPr lang="en-US"/>
              <a:t>External</a:t>
            </a:r>
            <a:endParaRPr lang="sv-SE"/>
          </a:p>
        </p:txBody>
      </p:sp>
      <p:sp>
        <p:nvSpPr>
          <p:cNvPr id="8" name="Platshållare för bildnummer 7">
            <a:extLst>
              <a:ext uri="{FF2B5EF4-FFF2-40B4-BE49-F238E27FC236}">
                <a16:creationId xmlns:a16="http://schemas.microsoft.com/office/drawing/2014/main" id="{218A76AA-31E5-493A-A8E5-9EF3EE3A64DE}"/>
              </a:ext>
            </a:extLst>
          </p:cNvPr>
          <p:cNvSpPr>
            <a:spLocks noGrp="1"/>
          </p:cNvSpPr>
          <p:nvPr>
            <p:ph type="sldNum" sz="quarter" idx="37"/>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1409995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ing and three block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59450C-AF23-4D36-BC2C-C37EB613A9CC}"/>
              </a:ext>
            </a:extLst>
          </p:cNvPr>
          <p:cNvSpPr>
            <a:spLocks noGrp="1"/>
          </p:cNvSpPr>
          <p:nvPr>
            <p:ph type="title" hasCustomPrompt="1"/>
          </p:nvPr>
        </p:nvSpPr>
        <p:spPr>
          <a:xfrm>
            <a:off x="1062989" y="686200"/>
            <a:ext cx="10073323" cy="1173600"/>
          </a:xfrm>
        </p:spPr>
        <p:txBody>
          <a:bodyPr/>
          <a:lstStyle>
            <a:lvl1pPr>
              <a:defRPr/>
            </a:lvl1pPr>
          </a:lstStyle>
          <a:p>
            <a:r>
              <a:rPr lang="sv-SE" err="1"/>
              <a:t>Chart</a:t>
            </a:r>
            <a:endParaRPr lang="sv-SE"/>
          </a:p>
        </p:txBody>
      </p:sp>
      <p:sp>
        <p:nvSpPr>
          <p:cNvPr id="7" name="Platshållare för innehåll 6">
            <a:extLst>
              <a:ext uri="{FF2B5EF4-FFF2-40B4-BE49-F238E27FC236}">
                <a16:creationId xmlns:a16="http://schemas.microsoft.com/office/drawing/2014/main" id="{7BDEE915-CEC9-4384-BD78-5C776C4FAD05}"/>
              </a:ext>
            </a:extLst>
          </p:cNvPr>
          <p:cNvSpPr>
            <a:spLocks noGrp="1"/>
          </p:cNvSpPr>
          <p:nvPr>
            <p:ph sz="quarter" idx="19" hasCustomPrompt="1"/>
          </p:nvPr>
        </p:nvSpPr>
        <p:spPr>
          <a:xfrm>
            <a:off x="4511675" y="2143637"/>
            <a:ext cx="3168650" cy="4212713"/>
          </a:xfrm>
        </p:spPr>
        <p:txBody>
          <a:bodyPr/>
          <a:lstStyle>
            <a:lvl1pPr>
              <a:defRPr/>
            </a:lvl1pPr>
            <a:lvl3pPr>
              <a:defRPr/>
            </a:lvl3pPr>
            <a:lvl4pPr>
              <a:defRPr/>
            </a:lvl4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10" name="Platshållare för innehåll 9">
            <a:extLst>
              <a:ext uri="{FF2B5EF4-FFF2-40B4-BE49-F238E27FC236}">
                <a16:creationId xmlns:a16="http://schemas.microsoft.com/office/drawing/2014/main" id="{B2C5F0F4-86AC-4EEE-931A-63E49F6D3840}"/>
              </a:ext>
            </a:extLst>
          </p:cNvPr>
          <p:cNvSpPr>
            <a:spLocks noGrp="1"/>
          </p:cNvSpPr>
          <p:nvPr>
            <p:ph sz="quarter" idx="20" hasCustomPrompt="1"/>
          </p:nvPr>
        </p:nvSpPr>
        <p:spPr>
          <a:xfrm>
            <a:off x="1054100" y="2145475"/>
            <a:ext cx="3178175" cy="4211638"/>
          </a:xfrm>
        </p:spPr>
        <p:txBody>
          <a:bodyPr/>
          <a:lstStyle>
            <a:lvl1pPr>
              <a:defRPr/>
            </a:lvl1pPr>
            <a:lvl2pPr>
              <a:defRPr/>
            </a:lvl2pPr>
            <a:lvl3pPr>
              <a:defRPr/>
            </a:lvl3pPr>
            <a:lvl4pPr>
              <a:defRPr/>
            </a:lvl4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12" name="Platshållare för innehåll 11">
            <a:extLst>
              <a:ext uri="{FF2B5EF4-FFF2-40B4-BE49-F238E27FC236}">
                <a16:creationId xmlns:a16="http://schemas.microsoft.com/office/drawing/2014/main" id="{D7E06758-01C8-47D8-977F-3804F9A0A9C1}"/>
              </a:ext>
            </a:extLst>
          </p:cNvPr>
          <p:cNvSpPr>
            <a:spLocks noGrp="1"/>
          </p:cNvSpPr>
          <p:nvPr>
            <p:ph sz="quarter" idx="21" hasCustomPrompt="1"/>
          </p:nvPr>
        </p:nvSpPr>
        <p:spPr>
          <a:xfrm>
            <a:off x="7969250" y="2145475"/>
            <a:ext cx="3168650" cy="4211638"/>
          </a:xfrm>
        </p:spPr>
        <p:txBody>
          <a:bodyPr/>
          <a:lstStyle>
            <a:lvl1pPr>
              <a:defRPr/>
            </a:lvl1pPr>
            <a:lvl3pPr>
              <a:defRPr/>
            </a:lvl3pPr>
            <a:lvl4pPr>
              <a:defRPr/>
            </a:lvl4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6" name="Platshållare för datum 5">
            <a:extLst>
              <a:ext uri="{FF2B5EF4-FFF2-40B4-BE49-F238E27FC236}">
                <a16:creationId xmlns:a16="http://schemas.microsoft.com/office/drawing/2014/main" id="{88BD811F-7870-466B-BE2B-FBE850FFE62A}"/>
              </a:ext>
            </a:extLst>
          </p:cNvPr>
          <p:cNvSpPr>
            <a:spLocks noGrp="1"/>
          </p:cNvSpPr>
          <p:nvPr>
            <p:ph type="dt" sz="half" idx="22"/>
          </p:nvPr>
        </p:nvSpPr>
        <p:spPr/>
        <p:txBody>
          <a:bodyPr/>
          <a:lstStyle/>
          <a:p>
            <a:fld id="{EF1435E7-F999-452B-B4EC-076679079302}" type="datetime1">
              <a:rPr lang="sv-SE" smtClean="0"/>
              <a:t>2025-05-20</a:t>
            </a:fld>
            <a:endParaRPr lang="sv-SE"/>
          </a:p>
        </p:txBody>
      </p:sp>
      <p:sp>
        <p:nvSpPr>
          <p:cNvPr id="8" name="Platshållare för sidfot 7">
            <a:extLst>
              <a:ext uri="{FF2B5EF4-FFF2-40B4-BE49-F238E27FC236}">
                <a16:creationId xmlns:a16="http://schemas.microsoft.com/office/drawing/2014/main" id="{92A5DE2B-5D2F-4F89-BC8C-88211D7A21A4}"/>
              </a:ext>
            </a:extLst>
          </p:cNvPr>
          <p:cNvSpPr>
            <a:spLocks noGrp="1"/>
          </p:cNvSpPr>
          <p:nvPr>
            <p:ph type="ftr" sz="quarter" idx="23"/>
          </p:nvPr>
        </p:nvSpPr>
        <p:spPr/>
        <p:txBody>
          <a:bodyPr/>
          <a:lstStyle/>
          <a:p>
            <a:r>
              <a:rPr lang="en-US"/>
              <a:t>External</a:t>
            </a:r>
            <a:endParaRPr lang="sv-SE"/>
          </a:p>
        </p:txBody>
      </p:sp>
      <p:sp>
        <p:nvSpPr>
          <p:cNvPr id="9" name="Platshållare för bildnummer 8">
            <a:extLst>
              <a:ext uri="{FF2B5EF4-FFF2-40B4-BE49-F238E27FC236}">
                <a16:creationId xmlns:a16="http://schemas.microsoft.com/office/drawing/2014/main" id="{85DA8F63-8FF6-41F6-A051-7B3441A97383}"/>
              </a:ext>
            </a:extLst>
          </p:cNvPr>
          <p:cNvSpPr>
            <a:spLocks noGrp="1"/>
          </p:cNvSpPr>
          <p:nvPr>
            <p:ph type="sldNum" sz="quarter" idx="24"/>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2572774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ing and tabl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6D8CC6-E90D-405B-B133-7DC6C1CAF273}"/>
              </a:ext>
            </a:extLst>
          </p:cNvPr>
          <p:cNvSpPr>
            <a:spLocks noGrp="1"/>
          </p:cNvSpPr>
          <p:nvPr>
            <p:ph type="title" hasCustomPrompt="1"/>
          </p:nvPr>
        </p:nvSpPr>
        <p:spPr>
          <a:xfrm>
            <a:off x="1063667" y="686200"/>
            <a:ext cx="10072645" cy="1173600"/>
          </a:xfrm>
        </p:spPr>
        <p:txBody>
          <a:bodyPr/>
          <a:lstStyle>
            <a:lvl1pPr>
              <a:defRPr/>
            </a:lvl1pPr>
          </a:lstStyle>
          <a:p>
            <a:r>
              <a:rPr lang="sv-SE" err="1"/>
              <a:t>Heading</a:t>
            </a:r>
            <a:endParaRPr lang="sv-SE"/>
          </a:p>
        </p:txBody>
      </p:sp>
      <p:sp>
        <p:nvSpPr>
          <p:cNvPr id="7" name="Platshållare för tabell 6">
            <a:extLst>
              <a:ext uri="{FF2B5EF4-FFF2-40B4-BE49-F238E27FC236}">
                <a16:creationId xmlns:a16="http://schemas.microsoft.com/office/drawing/2014/main" id="{61CD804A-AC12-4F81-A7C3-5F5227A6780A}"/>
              </a:ext>
            </a:extLst>
          </p:cNvPr>
          <p:cNvSpPr>
            <a:spLocks noGrp="1"/>
          </p:cNvSpPr>
          <p:nvPr>
            <p:ph type="tbl" sz="quarter" idx="13" hasCustomPrompt="1"/>
          </p:nvPr>
        </p:nvSpPr>
        <p:spPr>
          <a:xfrm>
            <a:off x="1063625" y="2161125"/>
            <a:ext cx="10072688" cy="4089113"/>
          </a:xfrm>
        </p:spPr>
        <p:txBody>
          <a:bodyPr/>
          <a:lstStyle>
            <a:lvl1pPr>
              <a:defRPr/>
            </a:lvl1pPr>
          </a:lstStyle>
          <a:p>
            <a:r>
              <a:rPr lang="sv-SE" err="1"/>
              <a:t>Click</a:t>
            </a:r>
            <a:r>
              <a:rPr lang="sv-SE"/>
              <a:t> the </a:t>
            </a:r>
            <a:r>
              <a:rPr lang="sv-SE" err="1"/>
              <a:t>icon</a:t>
            </a:r>
            <a:r>
              <a:rPr lang="sv-SE"/>
              <a:t> to </a:t>
            </a:r>
            <a:r>
              <a:rPr lang="sv-SE" err="1"/>
              <a:t>insert</a:t>
            </a:r>
            <a:r>
              <a:rPr lang="sv-SE"/>
              <a:t> a table</a:t>
            </a:r>
          </a:p>
        </p:txBody>
      </p:sp>
      <p:sp>
        <p:nvSpPr>
          <p:cNvPr id="6" name="Platshållare för datum 5">
            <a:extLst>
              <a:ext uri="{FF2B5EF4-FFF2-40B4-BE49-F238E27FC236}">
                <a16:creationId xmlns:a16="http://schemas.microsoft.com/office/drawing/2014/main" id="{4058FBDF-73F6-4FF4-BD79-A717CB7A0F5E}"/>
              </a:ext>
            </a:extLst>
          </p:cNvPr>
          <p:cNvSpPr>
            <a:spLocks noGrp="1"/>
          </p:cNvSpPr>
          <p:nvPr>
            <p:ph type="dt" sz="half" idx="14"/>
          </p:nvPr>
        </p:nvSpPr>
        <p:spPr/>
        <p:txBody>
          <a:bodyPr/>
          <a:lstStyle/>
          <a:p>
            <a:fld id="{53EDCC54-D19D-44BA-8997-1EF2DD25BC0E}" type="datetime1">
              <a:rPr lang="sv-SE" smtClean="0"/>
              <a:t>2025-05-20</a:t>
            </a:fld>
            <a:endParaRPr lang="sv-SE"/>
          </a:p>
        </p:txBody>
      </p:sp>
      <p:sp>
        <p:nvSpPr>
          <p:cNvPr id="8" name="Platshållare för sidfot 7">
            <a:extLst>
              <a:ext uri="{FF2B5EF4-FFF2-40B4-BE49-F238E27FC236}">
                <a16:creationId xmlns:a16="http://schemas.microsoft.com/office/drawing/2014/main" id="{72223DA4-2FD9-4945-8A87-DD4AA2C79B2D}"/>
              </a:ext>
            </a:extLst>
          </p:cNvPr>
          <p:cNvSpPr>
            <a:spLocks noGrp="1"/>
          </p:cNvSpPr>
          <p:nvPr>
            <p:ph type="ftr" sz="quarter" idx="15"/>
          </p:nvPr>
        </p:nvSpPr>
        <p:spPr/>
        <p:txBody>
          <a:bodyPr/>
          <a:lstStyle/>
          <a:p>
            <a:r>
              <a:rPr lang="en-US"/>
              <a:t>External</a:t>
            </a:r>
            <a:endParaRPr lang="sv-SE"/>
          </a:p>
        </p:txBody>
      </p:sp>
      <p:sp>
        <p:nvSpPr>
          <p:cNvPr id="9" name="Platshållare för bildnummer 8">
            <a:extLst>
              <a:ext uri="{FF2B5EF4-FFF2-40B4-BE49-F238E27FC236}">
                <a16:creationId xmlns:a16="http://schemas.microsoft.com/office/drawing/2014/main" id="{B57A5E75-D35A-4879-88C3-A2DF78DCCA6C}"/>
              </a:ext>
            </a:extLst>
          </p:cNvPr>
          <p:cNvSpPr>
            <a:spLocks noGrp="1"/>
          </p:cNvSpPr>
          <p:nvPr>
            <p:ph type="sldNum" sz="quarter" idx="16"/>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266086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Outro v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9932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Outro v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15834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Outro v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4356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Rubrik och innehållsblock i full bred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hasCustomPrompt="1"/>
          </p:nvPr>
        </p:nvSpPr>
        <p:spPr>
          <a:xfrm>
            <a:off x="1063667" y="686200"/>
            <a:ext cx="10072645" cy="1171704"/>
          </a:xfrm>
        </p:spPr>
        <p:txBody>
          <a:bodyPr/>
          <a:lstStyle>
            <a:lvl1pPr>
              <a:defRPr/>
            </a:lvl1pPr>
          </a:lstStyle>
          <a:p>
            <a:r>
              <a:rPr lang="sv-SE"/>
              <a:t>Rubrik till innehållsblock i full bredd</a:t>
            </a:r>
          </a:p>
        </p:txBody>
      </p:sp>
      <p:sp>
        <p:nvSpPr>
          <p:cNvPr id="4" name="Platshållare för innehåll 3">
            <a:extLst>
              <a:ext uri="{FF2B5EF4-FFF2-40B4-BE49-F238E27FC236}">
                <a16:creationId xmlns:a16="http://schemas.microsoft.com/office/drawing/2014/main" id="{258E417C-4AAC-4940-AD34-C960A1D0F10E}"/>
              </a:ext>
            </a:extLst>
          </p:cNvPr>
          <p:cNvSpPr>
            <a:spLocks noGrp="1"/>
          </p:cNvSpPr>
          <p:nvPr>
            <p:ph sz="quarter" idx="13"/>
          </p:nvPr>
        </p:nvSpPr>
        <p:spPr>
          <a:xfrm>
            <a:off x="1063625" y="2150325"/>
            <a:ext cx="10072688" cy="417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3" name="Platshållare för datum 2">
            <a:extLst>
              <a:ext uri="{FF2B5EF4-FFF2-40B4-BE49-F238E27FC236}">
                <a16:creationId xmlns:a16="http://schemas.microsoft.com/office/drawing/2014/main" id="{8532A221-30DC-4A57-94AC-701E3AC428E1}"/>
              </a:ext>
            </a:extLst>
          </p:cNvPr>
          <p:cNvSpPr>
            <a:spLocks noGrp="1"/>
          </p:cNvSpPr>
          <p:nvPr>
            <p:ph type="dt" sz="half" idx="14"/>
          </p:nvPr>
        </p:nvSpPr>
        <p:spPr/>
        <p:txBody>
          <a:bodyPr/>
          <a:lstStyle/>
          <a:p>
            <a:fld id="{1961A07F-A4D0-4913-9B09-F67D7D74C83E}" type="datetime1">
              <a:rPr lang="sv-SE" smtClean="0"/>
              <a:t>2025-05-20</a:t>
            </a:fld>
            <a:endParaRPr lang="sv-SE"/>
          </a:p>
        </p:txBody>
      </p:sp>
      <p:sp>
        <p:nvSpPr>
          <p:cNvPr id="5" name="Platshållare för sidfot 4">
            <a:extLst>
              <a:ext uri="{FF2B5EF4-FFF2-40B4-BE49-F238E27FC236}">
                <a16:creationId xmlns:a16="http://schemas.microsoft.com/office/drawing/2014/main" id="{2CAB46DB-7657-4040-8A15-4E3185FE95A7}"/>
              </a:ext>
            </a:extLst>
          </p:cNvPr>
          <p:cNvSpPr>
            <a:spLocks noGrp="1"/>
          </p:cNvSpPr>
          <p:nvPr>
            <p:ph type="ftr" sz="quarter" idx="15"/>
          </p:nvPr>
        </p:nvSpPr>
        <p:spPr/>
        <p:txBody>
          <a:bodyPr/>
          <a:lstStyle/>
          <a:p>
            <a:r>
              <a:rPr lang="sv-SE"/>
              <a:t>External</a:t>
            </a:r>
          </a:p>
        </p:txBody>
      </p:sp>
      <p:sp>
        <p:nvSpPr>
          <p:cNvPr id="6" name="Platshållare för bildnummer 5">
            <a:extLst>
              <a:ext uri="{FF2B5EF4-FFF2-40B4-BE49-F238E27FC236}">
                <a16:creationId xmlns:a16="http://schemas.microsoft.com/office/drawing/2014/main" id="{C8A3BE9D-C43D-4674-9D03-F3E35BF35CEC}"/>
              </a:ext>
            </a:extLst>
          </p:cNvPr>
          <p:cNvSpPr>
            <a:spLocks noGrp="1"/>
          </p:cNvSpPr>
          <p:nvPr>
            <p:ph type="sldNum" sz="quarter" idx="16"/>
          </p:nvPr>
        </p:nvSpPr>
        <p:spPr/>
        <p:txBody>
          <a:bodyPr/>
          <a:lstStyle/>
          <a:p>
            <a:fld id="{DE6C4FAA-94DA-4E32-A052-AE9CB634A986}" type="slidenum">
              <a:rPr lang="sv-SE" smtClean="0"/>
              <a:t>‹#›</a:t>
            </a:fld>
            <a:endParaRPr lang="sv-SE"/>
          </a:p>
        </p:txBody>
      </p:sp>
    </p:spTree>
    <p:extLst>
      <p:ext uri="{BB962C8B-B14F-4D97-AF65-F5344CB8AC3E}">
        <p14:creationId xmlns:p14="http://schemas.microsoft.com/office/powerpoint/2010/main" val="13445936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Endast rubrik, i överkant">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55687" y="510636"/>
            <a:ext cx="10080625" cy="1356708"/>
          </a:xfrm>
        </p:spPr>
        <p:txBody>
          <a:bodyPr anchor="b" anchorCtr="0">
            <a:noAutofit/>
          </a:bodyPr>
          <a:lstStyle>
            <a:lvl1pPr>
              <a:defRPr/>
            </a:lvl1pPr>
          </a:lstStyle>
          <a:p>
            <a:r>
              <a:rPr lang="sv-SE"/>
              <a:t>Endast rubrik</a:t>
            </a:r>
          </a:p>
        </p:txBody>
      </p:sp>
      <p:sp>
        <p:nvSpPr>
          <p:cNvPr id="2" name="Platshållare för datum 1">
            <a:extLst>
              <a:ext uri="{FF2B5EF4-FFF2-40B4-BE49-F238E27FC236}">
                <a16:creationId xmlns:a16="http://schemas.microsoft.com/office/drawing/2014/main" id="{1C86D94E-F6BE-402E-B460-8A3F859B5B90}"/>
              </a:ext>
            </a:extLst>
          </p:cNvPr>
          <p:cNvSpPr>
            <a:spLocks noGrp="1"/>
          </p:cNvSpPr>
          <p:nvPr>
            <p:ph type="dt" sz="half" idx="10"/>
          </p:nvPr>
        </p:nvSpPr>
        <p:spPr/>
        <p:txBody>
          <a:bodyPr/>
          <a:lstStyle/>
          <a:p>
            <a:fld id="{A73223C5-AFF2-417B-8311-65B8EFED95E5}" type="datetime1">
              <a:rPr lang="sv-SE" smtClean="0"/>
              <a:t>2025-05-20</a:t>
            </a:fld>
            <a:endParaRPr lang="sv-SE"/>
          </a:p>
        </p:txBody>
      </p:sp>
      <p:sp>
        <p:nvSpPr>
          <p:cNvPr id="3" name="Platshållare för sidfot 2">
            <a:extLst>
              <a:ext uri="{FF2B5EF4-FFF2-40B4-BE49-F238E27FC236}">
                <a16:creationId xmlns:a16="http://schemas.microsoft.com/office/drawing/2014/main" id="{67927DF5-9102-4BE6-A72D-643E3DC22C52}"/>
              </a:ext>
            </a:extLst>
          </p:cNvPr>
          <p:cNvSpPr>
            <a:spLocks noGrp="1"/>
          </p:cNvSpPr>
          <p:nvPr>
            <p:ph type="ftr" sz="quarter" idx="11"/>
          </p:nvPr>
        </p:nvSpPr>
        <p:spPr/>
        <p:txBody>
          <a:bodyPr/>
          <a:lstStyle/>
          <a:p>
            <a:r>
              <a:rPr lang="sv-SE"/>
              <a:t>External</a:t>
            </a:r>
          </a:p>
        </p:txBody>
      </p:sp>
      <p:sp>
        <p:nvSpPr>
          <p:cNvPr id="4" name="Platshållare för bildnummer 3">
            <a:extLst>
              <a:ext uri="{FF2B5EF4-FFF2-40B4-BE49-F238E27FC236}">
                <a16:creationId xmlns:a16="http://schemas.microsoft.com/office/drawing/2014/main" id="{653F600E-D491-4175-8AA6-DA6892445AFE}"/>
              </a:ext>
            </a:extLst>
          </p:cNvPr>
          <p:cNvSpPr>
            <a:spLocks noGrp="1"/>
          </p:cNvSpPr>
          <p:nvPr>
            <p:ph type="sldNum" sz="quarter" idx="12"/>
          </p:nvPr>
        </p:nvSpPr>
        <p:spPr/>
        <p:txBody>
          <a:bodyPr/>
          <a:lstStyle/>
          <a:p>
            <a:fld id="{DE6C4FAA-94DA-4E32-A052-AE9CB634A986}" type="slidenum">
              <a:rPr lang="sv-SE" smtClean="0"/>
              <a:t>‹#›</a:t>
            </a:fld>
            <a:endParaRPr lang="sv-SE"/>
          </a:p>
        </p:txBody>
      </p:sp>
    </p:spTree>
    <p:extLst>
      <p:ext uri="{BB962C8B-B14F-4D97-AF65-F5344CB8AC3E}">
        <p14:creationId xmlns:p14="http://schemas.microsoft.com/office/powerpoint/2010/main" val="28005343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Rubrik och två textbloc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800" b="1" i="0" baseline="0">
              <a:latin typeface="Calibri"/>
              <a:ea typeface="+mn-ea"/>
              <a:cs typeface="+mn-cs"/>
              <a:sym typeface="Calibri"/>
            </a:endParaRPr>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597491"/>
            <a:ext cx="10072645" cy="387798"/>
          </a:xfrm>
        </p:spPr>
        <p:txBody>
          <a:bodyPr wrap="square" anchor="t">
            <a:spAutoFit/>
          </a:bodyPr>
          <a:lstStyle>
            <a:lvl1pPr>
              <a:defRPr sz="2800"/>
            </a:lvl1pPr>
          </a:lstStyle>
          <a:p>
            <a:r>
              <a:rPr lang="sv-SE"/>
              <a:t>Rubrik till två textblock på vit botten</a:t>
            </a:r>
          </a:p>
        </p:txBody>
      </p:sp>
      <p:sp>
        <p:nvSpPr>
          <p:cNvPr id="13" name="Platshållare för innehåll 12">
            <a:extLst>
              <a:ext uri="{FF2B5EF4-FFF2-40B4-BE49-F238E27FC236}">
                <a16:creationId xmlns:a16="http://schemas.microsoft.com/office/drawing/2014/main" id="{19E2C2B4-592D-4CE2-8797-3A6C22810726}"/>
              </a:ext>
            </a:extLst>
          </p:cNvPr>
          <p:cNvSpPr>
            <a:spLocks noGrp="1"/>
          </p:cNvSpPr>
          <p:nvPr>
            <p:ph sz="quarter" idx="20"/>
          </p:nvPr>
        </p:nvSpPr>
        <p:spPr>
          <a:xfrm>
            <a:off x="1063625" y="2150325"/>
            <a:ext cx="4932000" cy="417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7" name="Platshållare för innehåll 16">
            <a:extLst>
              <a:ext uri="{FF2B5EF4-FFF2-40B4-BE49-F238E27FC236}">
                <a16:creationId xmlns:a16="http://schemas.microsoft.com/office/drawing/2014/main" id="{2588241F-EF75-4BA1-BD99-68BAC43D094E}"/>
              </a:ext>
            </a:extLst>
          </p:cNvPr>
          <p:cNvSpPr>
            <a:spLocks noGrp="1"/>
          </p:cNvSpPr>
          <p:nvPr>
            <p:ph sz="quarter" idx="21"/>
          </p:nvPr>
        </p:nvSpPr>
        <p:spPr>
          <a:xfrm>
            <a:off x="6210917" y="2150325"/>
            <a:ext cx="4925395" cy="417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3" name="Platshållare för datum 2">
            <a:extLst>
              <a:ext uri="{FF2B5EF4-FFF2-40B4-BE49-F238E27FC236}">
                <a16:creationId xmlns:a16="http://schemas.microsoft.com/office/drawing/2014/main" id="{9C4B7FB4-62E4-491A-B6DF-F92317BA8731}"/>
              </a:ext>
            </a:extLst>
          </p:cNvPr>
          <p:cNvSpPr>
            <a:spLocks noGrp="1"/>
          </p:cNvSpPr>
          <p:nvPr>
            <p:ph type="dt" sz="half" idx="22"/>
          </p:nvPr>
        </p:nvSpPr>
        <p:spPr/>
        <p:txBody>
          <a:bodyPr/>
          <a:lstStyle/>
          <a:p>
            <a:fld id="{61DD8CCA-8E15-4D5F-BD04-249FF365E0FC}" type="datetime1">
              <a:rPr lang="sv-SE" smtClean="0"/>
              <a:t>2025-05-20</a:t>
            </a:fld>
            <a:endParaRPr lang="sv-SE"/>
          </a:p>
        </p:txBody>
      </p:sp>
      <p:sp>
        <p:nvSpPr>
          <p:cNvPr id="4" name="Platshållare för sidfot 3">
            <a:extLst>
              <a:ext uri="{FF2B5EF4-FFF2-40B4-BE49-F238E27FC236}">
                <a16:creationId xmlns:a16="http://schemas.microsoft.com/office/drawing/2014/main" id="{B5AE9C26-A5FB-4003-8259-8C7A5C2C5707}"/>
              </a:ext>
            </a:extLst>
          </p:cNvPr>
          <p:cNvSpPr>
            <a:spLocks noGrp="1"/>
          </p:cNvSpPr>
          <p:nvPr>
            <p:ph type="ftr" sz="quarter" idx="23"/>
          </p:nvPr>
        </p:nvSpPr>
        <p:spPr/>
        <p:txBody>
          <a:bodyPr/>
          <a:lstStyle/>
          <a:p>
            <a:r>
              <a:rPr lang="sv-SE" sz="700"/>
              <a:t>External</a:t>
            </a:r>
            <a:endParaRPr lang="sv-SE" sz="700">
              <a:solidFill>
                <a:schemeClr val="tx1"/>
              </a:solidFill>
            </a:endParaRPr>
          </a:p>
        </p:txBody>
      </p:sp>
      <p:sp>
        <p:nvSpPr>
          <p:cNvPr id="5" name="Platshållare för bildnummer 4">
            <a:extLst>
              <a:ext uri="{FF2B5EF4-FFF2-40B4-BE49-F238E27FC236}">
                <a16:creationId xmlns:a16="http://schemas.microsoft.com/office/drawing/2014/main" id="{9ACB369C-6874-4812-8A88-8BAC5E38354D}"/>
              </a:ext>
            </a:extLst>
          </p:cNvPr>
          <p:cNvSpPr>
            <a:spLocks noGrp="1"/>
          </p:cNvSpPr>
          <p:nvPr>
            <p:ph type="sldNum" sz="quarter" idx="24"/>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24837250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p:nvPr>
        </p:nvSpPr>
        <p:spPr/>
        <p:txBody>
          <a:bodyPr/>
          <a:lstStyle/>
          <a:p>
            <a:r>
              <a:rPr lang="en-US"/>
              <a:t>Click to edit Master title style</a:t>
            </a:r>
            <a:endParaRPr lang="sv-SE"/>
          </a:p>
        </p:txBody>
      </p:sp>
      <p:sp>
        <p:nvSpPr>
          <p:cNvPr id="4" name="Platshållare för datum 3">
            <a:extLst>
              <a:ext uri="{FF2B5EF4-FFF2-40B4-BE49-F238E27FC236}">
                <a16:creationId xmlns:a16="http://schemas.microsoft.com/office/drawing/2014/main" id="{61A0D679-E9A5-DE4F-A82C-7B8C75208FDD}"/>
              </a:ext>
            </a:extLst>
          </p:cNvPr>
          <p:cNvSpPr>
            <a:spLocks noGrp="1"/>
          </p:cNvSpPr>
          <p:nvPr>
            <p:ph type="dt" sz="half" idx="10"/>
          </p:nvPr>
        </p:nvSpPr>
        <p:spPr/>
        <p:txBody>
          <a:bodyPr/>
          <a:lstStyle/>
          <a:p>
            <a:fld id="{D0555972-AC78-4EA1-87B0-1EACD1C1B9AA}" type="datetime1">
              <a:rPr lang="sv-SE" smtClean="0"/>
              <a:t>2025-05-20</a:t>
            </a:fld>
            <a:endParaRPr lang="sv-SE"/>
          </a:p>
        </p:txBody>
      </p:sp>
      <p:sp>
        <p:nvSpPr>
          <p:cNvPr id="5" name="Platshållare för sidfot 4">
            <a:extLst>
              <a:ext uri="{FF2B5EF4-FFF2-40B4-BE49-F238E27FC236}">
                <a16:creationId xmlns:a16="http://schemas.microsoft.com/office/drawing/2014/main" id="{FC1D49B6-C22C-EA48-A12A-A7D9A47A0637}"/>
              </a:ext>
            </a:extLst>
          </p:cNvPr>
          <p:cNvSpPr>
            <a:spLocks noGrp="1"/>
          </p:cNvSpPr>
          <p:nvPr>
            <p:ph type="ftr" sz="quarter" idx="11"/>
          </p:nvPr>
        </p:nvSpPr>
        <p:spPr/>
        <p:txBody>
          <a:bodyPr/>
          <a:lstStyle/>
          <a:p>
            <a:pPr algn="l"/>
            <a:r>
              <a:rPr lang="sv-SE"/>
              <a:t>External</a:t>
            </a:r>
          </a:p>
        </p:txBody>
      </p:sp>
      <p:sp>
        <p:nvSpPr>
          <p:cNvPr id="6" name="Platshållare för bildnummer 5">
            <a:extLst>
              <a:ext uri="{FF2B5EF4-FFF2-40B4-BE49-F238E27FC236}">
                <a16:creationId xmlns:a16="http://schemas.microsoft.com/office/drawing/2014/main" id="{D74FD2EE-13CF-B74C-ADF6-43B3A2529690}"/>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9" name="Platshållare för text 8">
            <a:extLst>
              <a:ext uri="{FF2B5EF4-FFF2-40B4-BE49-F238E27FC236}">
                <a16:creationId xmlns:a16="http://schemas.microsoft.com/office/drawing/2014/main" id="{1AABCF1A-A1B1-F142-98ED-9605C8007E83}"/>
              </a:ext>
            </a:extLst>
          </p:cNvPr>
          <p:cNvSpPr>
            <a:spLocks noGrp="1"/>
          </p:cNvSpPr>
          <p:nvPr>
            <p:ph type="body" sz="quarter" idx="13"/>
          </p:nvPr>
        </p:nvSpPr>
        <p:spPr>
          <a:xfrm>
            <a:off x="838993" y="1825625"/>
            <a:ext cx="10514013" cy="4232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600592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 Green">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996534"/>
            <a:ext cx="9144000" cy="830997"/>
          </a:xfrm>
        </p:spPr>
        <p:txBody>
          <a:bodyPr anchor="ctr" anchorCtr="0">
            <a:spAutoFit/>
          </a:bodyPr>
          <a:lstStyle>
            <a:lvl1pPr algn="ctr">
              <a:defRPr sz="6000">
                <a:solidFill>
                  <a:schemeClr val="tx1"/>
                </a:solidFill>
              </a:defRPr>
            </a:lvl1pPr>
          </a:lstStyle>
          <a:p>
            <a:r>
              <a:rPr lang="sv-SE"/>
              <a:t>Presentation </a:t>
            </a:r>
            <a:r>
              <a:rPr lang="sv-SE" err="1"/>
              <a:t>title</a:t>
            </a:r>
            <a:endParaRPr lang="sv-SE"/>
          </a:p>
        </p:txBody>
      </p:sp>
      <p:pic>
        <p:nvPicPr>
          <p:cNvPr id="5" name="Bildobjekt 4">
            <a:extLst>
              <a:ext uri="{FF2B5EF4-FFF2-40B4-BE49-F238E27FC236}">
                <a16:creationId xmlns:a16="http://schemas.microsoft.com/office/drawing/2014/main" id="{E1C770A2-8E63-4F71-BFF8-4D645FE4415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47988" y="6340121"/>
            <a:ext cx="6312694" cy="254087"/>
          </a:xfrm>
          <a:prstGeom prst="rect">
            <a:avLst/>
          </a:prstGeom>
        </p:spPr>
      </p:pic>
    </p:spTree>
    <p:extLst>
      <p:ext uri="{BB962C8B-B14F-4D97-AF65-F5344CB8AC3E}">
        <p14:creationId xmlns:p14="http://schemas.microsoft.com/office/powerpoint/2010/main" val="3398777665"/>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p:nvPr>
        </p:nvSpPr>
        <p:spPr/>
        <p:txBody>
          <a:bodyPr/>
          <a:lstStyle/>
          <a:p>
            <a:r>
              <a:rPr lang="en-US"/>
              <a:t>Click to edit Master title style</a:t>
            </a:r>
            <a:endParaRPr lang="sv-SE"/>
          </a:p>
        </p:txBody>
      </p:sp>
      <p:sp>
        <p:nvSpPr>
          <p:cNvPr id="4" name="Platshållare för datum 3">
            <a:extLst>
              <a:ext uri="{FF2B5EF4-FFF2-40B4-BE49-F238E27FC236}">
                <a16:creationId xmlns:a16="http://schemas.microsoft.com/office/drawing/2014/main" id="{61A0D679-E9A5-DE4F-A82C-7B8C75208FDD}"/>
              </a:ext>
            </a:extLst>
          </p:cNvPr>
          <p:cNvSpPr>
            <a:spLocks noGrp="1"/>
          </p:cNvSpPr>
          <p:nvPr>
            <p:ph type="dt" sz="half" idx="10"/>
          </p:nvPr>
        </p:nvSpPr>
        <p:spPr/>
        <p:txBody>
          <a:bodyPr/>
          <a:lstStyle/>
          <a:p>
            <a:fld id="{F4F0032B-A93E-4240-A985-E0BD0E5EF2FD}" type="datetime1">
              <a:rPr lang="sv-SE" smtClean="0"/>
              <a:t>2025-05-20</a:t>
            </a:fld>
            <a:endParaRPr lang="sv-SE"/>
          </a:p>
        </p:txBody>
      </p:sp>
      <p:sp>
        <p:nvSpPr>
          <p:cNvPr id="5" name="Platshållare för sidfot 4">
            <a:extLst>
              <a:ext uri="{FF2B5EF4-FFF2-40B4-BE49-F238E27FC236}">
                <a16:creationId xmlns:a16="http://schemas.microsoft.com/office/drawing/2014/main" id="{FC1D49B6-C22C-EA48-A12A-A7D9A47A0637}"/>
              </a:ext>
            </a:extLst>
          </p:cNvPr>
          <p:cNvSpPr>
            <a:spLocks noGrp="1"/>
          </p:cNvSpPr>
          <p:nvPr>
            <p:ph type="ftr" sz="quarter" idx="11"/>
          </p:nvPr>
        </p:nvSpPr>
        <p:spPr/>
        <p:txBody>
          <a:bodyPr/>
          <a:lstStyle/>
          <a:p>
            <a:pPr algn="l"/>
            <a:r>
              <a:rPr lang="sv-SE"/>
              <a:t>External</a:t>
            </a:r>
          </a:p>
        </p:txBody>
      </p:sp>
      <p:sp>
        <p:nvSpPr>
          <p:cNvPr id="6" name="Platshållare för bildnummer 5">
            <a:extLst>
              <a:ext uri="{FF2B5EF4-FFF2-40B4-BE49-F238E27FC236}">
                <a16:creationId xmlns:a16="http://schemas.microsoft.com/office/drawing/2014/main" id="{D74FD2EE-13CF-B74C-ADF6-43B3A2529690}"/>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9" name="Platshållare för text 8">
            <a:extLst>
              <a:ext uri="{FF2B5EF4-FFF2-40B4-BE49-F238E27FC236}">
                <a16:creationId xmlns:a16="http://schemas.microsoft.com/office/drawing/2014/main" id="{1AABCF1A-A1B1-F142-98ED-9605C8007E83}"/>
              </a:ext>
            </a:extLst>
          </p:cNvPr>
          <p:cNvSpPr>
            <a:spLocks noGrp="1"/>
          </p:cNvSpPr>
          <p:nvPr>
            <p:ph type="body" sz="quarter" idx="13"/>
          </p:nvPr>
        </p:nvSpPr>
        <p:spPr>
          <a:xfrm>
            <a:off x="838993" y="1825625"/>
            <a:ext cx="10514013" cy="4232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26251395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p:nvPr>
        </p:nvSpPr>
        <p:spPr/>
        <p:txBody>
          <a:bodyPr/>
          <a:lstStyle/>
          <a:p>
            <a:r>
              <a:rPr lang="en-US"/>
              <a:t>Click to edit Master title style</a:t>
            </a:r>
            <a:endParaRPr lang="sv-SE"/>
          </a:p>
        </p:txBody>
      </p:sp>
      <p:sp>
        <p:nvSpPr>
          <p:cNvPr id="4" name="Platshållare för datum 3">
            <a:extLst>
              <a:ext uri="{FF2B5EF4-FFF2-40B4-BE49-F238E27FC236}">
                <a16:creationId xmlns:a16="http://schemas.microsoft.com/office/drawing/2014/main" id="{61A0D679-E9A5-DE4F-A82C-7B8C75208FDD}"/>
              </a:ext>
            </a:extLst>
          </p:cNvPr>
          <p:cNvSpPr>
            <a:spLocks noGrp="1"/>
          </p:cNvSpPr>
          <p:nvPr>
            <p:ph type="dt" sz="half" idx="10"/>
          </p:nvPr>
        </p:nvSpPr>
        <p:spPr/>
        <p:txBody>
          <a:bodyPr/>
          <a:lstStyle/>
          <a:p>
            <a:fld id="{009FE763-4C18-47D1-8DC8-36837B8582EB}" type="datetime1">
              <a:rPr lang="sv-SE" smtClean="0"/>
              <a:t>2025-05-20</a:t>
            </a:fld>
            <a:endParaRPr lang="sv-SE"/>
          </a:p>
        </p:txBody>
      </p:sp>
      <p:sp>
        <p:nvSpPr>
          <p:cNvPr id="5" name="Platshållare för sidfot 4">
            <a:extLst>
              <a:ext uri="{FF2B5EF4-FFF2-40B4-BE49-F238E27FC236}">
                <a16:creationId xmlns:a16="http://schemas.microsoft.com/office/drawing/2014/main" id="{FC1D49B6-C22C-EA48-A12A-A7D9A47A0637}"/>
              </a:ext>
            </a:extLst>
          </p:cNvPr>
          <p:cNvSpPr>
            <a:spLocks noGrp="1"/>
          </p:cNvSpPr>
          <p:nvPr>
            <p:ph type="ftr" sz="quarter" idx="11"/>
          </p:nvPr>
        </p:nvSpPr>
        <p:spPr/>
        <p:txBody>
          <a:bodyPr/>
          <a:lstStyle/>
          <a:p>
            <a:pPr algn="l"/>
            <a:r>
              <a:rPr lang="sv-SE"/>
              <a:t>External</a:t>
            </a:r>
          </a:p>
        </p:txBody>
      </p:sp>
      <p:sp>
        <p:nvSpPr>
          <p:cNvPr id="6" name="Platshållare för bildnummer 5">
            <a:extLst>
              <a:ext uri="{FF2B5EF4-FFF2-40B4-BE49-F238E27FC236}">
                <a16:creationId xmlns:a16="http://schemas.microsoft.com/office/drawing/2014/main" id="{D74FD2EE-13CF-B74C-ADF6-43B3A2529690}"/>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9" name="Platshållare för text 8">
            <a:extLst>
              <a:ext uri="{FF2B5EF4-FFF2-40B4-BE49-F238E27FC236}">
                <a16:creationId xmlns:a16="http://schemas.microsoft.com/office/drawing/2014/main" id="{1AABCF1A-A1B1-F142-98ED-9605C8007E83}"/>
              </a:ext>
            </a:extLst>
          </p:cNvPr>
          <p:cNvSpPr>
            <a:spLocks noGrp="1"/>
          </p:cNvSpPr>
          <p:nvPr>
            <p:ph type="body" sz="quarter" idx="13"/>
          </p:nvPr>
        </p:nvSpPr>
        <p:spPr>
          <a:xfrm>
            <a:off x="838993" y="1825625"/>
            <a:ext cx="10514013" cy="4232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631985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Rubrik och innehåll">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129900EB-86E0-42CE-BD68-1907DECA0F61}"/>
              </a:ext>
            </a:extLst>
          </p:cNvPr>
          <p:cNvSpPr>
            <a:spLocks noGrp="1"/>
          </p:cNvSpPr>
          <p:nvPr>
            <p:ph type="title" hasCustomPrompt="1"/>
          </p:nvPr>
        </p:nvSpPr>
        <p:spPr/>
        <p:txBody>
          <a:bodyPr/>
          <a:lstStyle>
            <a:lvl1pPr>
              <a:defRPr/>
            </a:lvl1pPr>
          </a:lstStyle>
          <a:p>
            <a:r>
              <a:rPr lang="sv-SE"/>
              <a:t>Klicka här för att lägga till rubrik</a:t>
            </a:r>
          </a:p>
        </p:txBody>
      </p:sp>
      <p:sp>
        <p:nvSpPr>
          <p:cNvPr id="8" name="Platshållare för datum 7">
            <a:extLst>
              <a:ext uri="{FF2B5EF4-FFF2-40B4-BE49-F238E27FC236}">
                <a16:creationId xmlns:a16="http://schemas.microsoft.com/office/drawing/2014/main" id="{80E53CC2-EFA0-43F4-885E-E918F47E59D0}"/>
              </a:ext>
            </a:extLst>
          </p:cNvPr>
          <p:cNvSpPr>
            <a:spLocks noGrp="1"/>
          </p:cNvSpPr>
          <p:nvPr>
            <p:ph type="dt" sz="half" idx="15"/>
          </p:nvPr>
        </p:nvSpPr>
        <p:spPr/>
        <p:txBody>
          <a:bodyPr/>
          <a:lstStyle/>
          <a:p>
            <a:fld id="{0EE60A86-F675-4578-8E31-2F39E592EDB7}" type="datetime1">
              <a:rPr lang="sv-SE" smtClean="0"/>
              <a:t>2025-05-20</a:t>
            </a:fld>
            <a:endParaRPr lang="sv-SE"/>
          </a:p>
        </p:txBody>
      </p:sp>
      <p:sp>
        <p:nvSpPr>
          <p:cNvPr id="13" name="Platshållare för bildnummer 12">
            <a:extLst>
              <a:ext uri="{FF2B5EF4-FFF2-40B4-BE49-F238E27FC236}">
                <a16:creationId xmlns:a16="http://schemas.microsoft.com/office/drawing/2014/main" id="{8669AD38-9DFE-4351-9721-C80DFD4E83F4}"/>
              </a:ext>
            </a:extLst>
          </p:cNvPr>
          <p:cNvSpPr>
            <a:spLocks noGrp="1"/>
          </p:cNvSpPr>
          <p:nvPr>
            <p:ph type="sldNum" sz="quarter" idx="17"/>
          </p:nvPr>
        </p:nvSpPr>
        <p:spPr/>
        <p:txBody>
          <a:bodyPr/>
          <a:lstStyle/>
          <a:p>
            <a:fld id="{F8310E76-72E8-4744-9786-BEC11B8BE0E6}" type="slidenum">
              <a:rPr lang="sv-SE" smtClean="0"/>
              <a:pPr/>
              <a:t>‹#›</a:t>
            </a:fld>
            <a:endParaRPr lang="sv-SE"/>
          </a:p>
        </p:txBody>
      </p:sp>
      <p:sp>
        <p:nvSpPr>
          <p:cNvPr id="9" name="Content Placeholder 2">
            <a:extLst>
              <a:ext uri="{FF2B5EF4-FFF2-40B4-BE49-F238E27FC236}">
                <a16:creationId xmlns:a16="http://schemas.microsoft.com/office/drawing/2014/main" id="{A8BC5504-BADA-4DE3-8266-37115467AE44}"/>
              </a:ext>
            </a:extLst>
          </p:cNvPr>
          <p:cNvSpPr>
            <a:spLocks noGrp="1"/>
          </p:cNvSpPr>
          <p:nvPr>
            <p:ph idx="1"/>
          </p:nvPr>
        </p:nvSpPr>
        <p:spPr>
          <a:xfrm>
            <a:off x="838200" y="1808163"/>
            <a:ext cx="10486292" cy="4213225"/>
          </a:xfrm>
        </p:spPr>
        <p:txBody>
          <a:bodyPr/>
          <a:lstStyle>
            <a:lvl1pPr>
              <a:defRPr>
                <a:solidFill>
                  <a:schemeClr val="accent3"/>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001367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Rubrik och innehåll">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129900EB-86E0-42CE-BD68-1907DECA0F61}"/>
              </a:ext>
            </a:extLst>
          </p:cNvPr>
          <p:cNvSpPr>
            <a:spLocks noGrp="1"/>
          </p:cNvSpPr>
          <p:nvPr>
            <p:ph type="title" hasCustomPrompt="1"/>
          </p:nvPr>
        </p:nvSpPr>
        <p:spPr/>
        <p:txBody>
          <a:bodyPr/>
          <a:lstStyle>
            <a:lvl1pPr>
              <a:defRPr/>
            </a:lvl1pPr>
          </a:lstStyle>
          <a:p>
            <a:r>
              <a:rPr lang="sv-SE"/>
              <a:t>Klicka här för att lägga till rubrik</a:t>
            </a:r>
          </a:p>
        </p:txBody>
      </p:sp>
      <p:sp>
        <p:nvSpPr>
          <p:cNvPr id="8" name="Platshållare för datum 7">
            <a:extLst>
              <a:ext uri="{FF2B5EF4-FFF2-40B4-BE49-F238E27FC236}">
                <a16:creationId xmlns:a16="http://schemas.microsoft.com/office/drawing/2014/main" id="{80E53CC2-EFA0-43F4-885E-E918F47E59D0}"/>
              </a:ext>
            </a:extLst>
          </p:cNvPr>
          <p:cNvSpPr>
            <a:spLocks noGrp="1"/>
          </p:cNvSpPr>
          <p:nvPr>
            <p:ph type="dt" sz="half" idx="15"/>
          </p:nvPr>
        </p:nvSpPr>
        <p:spPr/>
        <p:txBody>
          <a:bodyPr/>
          <a:lstStyle/>
          <a:p>
            <a:fld id="{07CA6380-F5EA-4D10-96D4-0D1CC8B384C9}" type="datetime1">
              <a:rPr lang="sv-SE" smtClean="0"/>
              <a:t>2025-05-20</a:t>
            </a:fld>
            <a:endParaRPr lang="sv-SE"/>
          </a:p>
        </p:txBody>
      </p:sp>
      <p:sp>
        <p:nvSpPr>
          <p:cNvPr id="13" name="Platshållare för bildnummer 12">
            <a:extLst>
              <a:ext uri="{FF2B5EF4-FFF2-40B4-BE49-F238E27FC236}">
                <a16:creationId xmlns:a16="http://schemas.microsoft.com/office/drawing/2014/main" id="{8669AD38-9DFE-4351-9721-C80DFD4E83F4}"/>
              </a:ext>
            </a:extLst>
          </p:cNvPr>
          <p:cNvSpPr>
            <a:spLocks noGrp="1"/>
          </p:cNvSpPr>
          <p:nvPr>
            <p:ph type="sldNum" sz="quarter" idx="17"/>
          </p:nvPr>
        </p:nvSpPr>
        <p:spPr/>
        <p:txBody>
          <a:bodyPr/>
          <a:lstStyle/>
          <a:p>
            <a:fld id="{F8310E76-72E8-4744-9786-BEC11B8BE0E6}" type="slidenum">
              <a:rPr lang="sv-SE" smtClean="0"/>
              <a:pPr/>
              <a:t>‹#›</a:t>
            </a:fld>
            <a:endParaRPr lang="sv-SE"/>
          </a:p>
        </p:txBody>
      </p:sp>
      <p:sp>
        <p:nvSpPr>
          <p:cNvPr id="9" name="Content Placeholder 2">
            <a:extLst>
              <a:ext uri="{FF2B5EF4-FFF2-40B4-BE49-F238E27FC236}">
                <a16:creationId xmlns:a16="http://schemas.microsoft.com/office/drawing/2014/main" id="{A8BC5504-BADA-4DE3-8266-37115467AE44}"/>
              </a:ext>
            </a:extLst>
          </p:cNvPr>
          <p:cNvSpPr>
            <a:spLocks noGrp="1"/>
          </p:cNvSpPr>
          <p:nvPr>
            <p:ph idx="1"/>
          </p:nvPr>
        </p:nvSpPr>
        <p:spPr>
          <a:xfrm>
            <a:off x="838200" y="1808163"/>
            <a:ext cx="10486292" cy="4213225"/>
          </a:xfrm>
        </p:spPr>
        <p:txBody>
          <a:bodyPr/>
          <a:lstStyle>
            <a:lvl1pPr>
              <a:defRPr>
                <a:solidFill>
                  <a:schemeClr val="accent3"/>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8151975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vå delar text i tonplat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p:nvPr>
        </p:nvSpPr>
        <p:spPr/>
        <p:txBody>
          <a:bodyPr/>
          <a:lstStyle/>
          <a:p>
            <a:r>
              <a:rPr lang="en-US"/>
              <a:t>Click to edit Master title style</a:t>
            </a:r>
            <a:endParaRPr lang="sv-SE"/>
          </a:p>
        </p:txBody>
      </p:sp>
      <p:sp>
        <p:nvSpPr>
          <p:cNvPr id="5" name="Platshållare för datum 4">
            <a:extLst>
              <a:ext uri="{FF2B5EF4-FFF2-40B4-BE49-F238E27FC236}">
                <a16:creationId xmlns:a16="http://schemas.microsoft.com/office/drawing/2014/main" id="{2DB38A1C-9E0A-6344-A69F-EEE3CD3DEE71}"/>
              </a:ext>
            </a:extLst>
          </p:cNvPr>
          <p:cNvSpPr>
            <a:spLocks noGrp="1"/>
          </p:cNvSpPr>
          <p:nvPr>
            <p:ph type="dt" sz="half" idx="10"/>
          </p:nvPr>
        </p:nvSpPr>
        <p:spPr/>
        <p:txBody>
          <a:bodyPr/>
          <a:lstStyle/>
          <a:p>
            <a:fld id="{628AD7D0-719A-4C0A-83F4-52F7A55864B0}" type="datetime1">
              <a:rPr lang="sv-SE" smtClean="0"/>
              <a:t>2025-05-20</a:t>
            </a:fld>
            <a:endParaRPr lang="sv-SE"/>
          </a:p>
        </p:txBody>
      </p:sp>
      <p:sp>
        <p:nvSpPr>
          <p:cNvPr id="6" name="Platshållare för sidfot 5">
            <a:extLst>
              <a:ext uri="{FF2B5EF4-FFF2-40B4-BE49-F238E27FC236}">
                <a16:creationId xmlns:a16="http://schemas.microsoft.com/office/drawing/2014/main" id="{FD1606B4-6EEC-1D4C-8AAA-4A50F55ACEC7}"/>
              </a:ext>
            </a:extLst>
          </p:cNvPr>
          <p:cNvSpPr>
            <a:spLocks noGrp="1"/>
          </p:cNvSpPr>
          <p:nvPr>
            <p:ph type="ftr" sz="quarter" idx="11"/>
          </p:nvPr>
        </p:nvSpPr>
        <p:spPr/>
        <p:txBody>
          <a:bodyPr/>
          <a:lstStyle/>
          <a:p>
            <a:pPr algn="l"/>
            <a:r>
              <a:rPr lang="sv-SE"/>
              <a:t>External</a:t>
            </a:r>
          </a:p>
        </p:txBody>
      </p:sp>
      <p:sp>
        <p:nvSpPr>
          <p:cNvPr id="7" name="Platshållare för bildnummer 6">
            <a:extLst>
              <a:ext uri="{FF2B5EF4-FFF2-40B4-BE49-F238E27FC236}">
                <a16:creationId xmlns:a16="http://schemas.microsoft.com/office/drawing/2014/main" id="{A9661BF4-13C2-4545-95B3-FFD75832102C}"/>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839789" y="1808163"/>
            <a:ext cx="5112000" cy="4249737"/>
          </a:xfrm>
          <a:solidFill>
            <a:schemeClr val="accent1"/>
          </a:solidFill>
        </p:spPr>
        <p:txBody>
          <a:bodyPr lIns="180000" tIns="144000" rIns="180000" bIns="144000"/>
          <a:lstStyle>
            <a:lvl1pPr marL="0" indent="0" algn="ctr">
              <a:buFont typeface="Arial" panose="020B0604020202020204" pitchFamily="34" charset="0"/>
              <a:buNone/>
              <a:defRPr>
                <a:solidFill>
                  <a:schemeClr val="bg1"/>
                </a:solidFill>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en-US"/>
              <a:t>Click to edit Master text styles</a:t>
            </a:r>
          </a:p>
        </p:txBody>
      </p:sp>
      <p:sp>
        <p:nvSpPr>
          <p:cNvPr id="13" name="Platshållare för text 12">
            <a:extLst>
              <a:ext uri="{FF2B5EF4-FFF2-40B4-BE49-F238E27FC236}">
                <a16:creationId xmlns:a16="http://schemas.microsoft.com/office/drawing/2014/main" id="{ABCBECAD-271C-2F43-844C-572490A4BAC4}"/>
              </a:ext>
            </a:extLst>
          </p:cNvPr>
          <p:cNvSpPr>
            <a:spLocks noGrp="1"/>
          </p:cNvSpPr>
          <p:nvPr>
            <p:ph type="body" sz="quarter" idx="14"/>
          </p:nvPr>
        </p:nvSpPr>
        <p:spPr>
          <a:xfrm>
            <a:off x="6240213" y="1812240"/>
            <a:ext cx="5112000" cy="4249737"/>
          </a:xfrm>
          <a:solidFill>
            <a:schemeClr val="accent2"/>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95904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yra delar text i tonplat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p:nvPr>
        </p:nvSpPr>
        <p:spPr/>
        <p:txBody>
          <a:bodyPr/>
          <a:lstStyle/>
          <a:p>
            <a:r>
              <a:rPr lang="en-US"/>
              <a:t>Click to edit Master title style</a:t>
            </a:r>
            <a:endParaRPr lang="sv-SE"/>
          </a:p>
        </p:txBody>
      </p:sp>
      <p:sp>
        <p:nvSpPr>
          <p:cNvPr id="5" name="Platshållare för datum 4">
            <a:extLst>
              <a:ext uri="{FF2B5EF4-FFF2-40B4-BE49-F238E27FC236}">
                <a16:creationId xmlns:a16="http://schemas.microsoft.com/office/drawing/2014/main" id="{2DB38A1C-9E0A-6344-A69F-EEE3CD3DEE71}"/>
              </a:ext>
            </a:extLst>
          </p:cNvPr>
          <p:cNvSpPr>
            <a:spLocks noGrp="1"/>
          </p:cNvSpPr>
          <p:nvPr>
            <p:ph type="dt" sz="half" idx="10"/>
          </p:nvPr>
        </p:nvSpPr>
        <p:spPr/>
        <p:txBody>
          <a:bodyPr/>
          <a:lstStyle/>
          <a:p>
            <a:fld id="{CF267A8D-47EE-482C-B9C4-17C9D977F990}" type="datetime1">
              <a:rPr lang="sv-SE" smtClean="0"/>
              <a:t>2025-05-20</a:t>
            </a:fld>
            <a:endParaRPr lang="sv-SE"/>
          </a:p>
        </p:txBody>
      </p:sp>
      <p:sp>
        <p:nvSpPr>
          <p:cNvPr id="6" name="Platshållare för sidfot 5">
            <a:extLst>
              <a:ext uri="{FF2B5EF4-FFF2-40B4-BE49-F238E27FC236}">
                <a16:creationId xmlns:a16="http://schemas.microsoft.com/office/drawing/2014/main" id="{FD1606B4-6EEC-1D4C-8AAA-4A50F55ACEC7}"/>
              </a:ext>
            </a:extLst>
          </p:cNvPr>
          <p:cNvSpPr>
            <a:spLocks noGrp="1"/>
          </p:cNvSpPr>
          <p:nvPr>
            <p:ph type="ftr" sz="quarter" idx="11"/>
          </p:nvPr>
        </p:nvSpPr>
        <p:spPr/>
        <p:txBody>
          <a:bodyPr/>
          <a:lstStyle/>
          <a:p>
            <a:pPr algn="l"/>
            <a:r>
              <a:rPr lang="sv-SE"/>
              <a:t>External</a:t>
            </a:r>
          </a:p>
        </p:txBody>
      </p:sp>
      <p:sp>
        <p:nvSpPr>
          <p:cNvPr id="7" name="Platshållare för bildnummer 6">
            <a:extLst>
              <a:ext uri="{FF2B5EF4-FFF2-40B4-BE49-F238E27FC236}">
                <a16:creationId xmlns:a16="http://schemas.microsoft.com/office/drawing/2014/main" id="{A9661BF4-13C2-4545-95B3-FFD75832102C}"/>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839789" y="1808164"/>
            <a:ext cx="5112000" cy="2052000"/>
          </a:xfrm>
          <a:solidFill>
            <a:schemeClr val="accent1"/>
          </a:solidFill>
        </p:spPr>
        <p:txBody>
          <a:bodyPr lIns="180000" tIns="144000" rIns="180000" bIns="144000"/>
          <a:lstStyle>
            <a:lvl1pPr marL="0" indent="0" algn="ctr">
              <a:buFont typeface="Arial" panose="020B0604020202020204" pitchFamily="34" charset="0"/>
              <a:buNone/>
              <a:defRPr>
                <a:solidFill>
                  <a:schemeClr val="bg1"/>
                </a:solidFill>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en-US"/>
              <a:t>Click to edit Master text styles</a:t>
            </a:r>
          </a:p>
        </p:txBody>
      </p:sp>
      <p:sp>
        <p:nvSpPr>
          <p:cNvPr id="13" name="Platshållare för text 12">
            <a:extLst>
              <a:ext uri="{FF2B5EF4-FFF2-40B4-BE49-F238E27FC236}">
                <a16:creationId xmlns:a16="http://schemas.microsoft.com/office/drawing/2014/main" id="{ABCBECAD-271C-2F43-844C-572490A4BAC4}"/>
              </a:ext>
            </a:extLst>
          </p:cNvPr>
          <p:cNvSpPr>
            <a:spLocks noGrp="1"/>
          </p:cNvSpPr>
          <p:nvPr>
            <p:ph type="body" sz="quarter" idx="14"/>
          </p:nvPr>
        </p:nvSpPr>
        <p:spPr>
          <a:xfrm>
            <a:off x="6240213" y="1812241"/>
            <a:ext cx="5112000" cy="2052000"/>
          </a:xfrm>
          <a:solidFill>
            <a:schemeClr val="accent2"/>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
        <p:nvSpPr>
          <p:cNvPr id="4" name="Platshållare för text 3">
            <a:extLst>
              <a:ext uri="{FF2B5EF4-FFF2-40B4-BE49-F238E27FC236}">
                <a16:creationId xmlns:a16="http://schemas.microsoft.com/office/drawing/2014/main" id="{1FDF2824-9566-A140-B8A8-643402BC8551}"/>
              </a:ext>
            </a:extLst>
          </p:cNvPr>
          <p:cNvSpPr>
            <a:spLocks noGrp="1"/>
          </p:cNvSpPr>
          <p:nvPr>
            <p:ph type="body" sz="quarter" idx="15"/>
          </p:nvPr>
        </p:nvSpPr>
        <p:spPr>
          <a:xfrm>
            <a:off x="839788" y="4005900"/>
            <a:ext cx="5111750" cy="2052000"/>
          </a:xfrm>
          <a:solidFill>
            <a:schemeClr val="accent2"/>
          </a:solidFill>
        </p:spPr>
        <p:txBody>
          <a:bodyPr lIns="180000" tIns="144000" rIns="180000" bIns="144000"/>
          <a:lstStyle>
            <a:lvl1pPr marL="0" indent="0" algn="ctr">
              <a:buNone/>
              <a:defRPr>
                <a:solidFill>
                  <a:schemeClr val="bg1"/>
                </a:solidFill>
              </a:defRPr>
            </a:lvl1pPr>
            <a:lvl2pPr marL="457200" indent="0">
              <a:buNone/>
              <a:defRPr/>
            </a:lvl2pPr>
            <a:lvl3pPr marL="734400" indent="0">
              <a:buNone/>
              <a:defRPr/>
            </a:lvl3pPr>
            <a:lvl4pPr marL="975600" indent="0">
              <a:buNone/>
              <a:defRPr/>
            </a:lvl4pPr>
            <a:lvl5pPr marL="1216800" indent="0">
              <a:buNone/>
              <a:defRPr/>
            </a:lvl5pPr>
          </a:lstStyle>
          <a:p>
            <a:pPr lvl="0"/>
            <a:r>
              <a:rPr lang="en-US"/>
              <a:t>Click to edit Master text styles</a:t>
            </a:r>
          </a:p>
        </p:txBody>
      </p:sp>
      <p:sp>
        <p:nvSpPr>
          <p:cNvPr id="9" name="Platshållare för text 8">
            <a:extLst>
              <a:ext uri="{FF2B5EF4-FFF2-40B4-BE49-F238E27FC236}">
                <a16:creationId xmlns:a16="http://schemas.microsoft.com/office/drawing/2014/main" id="{9E826C15-EAAA-3C45-8C31-4D217789EE05}"/>
              </a:ext>
            </a:extLst>
          </p:cNvPr>
          <p:cNvSpPr>
            <a:spLocks noGrp="1"/>
          </p:cNvSpPr>
          <p:nvPr>
            <p:ph type="body" sz="quarter" idx="16"/>
          </p:nvPr>
        </p:nvSpPr>
        <p:spPr>
          <a:xfrm>
            <a:off x="6240463" y="4005900"/>
            <a:ext cx="5111750" cy="2052000"/>
          </a:xfrm>
          <a:solidFill>
            <a:schemeClr val="tx2"/>
          </a:solidFill>
          <a:ln>
            <a:noFill/>
          </a:ln>
        </p:spPr>
        <p:txBody>
          <a:bodyPr lIns="180000" tIns="144000" rIns="180000" bIns="144000"/>
          <a:lstStyle>
            <a:lvl1pPr marL="0" indent="0" algn="ctr">
              <a:buNone/>
              <a:defRPr>
                <a:solidFill>
                  <a:schemeClr val="bg1"/>
                </a:solidFill>
              </a:defRPr>
            </a:lvl1pPr>
            <a:lvl2pPr marL="457200" indent="0" algn="ctr">
              <a:buNone/>
              <a:defRPr>
                <a:solidFill>
                  <a:schemeClr val="bg1"/>
                </a:solidFill>
              </a:defRPr>
            </a:lvl2pPr>
            <a:lvl3pPr marL="734400" indent="0" algn="ctr">
              <a:buNone/>
              <a:defRPr>
                <a:solidFill>
                  <a:schemeClr val="bg1"/>
                </a:solidFill>
              </a:defRPr>
            </a:lvl3pPr>
            <a:lvl4pPr marL="975600" indent="0" algn="ctr">
              <a:buNone/>
              <a:defRPr>
                <a:solidFill>
                  <a:schemeClr val="bg1"/>
                </a:solidFill>
              </a:defRPr>
            </a:lvl4pPr>
            <a:lvl5pPr marL="1216800" indent="0" algn="ctr">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3140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x delar text i tonplat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p:nvPr>
        </p:nvSpPr>
        <p:spPr/>
        <p:txBody>
          <a:bodyPr/>
          <a:lstStyle/>
          <a:p>
            <a:r>
              <a:rPr lang="en-US"/>
              <a:t>Click to edit Master title style</a:t>
            </a:r>
            <a:endParaRPr lang="sv-SE"/>
          </a:p>
        </p:txBody>
      </p:sp>
      <p:sp>
        <p:nvSpPr>
          <p:cNvPr id="5" name="Platshållare för datum 4">
            <a:extLst>
              <a:ext uri="{FF2B5EF4-FFF2-40B4-BE49-F238E27FC236}">
                <a16:creationId xmlns:a16="http://schemas.microsoft.com/office/drawing/2014/main" id="{2DB38A1C-9E0A-6344-A69F-EEE3CD3DEE71}"/>
              </a:ext>
            </a:extLst>
          </p:cNvPr>
          <p:cNvSpPr>
            <a:spLocks noGrp="1"/>
          </p:cNvSpPr>
          <p:nvPr>
            <p:ph type="dt" sz="half" idx="10"/>
          </p:nvPr>
        </p:nvSpPr>
        <p:spPr/>
        <p:txBody>
          <a:bodyPr/>
          <a:lstStyle/>
          <a:p>
            <a:fld id="{D23F75D3-C723-4BE2-9D75-73D16DD311D3}" type="datetime1">
              <a:rPr lang="sv-SE" smtClean="0"/>
              <a:t>2025-05-20</a:t>
            </a:fld>
            <a:endParaRPr lang="sv-SE"/>
          </a:p>
        </p:txBody>
      </p:sp>
      <p:sp>
        <p:nvSpPr>
          <p:cNvPr id="6" name="Platshållare för sidfot 5">
            <a:extLst>
              <a:ext uri="{FF2B5EF4-FFF2-40B4-BE49-F238E27FC236}">
                <a16:creationId xmlns:a16="http://schemas.microsoft.com/office/drawing/2014/main" id="{FD1606B4-6EEC-1D4C-8AAA-4A50F55ACEC7}"/>
              </a:ext>
            </a:extLst>
          </p:cNvPr>
          <p:cNvSpPr>
            <a:spLocks noGrp="1"/>
          </p:cNvSpPr>
          <p:nvPr>
            <p:ph type="ftr" sz="quarter" idx="11"/>
          </p:nvPr>
        </p:nvSpPr>
        <p:spPr/>
        <p:txBody>
          <a:bodyPr/>
          <a:lstStyle/>
          <a:p>
            <a:pPr algn="l"/>
            <a:r>
              <a:rPr lang="sv-SE"/>
              <a:t>External</a:t>
            </a:r>
          </a:p>
        </p:txBody>
      </p:sp>
      <p:sp>
        <p:nvSpPr>
          <p:cNvPr id="7" name="Platshållare för bildnummer 6">
            <a:extLst>
              <a:ext uri="{FF2B5EF4-FFF2-40B4-BE49-F238E27FC236}">
                <a16:creationId xmlns:a16="http://schemas.microsoft.com/office/drawing/2014/main" id="{A9661BF4-13C2-4545-95B3-FFD75832102C}"/>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839789" y="1808164"/>
            <a:ext cx="3348000" cy="2052000"/>
          </a:xfrm>
          <a:solidFill>
            <a:schemeClr val="accent1"/>
          </a:solidFill>
        </p:spPr>
        <p:txBody>
          <a:bodyPr lIns="180000" tIns="144000" rIns="180000" bIns="144000"/>
          <a:lstStyle>
            <a:lvl1pPr marL="0" indent="0" algn="ctr">
              <a:buFont typeface="Arial" panose="020B0604020202020204" pitchFamily="34" charset="0"/>
              <a:buNone/>
              <a:defRPr>
                <a:solidFill>
                  <a:schemeClr val="bg1"/>
                </a:solidFill>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en-US"/>
              <a:t>Click to edit Master text styles</a:t>
            </a:r>
          </a:p>
        </p:txBody>
      </p:sp>
      <p:sp>
        <p:nvSpPr>
          <p:cNvPr id="13" name="Platshållare för text 12">
            <a:extLst>
              <a:ext uri="{FF2B5EF4-FFF2-40B4-BE49-F238E27FC236}">
                <a16:creationId xmlns:a16="http://schemas.microsoft.com/office/drawing/2014/main" id="{ABCBECAD-271C-2F43-844C-572490A4BAC4}"/>
              </a:ext>
            </a:extLst>
          </p:cNvPr>
          <p:cNvSpPr>
            <a:spLocks noGrp="1"/>
          </p:cNvSpPr>
          <p:nvPr>
            <p:ph type="body" sz="quarter" idx="14"/>
          </p:nvPr>
        </p:nvSpPr>
        <p:spPr>
          <a:xfrm>
            <a:off x="4422000" y="1812241"/>
            <a:ext cx="3348000" cy="2052000"/>
          </a:xfrm>
          <a:solidFill>
            <a:schemeClr val="accent2"/>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
        <p:nvSpPr>
          <p:cNvPr id="4" name="Platshållare för text 3">
            <a:extLst>
              <a:ext uri="{FF2B5EF4-FFF2-40B4-BE49-F238E27FC236}">
                <a16:creationId xmlns:a16="http://schemas.microsoft.com/office/drawing/2014/main" id="{1FDF2824-9566-A140-B8A8-643402BC8551}"/>
              </a:ext>
            </a:extLst>
          </p:cNvPr>
          <p:cNvSpPr>
            <a:spLocks noGrp="1"/>
          </p:cNvSpPr>
          <p:nvPr>
            <p:ph type="body" sz="quarter" idx="15"/>
          </p:nvPr>
        </p:nvSpPr>
        <p:spPr>
          <a:xfrm>
            <a:off x="839788" y="4005900"/>
            <a:ext cx="3348000" cy="2052000"/>
          </a:xfrm>
          <a:solidFill>
            <a:schemeClr val="tx2"/>
          </a:solidFill>
        </p:spPr>
        <p:txBody>
          <a:bodyPr lIns="180000" tIns="144000" rIns="180000" bIns="144000"/>
          <a:lstStyle>
            <a:lvl1pPr marL="0" indent="0" algn="ctr">
              <a:buNone/>
              <a:defRPr>
                <a:solidFill>
                  <a:schemeClr val="bg1"/>
                </a:solidFill>
              </a:defRPr>
            </a:lvl1pPr>
            <a:lvl2pPr marL="457200" indent="0">
              <a:buNone/>
              <a:defRPr/>
            </a:lvl2pPr>
            <a:lvl3pPr marL="734400" indent="0">
              <a:buNone/>
              <a:defRPr/>
            </a:lvl3pPr>
            <a:lvl4pPr marL="975600" indent="0">
              <a:buNone/>
              <a:defRPr/>
            </a:lvl4pPr>
            <a:lvl5pPr marL="1216800" indent="0">
              <a:buNone/>
              <a:defRPr/>
            </a:lvl5pPr>
          </a:lstStyle>
          <a:p>
            <a:pPr lvl="0"/>
            <a:r>
              <a:rPr lang="en-US"/>
              <a:t>Click to edit Master text styles</a:t>
            </a:r>
          </a:p>
        </p:txBody>
      </p:sp>
      <p:sp>
        <p:nvSpPr>
          <p:cNvPr id="9" name="Platshållare för text 8">
            <a:extLst>
              <a:ext uri="{FF2B5EF4-FFF2-40B4-BE49-F238E27FC236}">
                <a16:creationId xmlns:a16="http://schemas.microsoft.com/office/drawing/2014/main" id="{9E826C15-EAAA-3C45-8C31-4D217789EE05}"/>
              </a:ext>
            </a:extLst>
          </p:cNvPr>
          <p:cNvSpPr>
            <a:spLocks noGrp="1"/>
          </p:cNvSpPr>
          <p:nvPr>
            <p:ph type="body" sz="quarter" idx="16"/>
          </p:nvPr>
        </p:nvSpPr>
        <p:spPr>
          <a:xfrm>
            <a:off x="4422000" y="4005900"/>
            <a:ext cx="3348000" cy="2052000"/>
          </a:xfrm>
          <a:solidFill>
            <a:schemeClr val="accent2"/>
          </a:solidFill>
          <a:ln>
            <a:noFill/>
          </a:ln>
        </p:spPr>
        <p:txBody>
          <a:bodyPr lIns="180000" tIns="144000" rIns="180000" bIns="144000"/>
          <a:lstStyle>
            <a:lvl1pPr marL="0" indent="0" algn="ctr">
              <a:buNone/>
              <a:defRPr>
                <a:solidFill>
                  <a:schemeClr val="bg1"/>
                </a:solidFill>
              </a:defRPr>
            </a:lvl1pPr>
            <a:lvl2pPr marL="457200" indent="0" algn="ctr">
              <a:buNone/>
              <a:defRPr>
                <a:solidFill>
                  <a:schemeClr val="bg1"/>
                </a:solidFill>
              </a:defRPr>
            </a:lvl2pPr>
            <a:lvl3pPr marL="734400" indent="0" algn="ctr">
              <a:buNone/>
              <a:defRPr>
                <a:solidFill>
                  <a:schemeClr val="bg1"/>
                </a:solidFill>
              </a:defRPr>
            </a:lvl3pPr>
            <a:lvl4pPr marL="975600" indent="0" algn="ctr">
              <a:buNone/>
              <a:defRPr>
                <a:solidFill>
                  <a:schemeClr val="bg1"/>
                </a:solidFill>
              </a:defRPr>
            </a:lvl4pPr>
            <a:lvl5pPr marL="1216800" indent="0" algn="ctr">
              <a:buNone/>
              <a:defRPr>
                <a:solidFill>
                  <a:schemeClr val="bg1"/>
                </a:solidFill>
              </a:defRPr>
            </a:lvl5pPr>
          </a:lstStyle>
          <a:p>
            <a:pPr lvl="0"/>
            <a:r>
              <a:rPr lang="en-US"/>
              <a:t>Click to edit Master text styles</a:t>
            </a:r>
          </a:p>
        </p:txBody>
      </p:sp>
      <p:sp>
        <p:nvSpPr>
          <p:cNvPr id="10" name="Platshållare för text 12">
            <a:extLst>
              <a:ext uri="{FF2B5EF4-FFF2-40B4-BE49-F238E27FC236}">
                <a16:creationId xmlns:a16="http://schemas.microsoft.com/office/drawing/2014/main" id="{395C315D-CBD7-8B44-A68E-AD386FA022D2}"/>
              </a:ext>
            </a:extLst>
          </p:cNvPr>
          <p:cNvSpPr>
            <a:spLocks noGrp="1"/>
          </p:cNvSpPr>
          <p:nvPr>
            <p:ph type="body" sz="quarter" idx="17"/>
          </p:nvPr>
        </p:nvSpPr>
        <p:spPr>
          <a:xfrm>
            <a:off x="8004211" y="1812241"/>
            <a:ext cx="3348000" cy="2052000"/>
          </a:xfrm>
          <a:solidFill>
            <a:schemeClr val="accent4"/>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
        <p:nvSpPr>
          <p:cNvPr id="12" name="Platshållare för text 12">
            <a:extLst>
              <a:ext uri="{FF2B5EF4-FFF2-40B4-BE49-F238E27FC236}">
                <a16:creationId xmlns:a16="http://schemas.microsoft.com/office/drawing/2014/main" id="{E641B636-1EC0-9E45-8AB8-958D3A229A90}"/>
              </a:ext>
            </a:extLst>
          </p:cNvPr>
          <p:cNvSpPr>
            <a:spLocks noGrp="1"/>
          </p:cNvSpPr>
          <p:nvPr>
            <p:ph type="body" sz="quarter" idx="18"/>
          </p:nvPr>
        </p:nvSpPr>
        <p:spPr>
          <a:xfrm>
            <a:off x="8004211" y="4005900"/>
            <a:ext cx="3348000" cy="2052000"/>
          </a:xfrm>
          <a:solidFill>
            <a:schemeClr val="accent4"/>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405479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yra delar text i tonplatta lodrät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p:nvPr>
        </p:nvSpPr>
        <p:spPr/>
        <p:txBody>
          <a:bodyPr/>
          <a:lstStyle/>
          <a:p>
            <a:r>
              <a:rPr lang="en-US"/>
              <a:t>Click to edit Master title style</a:t>
            </a:r>
            <a:endParaRPr lang="sv-SE"/>
          </a:p>
        </p:txBody>
      </p:sp>
      <p:sp>
        <p:nvSpPr>
          <p:cNvPr id="5" name="Platshållare för datum 4">
            <a:extLst>
              <a:ext uri="{FF2B5EF4-FFF2-40B4-BE49-F238E27FC236}">
                <a16:creationId xmlns:a16="http://schemas.microsoft.com/office/drawing/2014/main" id="{2DB38A1C-9E0A-6344-A69F-EEE3CD3DEE71}"/>
              </a:ext>
            </a:extLst>
          </p:cNvPr>
          <p:cNvSpPr>
            <a:spLocks noGrp="1"/>
          </p:cNvSpPr>
          <p:nvPr>
            <p:ph type="dt" sz="half" idx="10"/>
          </p:nvPr>
        </p:nvSpPr>
        <p:spPr/>
        <p:txBody>
          <a:bodyPr/>
          <a:lstStyle/>
          <a:p>
            <a:fld id="{5CEDE7F7-D5B1-43A9-9692-8D0E6F130C69}" type="datetime1">
              <a:rPr lang="sv-SE" smtClean="0"/>
              <a:t>2025-05-20</a:t>
            </a:fld>
            <a:endParaRPr lang="sv-SE"/>
          </a:p>
        </p:txBody>
      </p:sp>
      <p:sp>
        <p:nvSpPr>
          <p:cNvPr id="6" name="Platshållare för sidfot 5">
            <a:extLst>
              <a:ext uri="{FF2B5EF4-FFF2-40B4-BE49-F238E27FC236}">
                <a16:creationId xmlns:a16="http://schemas.microsoft.com/office/drawing/2014/main" id="{FD1606B4-6EEC-1D4C-8AAA-4A50F55ACEC7}"/>
              </a:ext>
            </a:extLst>
          </p:cNvPr>
          <p:cNvSpPr>
            <a:spLocks noGrp="1"/>
          </p:cNvSpPr>
          <p:nvPr>
            <p:ph type="ftr" sz="quarter" idx="11"/>
          </p:nvPr>
        </p:nvSpPr>
        <p:spPr/>
        <p:txBody>
          <a:bodyPr/>
          <a:lstStyle/>
          <a:p>
            <a:pPr algn="l"/>
            <a:r>
              <a:rPr lang="sv-SE"/>
              <a:t>External</a:t>
            </a:r>
          </a:p>
        </p:txBody>
      </p:sp>
      <p:sp>
        <p:nvSpPr>
          <p:cNvPr id="7" name="Platshållare för bildnummer 6">
            <a:extLst>
              <a:ext uri="{FF2B5EF4-FFF2-40B4-BE49-F238E27FC236}">
                <a16:creationId xmlns:a16="http://schemas.microsoft.com/office/drawing/2014/main" id="{A9661BF4-13C2-4545-95B3-FFD75832102C}"/>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839789" y="1808164"/>
            <a:ext cx="10512424" cy="720000"/>
          </a:xfrm>
          <a:solidFill>
            <a:schemeClr val="accent1"/>
          </a:solidFill>
        </p:spPr>
        <p:txBody>
          <a:bodyPr lIns="180000" tIns="144000" rIns="180000" bIns="144000"/>
          <a:lstStyle>
            <a:lvl1pPr marL="0" indent="0" algn="ctr">
              <a:buFont typeface="Arial" panose="020B0604020202020204" pitchFamily="34" charset="0"/>
              <a:buNone/>
              <a:defRPr>
                <a:solidFill>
                  <a:schemeClr val="bg1"/>
                </a:solidFill>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en-US"/>
              <a:t>Click to edit Master text styles</a:t>
            </a:r>
          </a:p>
        </p:txBody>
      </p:sp>
      <p:sp>
        <p:nvSpPr>
          <p:cNvPr id="13" name="Platshållare för text 12">
            <a:extLst>
              <a:ext uri="{FF2B5EF4-FFF2-40B4-BE49-F238E27FC236}">
                <a16:creationId xmlns:a16="http://schemas.microsoft.com/office/drawing/2014/main" id="{ABCBECAD-271C-2F43-844C-572490A4BAC4}"/>
              </a:ext>
            </a:extLst>
          </p:cNvPr>
          <p:cNvSpPr>
            <a:spLocks noGrp="1"/>
          </p:cNvSpPr>
          <p:nvPr>
            <p:ph type="body" sz="quarter" idx="14"/>
          </p:nvPr>
        </p:nvSpPr>
        <p:spPr>
          <a:xfrm>
            <a:off x="838200" y="2645640"/>
            <a:ext cx="10514013" cy="720000"/>
          </a:xfrm>
          <a:solidFill>
            <a:schemeClr val="accent2"/>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
        <p:nvSpPr>
          <p:cNvPr id="8" name="Platshållare för text 12">
            <a:extLst>
              <a:ext uri="{FF2B5EF4-FFF2-40B4-BE49-F238E27FC236}">
                <a16:creationId xmlns:a16="http://schemas.microsoft.com/office/drawing/2014/main" id="{8659D9B9-12DF-184A-92AC-FC62B33D7CBC}"/>
              </a:ext>
            </a:extLst>
          </p:cNvPr>
          <p:cNvSpPr>
            <a:spLocks noGrp="1"/>
          </p:cNvSpPr>
          <p:nvPr>
            <p:ph type="body" sz="quarter" idx="15"/>
          </p:nvPr>
        </p:nvSpPr>
        <p:spPr>
          <a:xfrm>
            <a:off x="838200" y="3483116"/>
            <a:ext cx="10514013" cy="720000"/>
          </a:xfrm>
          <a:solidFill>
            <a:schemeClr val="accent4"/>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
        <p:nvSpPr>
          <p:cNvPr id="9" name="Platshållare för text 12">
            <a:extLst>
              <a:ext uri="{FF2B5EF4-FFF2-40B4-BE49-F238E27FC236}">
                <a16:creationId xmlns:a16="http://schemas.microsoft.com/office/drawing/2014/main" id="{D633A8FE-19C3-CD46-8670-798604D879D7}"/>
              </a:ext>
            </a:extLst>
          </p:cNvPr>
          <p:cNvSpPr>
            <a:spLocks noGrp="1"/>
          </p:cNvSpPr>
          <p:nvPr>
            <p:ph type="body" sz="quarter" idx="16"/>
          </p:nvPr>
        </p:nvSpPr>
        <p:spPr>
          <a:xfrm>
            <a:off x="838200" y="4321398"/>
            <a:ext cx="10514013" cy="720000"/>
          </a:xfrm>
          <a:solidFill>
            <a:schemeClr val="accent3"/>
          </a:solidFill>
        </p:spPr>
        <p:txBody>
          <a:bodyPr lIns="180000" tIns="144000" rIns="180000" bIns="144000"/>
          <a:lstStyle>
            <a:lvl1pPr marL="0" indent="0" algn="ctr">
              <a:buNone/>
              <a:defRPr>
                <a:solidFill>
                  <a:schemeClr val="bg1"/>
                </a:solidFill>
              </a:defRPr>
            </a:lvl1pPr>
            <a:lvl2pPr marL="457200" indent="0">
              <a:buNone/>
              <a:defRPr>
                <a:solidFill>
                  <a:schemeClr val="bg1"/>
                </a:solidFill>
              </a:defRPr>
            </a:lvl2pPr>
            <a:lvl3pPr marL="734400" indent="0">
              <a:buNone/>
              <a:defRPr>
                <a:solidFill>
                  <a:schemeClr val="bg1"/>
                </a:solidFill>
              </a:defRPr>
            </a:lvl3pPr>
            <a:lvl4pPr marL="975600" indent="0">
              <a:buNone/>
              <a:defRPr>
                <a:solidFill>
                  <a:schemeClr val="bg1"/>
                </a:solidFill>
              </a:defRPr>
            </a:lvl4pPr>
            <a:lvl5pPr marL="1216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042736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dslinje">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52B4E1F8-B563-5F47-9033-23FE04E94CCB}"/>
              </a:ext>
            </a:extLst>
          </p:cNvPr>
          <p:cNvSpPr/>
          <p:nvPr userDrawn="1"/>
        </p:nvSpPr>
        <p:spPr>
          <a:xfrm>
            <a:off x="838200" y="2158748"/>
            <a:ext cx="10513541" cy="3899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E0EF65A-4EF1-AB4D-B663-4DFEF0056B14}"/>
              </a:ext>
            </a:extLst>
          </p:cNvPr>
          <p:cNvSpPr>
            <a:spLocks noGrp="1"/>
          </p:cNvSpPr>
          <p:nvPr>
            <p:ph type="title"/>
          </p:nvPr>
        </p:nvSpPr>
        <p:spPr/>
        <p:txBody>
          <a:bodyPr/>
          <a:lstStyle/>
          <a:p>
            <a:r>
              <a:rPr lang="sv-SE"/>
              <a:t>Klicka här för att ändra mall för rubrikformat</a:t>
            </a:r>
          </a:p>
        </p:txBody>
      </p:sp>
      <p:sp>
        <p:nvSpPr>
          <p:cNvPr id="5" name="Platshållare för datum 4">
            <a:extLst>
              <a:ext uri="{FF2B5EF4-FFF2-40B4-BE49-F238E27FC236}">
                <a16:creationId xmlns:a16="http://schemas.microsoft.com/office/drawing/2014/main" id="{2DB38A1C-9E0A-6344-A69F-EEE3CD3DEE71}"/>
              </a:ext>
            </a:extLst>
          </p:cNvPr>
          <p:cNvSpPr>
            <a:spLocks noGrp="1"/>
          </p:cNvSpPr>
          <p:nvPr>
            <p:ph type="dt" sz="half" idx="10"/>
          </p:nvPr>
        </p:nvSpPr>
        <p:spPr/>
        <p:txBody>
          <a:bodyPr/>
          <a:lstStyle/>
          <a:p>
            <a:fld id="{8F1FD747-04AA-47A6-82A0-5BE10E4C0277}" type="datetime1">
              <a:rPr lang="sv-SE" smtClean="0"/>
              <a:t>2025-05-20</a:t>
            </a:fld>
            <a:endParaRPr lang="sv-SE"/>
          </a:p>
        </p:txBody>
      </p:sp>
      <p:sp>
        <p:nvSpPr>
          <p:cNvPr id="6" name="Platshållare för sidfot 5">
            <a:extLst>
              <a:ext uri="{FF2B5EF4-FFF2-40B4-BE49-F238E27FC236}">
                <a16:creationId xmlns:a16="http://schemas.microsoft.com/office/drawing/2014/main" id="{FD1606B4-6EEC-1D4C-8AAA-4A50F55ACEC7}"/>
              </a:ext>
            </a:extLst>
          </p:cNvPr>
          <p:cNvSpPr>
            <a:spLocks noGrp="1"/>
          </p:cNvSpPr>
          <p:nvPr>
            <p:ph type="ftr" sz="quarter" idx="11"/>
          </p:nvPr>
        </p:nvSpPr>
        <p:spPr/>
        <p:txBody>
          <a:bodyPr/>
          <a:lstStyle/>
          <a:p>
            <a:pPr algn="l"/>
            <a:r>
              <a:rPr lang="sv-SE"/>
              <a:t>External</a:t>
            </a:r>
          </a:p>
        </p:txBody>
      </p:sp>
      <p:sp>
        <p:nvSpPr>
          <p:cNvPr id="7" name="Platshållare för bildnummer 6">
            <a:extLst>
              <a:ext uri="{FF2B5EF4-FFF2-40B4-BE49-F238E27FC236}">
                <a16:creationId xmlns:a16="http://schemas.microsoft.com/office/drawing/2014/main" id="{A9661BF4-13C2-4545-95B3-FFD75832102C}"/>
              </a:ext>
            </a:extLst>
          </p:cNvPr>
          <p:cNvSpPr>
            <a:spLocks noGrp="1"/>
          </p:cNvSpPr>
          <p:nvPr>
            <p:ph type="sldNum" sz="quarter" idx="12"/>
          </p:nvPr>
        </p:nvSpPr>
        <p:spPr/>
        <p:txBody>
          <a:bodyPr/>
          <a:lstStyle/>
          <a:p>
            <a:fld id="{F1B3B4BD-EB47-1D45-9087-F777A38FB609}" type="slidenum">
              <a:rPr lang="sv-SE" smtClean="0"/>
              <a:t>‹#›</a:t>
            </a:fld>
            <a:endParaRPr lang="sv-SE"/>
          </a:p>
        </p:txBody>
      </p:sp>
      <p:sp>
        <p:nvSpPr>
          <p:cNvPr id="23" name="Platshållare för text 22">
            <a:extLst>
              <a:ext uri="{FF2B5EF4-FFF2-40B4-BE49-F238E27FC236}">
                <a16:creationId xmlns:a16="http://schemas.microsoft.com/office/drawing/2014/main" id="{D3C63D62-F54A-2142-8D43-1483F5A7D75B}"/>
              </a:ext>
            </a:extLst>
          </p:cNvPr>
          <p:cNvSpPr>
            <a:spLocks noGrp="1"/>
          </p:cNvSpPr>
          <p:nvPr>
            <p:ph type="body" sz="quarter" idx="13" hasCustomPrompt="1"/>
          </p:nvPr>
        </p:nvSpPr>
        <p:spPr>
          <a:xfrm>
            <a:off x="839789"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4" name="Platshållare för text 22">
            <a:extLst>
              <a:ext uri="{FF2B5EF4-FFF2-40B4-BE49-F238E27FC236}">
                <a16:creationId xmlns:a16="http://schemas.microsoft.com/office/drawing/2014/main" id="{190D5553-D576-9240-B5DC-A7E2A397D8DF}"/>
              </a:ext>
            </a:extLst>
          </p:cNvPr>
          <p:cNvSpPr>
            <a:spLocks noGrp="1"/>
          </p:cNvSpPr>
          <p:nvPr>
            <p:ph type="body" sz="quarter" idx="14" hasCustomPrompt="1"/>
          </p:nvPr>
        </p:nvSpPr>
        <p:spPr>
          <a:xfrm>
            <a:off x="2343194"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5" name="Platshållare för text 22">
            <a:extLst>
              <a:ext uri="{FF2B5EF4-FFF2-40B4-BE49-F238E27FC236}">
                <a16:creationId xmlns:a16="http://schemas.microsoft.com/office/drawing/2014/main" id="{114859D1-61B0-434D-B9B3-323FBC9CC9BB}"/>
              </a:ext>
            </a:extLst>
          </p:cNvPr>
          <p:cNvSpPr>
            <a:spLocks noGrp="1"/>
          </p:cNvSpPr>
          <p:nvPr>
            <p:ph type="body" sz="quarter" idx="15" hasCustomPrompt="1"/>
          </p:nvPr>
        </p:nvSpPr>
        <p:spPr>
          <a:xfrm>
            <a:off x="3846600"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6" name="Platshållare för text 22">
            <a:extLst>
              <a:ext uri="{FF2B5EF4-FFF2-40B4-BE49-F238E27FC236}">
                <a16:creationId xmlns:a16="http://schemas.microsoft.com/office/drawing/2014/main" id="{5B0CE5DF-55EB-5647-9817-960589F1D720}"/>
              </a:ext>
            </a:extLst>
          </p:cNvPr>
          <p:cNvSpPr>
            <a:spLocks noGrp="1"/>
          </p:cNvSpPr>
          <p:nvPr>
            <p:ph type="body" sz="quarter" idx="16" hasCustomPrompt="1"/>
          </p:nvPr>
        </p:nvSpPr>
        <p:spPr>
          <a:xfrm>
            <a:off x="5350006"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7" name="Platshållare för text 22">
            <a:extLst>
              <a:ext uri="{FF2B5EF4-FFF2-40B4-BE49-F238E27FC236}">
                <a16:creationId xmlns:a16="http://schemas.microsoft.com/office/drawing/2014/main" id="{EE8CE3CB-3068-F44D-A10E-B2A44278116B}"/>
              </a:ext>
            </a:extLst>
          </p:cNvPr>
          <p:cNvSpPr>
            <a:spLocks noGrp="1"/>
          </p:cNvSpPr>
          <p:nvPr>
            <p:ph type="body" sz="quarter" idx="17" hasCustomPrompt="1"/>
          </p:nvPr>
        </p:nvSpPr>
        <p:spPr>
          <a:xfrm>
            <a:off x="6853411"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8" name="Platshållare för text 22">
            <a:extLst>
              <a:ext uri="{FF2B5EF4-FFF2-40B4-BE49-F238E27FC236}">
                <a16:creationId xmlns:a16="http://schemas.microsoft.com/office/drawing/2014/main" id="{33BA77A0-67D3-7843-9C2F-02D80394CB24}"/>
              </a:ext>
            </a:extLst>
          </p:cNvPr>
          <p:cNvSpPr>
            <a:spLocks noGrp="1"/>
          </p:cNvSpPr>
          <p:nvPr>
            <p:ph type="body" sz="quarter" idx="18" hasCustomPrompt="1"/>
          </p:nvPr>
        </p:nvSpPr>
        <p:spPr>
          <a:xfrm>
            <a:off x="8356817"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29" name="Platshållare för text 22">
            <a:extLst>
              <a:ext uri="{FF2B5EF4-FFF2-40B4-BE49-F238E27FC236}">
                <a16:creationId xmlns:a16="http://schemas.microsoft.com/office/drawing/2014/main" id="{476154A6-4E83-6945-95CB-70D87955A389}"/>
              </a:ext>
            </a:extLst>
          </p:cNvPr>
          <p:cNvSpPr>
            <a:spLocks noGrp="1"/>
          </p:cNvSpPr>
          <p:nvPr>
            <p:ph type="body" sz="quarter" idx="19" hasCustomPrompt="1"/>
          </p:nvPr>
        </p:nvSpPr>
        <p:spPr>
          <a:xfrm>
            <a:off x="9860222" y="1797130"/>
            <a:ext cx="1491519" cy="324000"/>
          </a:xfrm>
          <a:solidFill>
            <a:schemeClr val="bg2">
              <a:lumMod val="90000"/>
            </a:schemeClr>
          </a:solidFill>
          <a:ln>
            <a:solidFill>
              <a:schemeClr val="bg1"/>
            </a:solidFill>
          </a:ln>
        </p:spPr>
        <p:txBody>
          <a:bodyPr tIns="0" bIns="0" anchor="ctr" anchorCtr="0"/>
          <a:lstStyle>
            <a:lvl1pPr marL="0" indent="0" algn="ctr">
              <a:buNone/>
              <a:defRPr sz="1800">
                <a:solidFill>
                  <a:schemeClr val="tx1"/>
                </a:solidFill>
              </a:defRPr>
            </a:lvl1pPr>
            <a:lvl2pPr>
              <a:defRPr sz="1800"/>
            </a:lvl2pPr>
            <a:lvl3pPr>
              <a:defRPr sz="1800"/>
            </a:lvl3pPr>
            <a:lvl4pPr>
              <a:defRPr sz="1800"/>
            </a:lvl4pPr>
            <a:lvl5pPr>
              <a:defRPr sz="1800"/>
            </a:lvl5pPr>
          </a:lstStyle>
          <a:p>
            <a:pPr lvl="0"/>
            <a:r>
              <a:rPr lang="sv-SE"/>
              <a:t>Årtal</a:t>
            </a:r>
          </a:p>
        </p:txBody>
      </p:sp>
      <p:sp>
        <p:nvSpPr>
          <p:cNvPr id="34" name="Platshållare för text 33">
            <a:extLst>
              <a:ext uri="{FF2B5EF4-FFF2-40B4-BE49-F238E27FC236}">
                <a16:creationId xmlns:a16="http://schemas.microsoft.com/office/drawing/2014/main" id="{FFAB280C-1FD0-2141-9145-5C58D7A8D26F}"/>
              </a:ext>
            </a:extLst>
          </p:cNvPr>
          <p:cNvSpPr>
            <a:spLocks noGrp="1"/>
          </p:cNvSpPr>
          <p:nvPr>
            <p:ph type="body" sz="quarter" idx="21" hasCustomPrompt="1"/>
          </p:nvPr>
        </p:nvSpPr>
        <p:spPr>
          <a:xfrm>
            <a:off x="839788" y="2438734"/>
            <a:ext cx="1891055" cy="720000"/>
          </a:xfrm>
          <a:prstGeom prst="homePlate">
            <a:avLst/>
          </a:prstGeom>
          <a:solidFill>
            <a:schemeClr val="tx2"/>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1</a:t>
            </a:r>
          </a:p>
        </p:txBody>
      </p:sp>
      <p:sp>
        <p:nvSpPr>
          <p:cNvPr id="35" name="Platshållare för text 33">
            <a:extLst>
              <a:ext uri="{FF2B5EF4-FFF2-40B4-BE49-F238E27FC236}">
                <a16:creationId xmlns:a16="http://schemas.microsoft.com/office/drawing/2014/main" id="{98E6828F-2CFE-7A4F-9D85-1929B5966FEC}"/>
              </a:ext>
            </a:extLst>
          </p:cNvPr>
          <p:cNvSpPr>
            <a:spLocks noGrp="1"/>
          </p:cNvSpPr>
          <p:nvPr>
            <p:ph type="body" sz="quarter" idx="22" hasCustomPrompt="1"/>
          </p:nvPr>
        </p:nvSpPr>
        <p:spPr>
          <a:xfrm>
            <a:off x="2497717" y="2438734"/>
            <a:ext cx="2421923" cy="720000"/>
          </a:xfrm>
          <a:prstGeom prst="chevron">
            <a:avLst/>
          </a:prstGeom>
          <a:solidFill>
            <a:schemeClr val="tx2"/>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2</a:t>
            </a:r>
          </a:p>
        </p:txBody>
      </p:sp>
      <p:sp>
        <p:nvSpPr>
          <p:cNvPr id="36" name="Platshållare för text 33">
            <a:extLst>
              <a:ext uri="{FF2B5EF4-FFF2-40B4-BE49-F238E27FC236}">
                <a16:creationId xmlns:a16="http://schemas.microsoft.com/office/drawing/2014/main" id="{A3094F39-15AB-264B-9E40-8C2AE0456556}"/>
              </a:ext>
            </a:extLst>
          </p:cNvPr>
          <p:cNvSpPr>
            <a:spLocks noGrp="1"/>
          </p:cNvSpPr>
          <p:nvPr>
            <p:ph type="body" sz="quarter" idx="23" hasCustomPrompt="1"/>
          </p:nvPr>
        </p:nvSpPr>
        <p:spPr>
          <a:xfrm>
            <a:off x="4686514" y="2438734"/>
            <a:ext cx="4838892" cy="720000"/>
          </a:xfrm>
          <a:prstGeom prst="chevron">
            <a:avLst/>
          </a:prstGeom>
          <a:solidFill>
            <a:schemeClr val="tx2"/>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3</a:t>
            </a:r>
          </a:p>
        </p:txBody>
      </p:sp>
      <p:sp>
        <p:nvSpPr>
          <p:cNvPr id="37" name="Platshållare för text 33">
            <a:extLst>
              <a:ext uri="{FF2B5EF4-FFF2-40B4-BE49-F238E27FC236}">
                <a16:creationId xmlns:a16="http://schemas.microsoft.com/office/drawing/2014/main" id="{0A88A8B8-4D74-A746-8F5F-A19C637EEA47}"/>
              </a:ext>
            </a:extLst>
          </p:cNvPr>
          <p:cNvSpPr>
            <a:spLocks noGrp="1"/>
          </p:cNvSpPr>
          <p:nvPr>
            <p:ph type="body" sz="quarter" idx="24" hasCustomPrompt="1"/>
          </p:nvPr>
        </p:nvSpPr>
        <p:spPr>
          <a:xfrm>
            <a:off x="9292281" y="2438734"/>
            <a:ext cx="2421923" cy="720000"/>
          </a:xfrm>
          <a:prstGeom prst="chevron">
            <a:avLst/>
          </a:prstGeom>
          <a:solidFill>
            <a:schemeClr val="tx2"/>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4</a:t>
            </a:r>
          </a:p>
        </p:txBody>
      </p:sp>
      <p:sp>
        <p:nvSpPr>
          <p:cNvPr id="38" name="Platshållare för text 33">
            <a:extLst>
              <a:ext uri="{FF2B5EF4-FFF2-40B4-BE49-F238E27FC236}">
                <a16:creationId xmlns:a16="http://schemas.microsoft.com/office/drawing/2014/main" id="{9A168A50-C4CF-D049-93A4-892854B31A3D}"/>
              </a:ext>
            </a:extLst>
          </p:cNvPr>
          <p:cNvSpPr>
            <a:spLocks noGrp="1"/>
          </p:cNvSpPr>
          <p:nvPr>
            <p:ph type="body" sz="quarter" idx="25" hasCustomPrompt="1"/>
          </p:nvPr>
        </p:nvSpPr>
        <p:spPr>
          <a:xfrm>
            <a:off x="839788" y="4240640"/>
            <a:ext cx="3448007" cy="720000"/>
          </a:xfrm>
          <a:prstGeom prst="homePlate">
            <a:avLst/>
          </a:prstGeom>
          <a:solidFill>
            <a:schemeClr val="accent4"/>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Parallell process</a:t>
            </a:r>
          </a:p>
        </p:txBody>
      </p:sp>
      <p:sp>
        <p:nvSpPr>
          <p:cNvPr id="39" name="Platshållare för text 33">
            <a:extLst>
              <a:ext uri="{FF2B5EF4-FFF2-40B4-BE49-F238E27FC236}">
                <a16:creationId xmlns:a16="http://schemas.microsoft.com/office/drawing/2014/main" id="{66D65F92-1A8F-BB47-9178-36071309E7C5}"/>
              </a:ext>
            </a:extLst>
          </p:cNvPr>
          <p:cNvSpPr>
            <a:spLocks noGrp="1"/>
          </p:cNvSpPr>
          <p:nvPr>
            <p:ph type="body" sz="quarter" idx="26" hasCustomPrompt="1"/>
          </p:nvPr>
        </p:nvSpPr>
        <p:spPr>
          <a:xfrm>
            <a:off x="4066821" y="4240640"/>
            <a:ext cx="2421923" cy="720000"/>
          </a:xfrm>
          <a:prstGeom prst="chevron">
            <a:avLst/>
          </a:prstGeom>
          <a:solidFill>
            <a:schemeClr val="accent4"/>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2</a:t>
            </a:r>
          </a:p>
        </p:txBody>
      </p:sp>
      <p:sp>
        <p:nvSpPr>
          <p:cNvPr id="40" name="Platshållare för text 33">
            <a:extLst>
              <a:ext uri="{FF2B5EF4-FFF2-40B4-BE49-F238E27FC236}">
                <a16:creationId xmlns:a16="http://schemas.microsoft.com/office/drawing/2014/main" id="{A8424413-0AEB-594A-8678-864C22BB86A3}"/>
              </a:ext>
            </a:extLst>
          </p:cNvPr>
          <p:cNvSpPr>
            <a:spLocks noGrp="1"/>
          </p:cNvSpPr>
          <p:nvPr>
            <p:ph type="body" sz="quarter" idx="27" hasCustomPrompt="1"/>
          </p:nvPr>
        </p:nvSpPr>
        <p:spPr>
          <a:xfrm>
            <a:off x="839788" y="5047463"/>
            <a:ext cx="3448007" cy="720000"/>
          </a:xfrm>
          <a:prstGeom prst="homePlate">
            <a:avLst/>
          </a:prstGeom>
          <a:solidFill>
            <a:schemeClr val="tx1">
              <a:lumMod val="50000"/>
              <a:lumOff val="50000"/>
            </a:schemeClr>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Parallell process</a:t>
            </a:r>
          </a:p>
        </p:txBody>
      </p:sp>
      <p:sp>
        <p:nvSpPr>
          <p:cNvPr id="41" name="Platshållare för text 33">
            <a:extLst>
              <a:ext uri="{FF2B5EF4-FFF2-40B4-BE49-F238E27FC236}">
                <a16:creationId xmlns:a16="http://schemas.microsoft.com/office/drawing/2014/main" id="{2354B13C-1017-2546-A454-BBBB565668EE}"/>
              </a:ext>
            </a:extLst>
          </p:cNvPr>
          <p:cNvSpPr>
            <a:spLocks noGrp="1"/>
          </p:cNvSpPr>
          <p:nvPr>
            <p:ph type="body" sz="quarter" idx="28" hasCustomPrompt="1"/>
          </p:nvPr>
        </p:nvSpPr>
        <p:spPr>
          <a:xfrm>
            <a:off x="4066821" y="5047463"/>
            <a:ext cx="2421923" cy="720000"/>
          </a:xfrm>
          <a:prstGeom prst="chevron">
            <a:avLst/>
          </a:prstGeom>
          <a:solidFill>
            <a:schemeClr val="tx1">
              <a:lumMod val="50000"/>
              <a:lumOff val="50000"/>
            </a:schemeClr>
          </a:solidFill>
          <a:ln>
            <a:solidFill>
              <a:schemeClr val="bg1"/>
            </a:solidFill>
          </a:ln>
        </p:spPr>
        <p:txBody>
          <a:bodyPr wrap="none" lIns="180000" anchor="ctr" anchorCtr="0"/>
          <a:lstStyle>
            <a:lvl1pPr marL="0" indent="0" algn="l">
              <a:buNone/>
              <a:defRPr sz="1800">
                <a:solidFill>
                  <a:schemeClr val="bg1"/>
                </a:solidFill>
              </a:defRPr>
            </a:lvl1pPr>
          </a:lstStyle>
          <a:p>
            <a:pPr lvl="0"/>
            <a:r>
              <a:rPr lang="sv-SE"/>
              <a:t>Fas 2</a:t>
            </a:r>
          </a:p>
        </p:txBody>
      </p:sp>
    </p:spTree>
    <p:extLst>
      <p:ext uri="{BB962C8B-B14F-4D97-AF65-F5344CB8AC3E}">
        <p14:creationId xmlns:p14="http://schemas.microsoft.com/office/powerpoint/2010/main" val="17766047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Rubrik och innehåll grö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62778C6-5876-4586-833F-09DCEF696D6E}"/>
              </a:ext>
            </a:extLst>
          </p:cNvPr>
          <p:cNvGraphicFramePr>
            <a:graphicFrameLocks noChangeAspect="1"/>
          </p:cNvGraphicFramePr>
          <p:nvPr userDrawn="1">
            <p:custDataLst>
              <p:tags r:id="rId1"/>
            </p:custDataLst>
            <p:extLst>
              <p:ext uri="{D42A27DB-BD31-4B8C-83A1-F6EECF244321}">
                <p14:modId xmlns:p14="http://schemas.microsoft.com/office/powerpoint/2010/main" val="363502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kt 1" hidden="1">
                        <a:extLst>
                          <a:ext uri="{FF2B5EF4-FFF2-40B4-BE49-F238E27FC236}">
                            <a16:creationId xmlns:a16="http://schemas.microsoft.com/office/drawing/2014/main" id="{D62778C6-5876-4586-833F-09DCEF696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ubrik 11">
            <a:extLst>
              <a:ext uri="{FF2B5EF4-FFF2-40B4-BE49-F238E27FC236}">
                <a16:creationId xmlns:a16="http://schemas.microsoft.com/office/drawing/2014/main" id="{129900EB-86E0-42CE-BD68-1907DECA0F61}"/>
              </a:ext>
            </a:extLst>
          </p:cNvPr>
          <p:cNvSpPr>
            <a:spLocks noGrp="1"/>
          </p:cNvSpPr>
          <p:nvPr>
            <p:ph type="title"/>
          </p:nvPr>
        </p:nvSpPr>
        <p:spPr/>
        <p:txBody>
          <a:bodyPr/>
          <a:lstStyle>
            <a:lvl1pPr eaLnBrk="1">
              <a:defRPr/>
            </a:lvl1pPr>
          </a:lstStyle>
          <a:p>
            <a:endParaRPr lang="en-GB"/>
          </a:p>
        </p:txBody>
      </p:sp>
      <p:sp>
        <p:nvSpPr>
          <p:cNvPr id="9" name="Rektangel 8">
            <a:extLst>
              <a:ext uri="{FF2B5EF4-FFF2-40B4-BE49-F238E27FC236}">
                <a16:creationId xmlns:a16="http://schemas.microsoft.com/office/drawing/2014/main" id="{4329E266-36E0-4610-AEEB-2AA6EE18ABF7}"/>
              </a:ext>
            </a:extLst>
          </p:cNvPr>
          <p:cNvSpPr/>
          <p:nvPr userDrawn="1"/>
        </p:nvSpPr>
        <p:spPr>
          <a:xfrm flipV="1">
            <a:off x="0" y="1376359"/>
            <a:ext cx="12192000" cy="4932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4" name="Platshållare för text 9">
            <a:extLst>
              <a:ext uri="{FF2B5EF4-FFF2-40B4-BE49-F238E27FC236}">
                <a16:creationId xmlns:a16="http://schemas.microsoft.com/office/drawing/2014/main" id="{46B3A1E8-6E56-42E6-95C8-110BB34F21DB}"/>
              </a:ext>
            </a:extLst>
          </p:cNvPr>
          <p:cNvSpPr>
            <a:spLocks noGrp="1"/>
          </p:cNvSpPr>
          <p:nvPr>
            <p:ph type="body" sz="quarter" idx="14"/>
          </p:nvPr>
        </p:nvSpPr>
        <p:spPr>
          <a:xfrm>
            <a:off x="838200" y="1808163"/>
            <a:ext cx="4800600" cy="3781425"/>
          </a:xfrm>
        </p:spPr>
        <p:txBody>
          <a:bodyPr/>
          <a:lstStyle/>
          <a:p>
            <a:pPr lvl="0"/>
            <a:r>
              <a:rPr lang="en-GB"/>
              <a:t>Redigera format för bakgrundstext</a:t>
            </a:r>
          </a:p>
          <a:p>
            <a:pPr lvl="1"/>
            <a:r>
              <a:rPr lang="en-GB"/>
              <a:t>Nivå två</a:t>
            </a:r>
          </a:p>
          <a:p>
            <a:pPr lvl="2"/>
            <a:r>
              <a:rPr lang="en-GB"/>
              <a:t>Nivå tre</a:t>
            </a:r>
          </a:p>
          <a:p>
            <a:pPr lvl="3"/>
            <a:r>
              <a:rPr lang="en-GB"/>
              <a:t>Nivå fyra</a:t>
            </a:r>
          </a:p>
          <a:p>
            <a:pPr lvl="4"/>
            <a:r>
              <a:rPr lang="en-GB"/>
              <a:t>Nivå fem</a:t>
            </a:r>
          </a:p>
        </p:txBody>
      </p:sp>
      <p:sp>
        <p:nvSpPr>
          <p:cNvPr id="8" name="Platshållare för datum 7">
            <a:extLst>
              <a:ext uri="{FF2B5EF4-FFF2-40B4-BE49-F238E27FC236}">
                <a16:creationId xmlns:a16="http://schemas.microsoft.com/office/drawing/2014/main" id="{DAEFA2E8-AF28-426D-9110-21AAD5D0F895}"/>
              </a:ext>
            </a:extLst>
          </p:cNvPr>
          <p:cNvSpPr>
            <a:spLocks noGrp="1"/>
          </p:cNvSpPr>
          <p:nvPr>
            <p:ph type="dt" sz="half" idx="15"/>
          </p:nvPr>
        </p:nvSpPr>
        <p:spPr/>
        <p:txBody>
          <a:bodyPr/>
          <a:lstStyle/>
          <a:p>
            <a:fld id="{B498F213-C4C9-4BF9-B9CE-C2207C23ABC9}" type="datetime1">
              <a:rPr lang="sv-SE" smtClean="0"/>
              <a:t>2025-05-20</a:t>
            </a:fld>
            <a:endParaRPr lang="en-GB"/>
          </a:p>
        </p:txBody>
      </p:sp>
      <p:sp>
        <p:nvSpPr>
          <p:cNvPr id="10" name="Platshållare för sidfot 9">
            <a:extLst>
              <a:ext uri="{FF2B5EF4-FFF2-40B4-BE49-F238E27FC236}">
                <a16:creationId xmlns:a16="http://schemas.microsoft.com/office/drawing/2014/main" id="{DCFCF3A2-8926-4FB9-BFA5-DF85D6D8DB1E}"/>
              </a:ext>
            </a:extLst>
          </p:cNvPr>
          <p:cNvSpPr>
            <a:spLocks noGrp="1"/>
          </p:cNvSpPr>
          <p:nvPr>
            <p:ph type="ftr" sz="quarter" idx="16"/>
          </p:nvPr>
        </p:nvSpPr>
        <p:spPr/>
        <p:txBody>
          <a:bodyPr/>
          <a:lstStyle/>
          <a:p>
            <a:r>
              <a:rPr lang="en-GB"/>
              <a:t>External</a:t>
            </a:r>
          </a:p>
        </p:txBody>
      </p:sp>
      <p:sp>
        <p:nvSpPr>
          <p:cNvPr id="11" name="Platshållare för bildnummer 10">
            <a:extLst>
              <a:ext uri="{FF2B5EF4-FFF2-40B4-BE49-F238E27FC236}">
                <a16:creationId xmlns:a16="http://schemas.microsoft.com/office/drawing/2014/main" id="{97BE9875-7D19-46DF-876E-406A5AE54B74}"/>
              </a:ext>
            </a:extLst>
          </p:cNvPr>
          <p:cNvSpPr>
            <a:spLocks noGrp="1"/>
          </p:cNvSpPr>
          <p:nvPr>
            <p:ph type="sldNum" sz="quarter" idx="17"/>
          </p:nvPr>
        </p:nvSpPr>
        <p:spPr/>
        <p:txBody>
          <a:bodyPr/>
          <a:lstStyle/>
          <a:p>
            <a:fld id="{F8310E76-72E8-4744-9786-BEC11B8BE0E6}" type="slidenum">
              <a:rPr lang="en-GB" smtClean="0"/>
              <a:pPr/>
              <a:t>‹#›</a:t>
            </a:fld>
            <a:endParaRPr lang="en-GB"/>
          </a:p>
        </p:txBody>
      </p:sp>
    </p:spTree>
    <p:extLst>
      <p:ext uri="{BB962C8B-B14F-4D97-AF65-F5344CB8AC3E}">
        <p14:creationId xmlns:p14="http://schemas.microsoft.com/office/powerpoint/2010/main" val="1618548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ro- Blue">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996534"/>
            <a:ext cx="9144000" cy="830997"/>
          </a:xfrm>
        </p:spPr>
        <p:txBody>
          <a:bodyPr anchor="ctr" anchorCtr="0">
            <a:spAutoFit/>
          </a:bodyPr>
          <a:lstStyle>
            <a:lvl1pPr algn="ctr">
              <a:defRPr sz="6000">
                <a:solidFill>
                  <a:schemeClr val="tx1"/>
                </a:solidFill>
              </a:defRPr>
            </a:lvl1pPr>
          </a:lstStyle>
          <a:p>
            <a:r>
              <a:rPr lang="sv-SE"/>
              <a:t>Presentation </a:t>
            </a:r>
            <a:r>
              <a:rPr lang="sv-SE" err="1"/>
              <a:t>title</a:t>
            </a:r>
            <a:endParaRPr lang="sv-SE"/>
          </a:p>
        </p:txBody>
      </p:sp>
      <p:pic>
        <p:nvPicPr>
          <p:cNvPr id="4" name="Bildobjekt 3">
            <a:extLst>
              <a:ext uri="{FF2B5EF4-FFF2-40B4-BE49-F238E27FC236}">
                <a16:creationId xmlns:a16="http://schemas.microsoft.com/office/drawing/2014/main" id="{7D564371-4AB1-4F03-B3FB-2D86514F0E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47988" y="6340121"/>
            <a:ext cx="6312694" cy="254087"/>
          </a:xfrm>
          <a:prstGeom prst="rect">
            <a:avLst/>
          </a:prstGeom>
        </p:spPr>
      </p:pic>
    </p:spTree>
    <p:extLst>
      <p:ext uri="{BB962C8B-B14F-4D97-AF65-F5344CB8AC3E}">
        <p14:creationId xmlns:p14="http://schemas.microsoft.com/office/powerpoint/2010/main" val="767249018"/>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Enbart bild, helsida">
    <p:spTree>
      <p:nvGrpSpPr>
        <p:cNvPr id="1" name=""/>
        <p:cNvGrpSpPr/>
        <p:nvPr/>
      </p:nvGrpSpPr>
      <p:grpSpPr>
        <a:xfrm>
          <a:off x="0" y="0"/>
          <a:ext cx="0" cy="0"/>
          <a:chOff x="0" y="0"/>
          <a:chExt cx="0" cy="0"/>
        </a:xfrm>
      </p:grpSpPr>
      <p:sp>
        <p:nvSpPr>
          <p:cNvPr id="8" name="Platshållare för bild 3">
            <a:extLst>
              <a:ext uri="{FF2B5EF4-FFF2-40B4-BE49-F238E27FC236}">
                <a16:creationId xmlns:a16="http://schemas.microsoft.com/office/drawing/2014/main" id="{AAADDA6B-F619-45C3-B29B-8EB4CA0B0C0E}"/>
              </a:ext>
            </a:extLst>
          </p:cNvPr>
          <p:cNvSpPr>
            <a:spLocks noGrp="1"/>
          </p:cNvSpPr>
          <p:nvPr>
            <p:ph type="pic" sz="quarter" idx="14" hasCustomPrompt="1"/>
          </p:nvPr>
        </p:nvSpPr>
        <p:spPr>
          <a:xfrm>
            <a:off x="0" y="1"/>
            <a:ext cx="12192000" cy="6857999"/>
          </a:xfrm>
          <a:noFill/>
        </p:spPr>
        <p:txBody>
          <a:bodyPr lIns="360000" tIns="360000" rIns="360000" bIns="360000"/>
          <a:lstStyle>
            <a:lvl1pPr>
              <a:defRPr/>
            </a:lvl1pPr>
          </a:lstStyle>
          <a:p>
            <a:r>
              <a:rPr lang="sv-SE"/>
              <a:t>Klicka på ikonen nedan för att lägga in en bild</a:t>
            </a:r>
          </a:p>
        </p:txBody>
      </p:sp>
    </p:spTree>
    <p:extLst>
      <p:ext uri="{BB962C8B-B14F-4D97-AF65-F5344CB8AC3E}">
        <p14:creationId xmlns:p14="http://schemas.microsoft.com/office/powerpoint/2010/main" val="37042068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Bullet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4299" y="322088"/>
            <a:ext cx="11164615" cy="965536"/>
          </a:xfrm>
        </p:spPr>
        <p:txBody>
          <a:bodyPr/>
          <a:lstStyle/>
          <a:p>
            <a:r>
              <a:rPr lang="en-US"/>
              <a:t>Headline</a:t>
            </a:r>
          </a:p>
        </p:txBody>
      </p:sp>
      <p:sp>
        <p:nvSpPr>
          <p:cNvPr id="3" name="Date Placeholder 2"/>
          <p:cNvSpPr>
            <a:spLocks noGrp="1"/>
          </p:cNvSpPr>
          <p:nvPr>
            <p:ph type="dt" sz="half" idx="10"/>
          </p:nvPr>
        </p:nvSpPr>
        <p:spPr/>
        <p:txBody>
          <a:bodyPr/>
          <a:lstStyle/>
          <a:p>
            <a:fld id="{8206BA5E-DD4F-438C-A5E6-2B32074223D8}" type="datetime2">
              <a:rPr lang="en-US" smtClean="0"/>
              <a:t>Tuesday, May 20, 2025</a:t>
            </a:fld>
            <a:endParaRPr lang="en-US"/>
          </a:p>
        </p:txBody>
      </p:sp>
      <p:sp>
        <p:nvSpPr>
          <p:cNvPr id="4" name="Footer Placeholder 3"/>
          <p:cNvSpPr>
            <a:spLocks noGrp="1"/>
          </p:cNvSpPr>
          <p:nvPr>
            <p:ph type="ftr" sz="quarter" idx="11"/>
          </p:nvPr>
        </p:nvSpPr>
        <p:spPr/>
        <p:txBody>
          <a:bodyPr/>
          <a:lstStyle/>
          <a:p>
            <a:r>
              <a:rPr lang="en-US"/>
              <a:t>First Last name</a:t>
            </a:r>
          </a:p>
        </p:txBody>
      </p:sp>
      <p:sp>
        <p:nvSpPr>
          <p:cNvPr id="5" name="Slide Number Placeholder 4"/>
          <p:cNvSpPr>
            <a:spLocks noGrp="1"/>
          </p:cNvSpPr>
          <p:nvPr>
            <p:ph type="sldNum" sz="quarter" idx="12"/>
          </p:nvPr>
        </p:nvSpPr>
        <p:spPr/>
        <p:txBody>
          <a:bodyPr/>
          <a:lstStyle/>
          <a:p>
            <a:fld id="{BA47BC79-BCF2-4DC5-86E0-EC2159E89D63}" type="slidenum">
              <a:rPr lang="en-US" smtClean="0"/>
              <a:pPr/>
              <a:t>‹#›</a:t>
            </a:fld>
            <a:endParaRPr lang="en-US"/>
          </a:p>
        </p:txBody>
      </p:sp>
      <p:sp>
        <p:nvSpPr>
          <p:cNvPr id="7" name="Text Placeholder 6"/>
          <p:cNvSpPr>
            <a:spLocks noGrp="1"/>
          </p:cNvSpPr>
          <p:nvPr>
            <p:ph type="body" sz="quarter" idx="13"/>
          </p:nvPr>
        </p:nvSpPr>
        <p:spPr>
          <a:xfrm>
            <a:off x="454299" y="1619115"/>
            <a:ext cx="8807268" cy="4302260"/>
          </a:xfrm>
          <a:prstGeom prst="rect">
            <a:avLst/>
          </a:prstGeom>
        </p:spPr>
        <p:txBody>
          <a:bodyPr/>
          <a:lstStyle>
            <a:lvl1pPr marL="205979" indent="-205979">
              <a:defRPr/>
            </a:lvl1pPr>
            <a:lvl2pPr marL="333375" indent="-127397">
              <a:defRPr/>
            </a:lvl2pPr>
            <a:lvl3pPr marL="440531" indent="-107156">
              <a:defRPr/>
            </a:lvl3p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39065588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Endast rubrik, centrerad i höjdled">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63667" y="3144037"/>
            <a:ext cx="10072645" cy="581698"/>
          </a:xfrm>
        </p:spPr>
        <p:txBody>
          <a:bodyPr wrap="square" anchor="ctr" anchorCtr="0">
            <a:spAutoFit/>
          </a:bodyPr>
          <a:lstStyle>
            <a:lvl1pPr>
              <a:defRPr/>
            </a:lvl1pPr>
          </a:lstStyle>
          <a:p>
            <a:r>
              <a:rPr lang="sv-SE"/>
              <a:t>Endast rubrik</a:t>
            </a:r>
          </a:p>
        </p:txBody>
      </p:sp>
      <p:sp>
        <p:nvSpPr>
          <p:cNvPr id="2" name="Platshållare för datum 1">
            <a:extLst>
              <a:ext uri="{FF2B5EF4-FFF2-40B4-BE49-F238E27FC236}">
                <a16:creationId xmlns:a16="http://schemas.microsoft.com/office/drawing/2014/main" id="{45852889-ECE2-4DEA-ACE3-7B9A9B694C60}"/>
              </a:ext>
            </a:extLst>
          </p:cNvPr>
          <p:cNvSpPr>
            <a:spLocks noGrp="1"/>
          </p:cNvSpPr>
          <p:nvPr>
            <p:ph type="dt" sz="half" idx="10"/>
          </p:nvPr>
        </p:nvSpPr>
        <p:spPr/>
        <p:txBody>
          <a:bodyPr/>
          <a:lstStyle/>
          <a:p>
            <a:fld id="{A9E2009E-F161-4203-970F-744D709A577D}" type="datetime1">
              <a:rPr lang="sv-SE" smtClean="0"/>
              <a:t>2025-05-20</a:t>
            </a:fld>
            <a:endParaRPr lang="sv-SE"/>
          </a:p>
        </p:txBody>
      </p:sp>
      <p:sp>
        <p:nvSpPr>
          <p:cNvPr id="3" name="Platshållare för sidfot 2">
            <a:extLst>
              <a:ext uri="{FF2B5EF4-FFF2-40B4-BE49-F238E27FC236}">
                <a16:creationId xmlns:a16="http://schemas.microsoft.com/office/drawing/2014/main" id="{531C635F-E2A9-43DE-93FC-8A1C0DEBE76E}"/>
              </a:ext>
            </a:extLst>
          </p:cNvPr>
          <p:cNvSpPr>
            <a:spLocks noGrp="1"/>
          </p:cNvSpPr>
          <p:nvPr>
            <p:ph type="ftr" sz="quarter" idx="11"/>
          </p:nvPr>
        </p:nvSpPr>
        <p:spPr/>
        <p:txBody>
          <a:bodyPr/>
          <a:lstStyle/>
          <a:p>
            <a:r>
              <a:rPr lang="sv-SE"/>
              <a:t>External</a:t>
            </a:r>
          </a:p>
        </p:txBody>
      </p:sp>
      <p:sp>
        <p:nvSpPr>
          <p:cNvPr id="4" name="Platshållare för bildnummer 3">
            <a:extLst>
              <a:ext uri="{FF2B5EF4-FFF2-40B4-BE49-F238E27FC236}">
                <a16:creationId xmlns:a16="http://schemas.microsoft.com/office/drawing/2014/main" id="{2C3F6346-04BD-486C-8219-D95DD5A2D380}"/>
              </a:ext>
            </a:extLst>
          </p:cNvPr>
          <p:cNvSpPr>
            <a:spLocks noGrp="1"/>
          </p:cNvSpPr>
          <p:nvPr>
            <p:ph type="sldNum" sz="quarter" idx="12"/>
          </p:nvPr>
        </p:nvSpPr>
        <p:spPr/>
        <p:txBody>
          <a:bodyPr/>
          <a:lstStyle/>
          <a:p>
            <a:fld id="{DE6C4FAA-94DA-4E32-A052-AE9CB634A986}" type="slidenum">
              <a:rPr lang="sv-SE" smtClean="0"/>
              <a:t>‹#›</a:t>
            </a:fld>
            <a:endParaRPr lang="sv-SE"/>
          </a:p>
        </p:txBody>
      </p:sp>
    </p:spTree>
    <p:extLst>
      <p:ext uri="{BB962C8B-B14F-4D97-AF65-F5344CB8AC3E}">
        <p14:creationId xmlns:p14="http://schemas.microsoft.com/office/powerpoint/2010/main" val="23780997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tro - bildbakgr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581036"/>
            <a:ext cx="9144000" cy="1661993"/>
          </a:xfrm>
        </p:spPr>
        <p:txBody>
          <a:bodyPr anchor="ctr" anchorCtr="0">
            <a:spAutoFit/>
          </a:bodyPr>
          <a:lstStyle>
            <a:lvl1pPr algn="ctr">
              <a:defRPr sz="6000">
                <a:solidFill>
                  <a:schemeClr val="tx1"/>
                </a:solidFill>
              </a:defRPr>
            </a:lvl1pPr>
          </a:lstStyle>
          <a:p>
            <a:r>
              <a:rPr lang="sv-SE" dirty="0"/>
              <a:t>Presentationsrubrik </a:t>
            </a:r>
            <a:br>
              <a:rPr lang="sv-SE" dirty="0"/>
            </a:br>
            <a:r>
              <a:rPr lang="sv-SE" dirty="0" err="1"/>
              <a:t>startbild</a:t>
            </a:r>
            <a:endParaRPr lang="sv-SE" dirty="0"/>
          </a:p>
        </p:txBody>
      </p:sp>
      <p:pic>
        <p:nvPicPr>
          <p:cNvPr id="8" name="Bildobjekt 7">
            <a:extLst>
              <a:ext uri="{FF2B5EF4-FFF2-40B4-BE49-F238E27FC236}">
                <a16:creationId xmlns:a16="http://schemas.microsoft.com/office/drawing/2014/main" id="{3C12348A-A10B-46B6-A0A0-B5F223A7806F}"/>
              </a:ext>
            </a:extLst>
          </p:cNvPr>
          <p:cNvPicPr>
            <a:picLocks noChangeAspect="1"/>
          </p:cNvPicPr>
          <p:nvPr userDrawn="1"/>
        </p:nvPicPr>
        <p:blipFill>
          <a:blip r:embed="rId3"/>
          <a:srcRect/>
          <a:stretch/>
        </p:blipFill>
        <p:spPr>
          <a:xfrm>
            <a:off x="2826785" y="6168847"/>
            <a:ext cx="6538428" cy="689153"/>
          </a:xfrm>
          <a:prstGeom prst="rect">
            <a:avLst/>
          </a:prstGeom>
        </p:spPr>
      </p:pic>
    </p:spTree>
    <p:extLst>
      <p:ext uri="{BB962C8B-B14F-4D97-AF65-F5344CB8AC3E}">
        <p14:creationId xmlns:p14="http://schemas.microsoft.com/office/powerpoint/2010/main" val="2658227409"/>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ntro - vit bakgrund">
    <p:bg>
      <p:bgPr>
        <a:solidFill>
          <a:schemeClr val="tx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581036"/>
            <a:ext cx="9144000" cy="1661993"/>
          </a:xfrm>
        </p:spPr>
        <p:txBody>
          <a:bodyPr anchor="ctr" anchorCtr="0">
            <a:spAutoFit/>
          </a:bodyPr>
          <a:lstStyle>
            <a:lvl1pPr algn="ctr">
              <a:defRPr sz="6000">
                <a:solidFill>
                  <a:schemeClr val="bg2"/>
                </a:solidFill>
              </a:defRPr>
            </a:lvl1pPr>
          </a:lstStyle>
          <a:p>
            <a:r>
              <a:rPr lang="sv-SE" dirty="0"/>
              <a:t>Presentationsrubrik </a:t>
            </a:r>
            <a:br>
              <a:rPr lang="sv-SE" dirty="0"/>
            </a:br>
            <a:r>
              <a:rPr lang="sv-SE" dirty="0" err="1"/>
              <a:t>startbild</a:t>
            </a:r>
            <a:endParaRPr lang="sv-SE" dirty="0"/>
          </a:p>
        </p:txBody>
      </p:sp>
      <p:pic>
        <p:nvPicPr>
          <p:cNvPr id="3" name="Bildobjekt 2">
            <a:extLst>
              <a:ext uri="{FF2B5EF4-FFF2-40B4-BE49-F238E27FC236}">
                <a16:creationId xmlns:a16="http://schemas.microsoft.com/office/drawing/2014/main" id="{AAE37A39-E5DA-41DC-83CB-63BCE57D05D6}"/>
              </a:ext>
            </a:extLst>
          </p:cNvPr>
          <p:cNvPicPr>
            <a:picLocks noChangeAspect="1"/>
          </p:cNvPicPr>
          <p:nvPr userDrawn="1"/>
        </p:nvPicPr>
        <p:blipFill>
          <a:blip r:embed="rId2"/>
          <a:srcRect/>
          <a:stretch/>
        </p:blipFill>
        <p:spPr>
          <a:xfrm>
            <a:off x="3131827" y="6336926"/>
            <a:ext cx="5942393" cy="275540"/>
          </a:xfrm>
          <a:prstGeom prst="rect">
            <a:avLst/>
          </a:prstGeom>
        </p:spPr>
      </p:pic>
      <p:pic>
        <p:nvPicPr>
          <p:cNvPr id="4" name="Bildobjekt 3">
            <a:extLst>
              <a:ext uri="{FF2B5EF4-FFF2-40B4-BE49-F238E27FC236}">
                <a16:creationId xmlns:a16="http://schemas.microsoft.com/office/drawing/2014/main" id="{F2678CC4-16B7-4120-9A99-E18E116E0497}"/>
              </a:ext>
            </a:extLst>
          </p:cNvPr>
          <p:cNvPicPr>
            <a:picLocks noChangeAspect="1"/>
          </p:cNvPicPr>
          <p:nvPr userDrawn="1"/>
        </p:nvPicPr>
        <p:blipFill>
          <a:blip r:embed="rId3"/>
          <a:srcRect/>
          <a:stretch/>
        </p:blipFill>
        <p:spPr>
          <a:xfrm>
            <a:off x="2826785" y="6168847"/>
            <a:ext cx="6538428" cy="689153"/>
          </a:xfrm>
          <a:prstGeom prst="rect">
            <a:avLst/>
          </a:prstGeom>
        </p:spPr>
      </p:pic>
    </p:spTree>
    <p:extLst>
      <p:ext uri="{BB962C8B-B14F-4D97-AF65-F5344CB8AC3E}">
        <p14:creationId xmlns:p14="http://schemas.microsoft.com/office/powerpoint/2010/main" val="901506788"/>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Intro - grön bakgrund">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581036"/>
            <a:ext cx="9144000" cy="1661993"/>
          </a:xfrm>
        </p:spPr>
        <p:txBody>
          <a:bodyPr anchor="ctr" anchorCtr="0">
            <a:spAutoFit/>
          </a:bodyPr>
          <a:lstStyle>
            <a:lvl1pPr algn="ctr">
              <a:defRPr sz="6000">
                <a:solidFill>
                  <a:schemeClr val="tx1"/>
                </a:solidFill>
              </a:defRPr>
            </a:lvl1pPr>
          </a:lstStyle>
          <a:p>
            <a:r>
              <a:rPr lang="sv-SE" dirty="0"/>
              <a:t>Presentationsrubrik </a:t>
            </a:r>
            <a:br>
              <a:rPr lang="sv-SE" dirty="0"/>
            </a:br>
            <a:r>
              <a:rPr lang="sv-SE" dirty="0" err="1"/>
              <a:t>startbild</a:t>
            </a:r>
            <a:endParaRPr lang="sv-SE" dirty="0"/>
          </a:p>
        </p:txBody>
      </p:sp>
      <p:pic>
        <p:nvPicPr>
          <p:cNvPr id="3" name="Bildobjekt 2">
            <a:extLst>
              <a:ext uri="{FF2B5EF4-FFF2-40B4-BE49-F238E27FC236}">
                <a16:creationId xmlns:a16="http://schemas.microsoft.com/office/drawing/2014/main" id="{AAE37A39-E5DA-41DC-83CB-63BCE57D05D6}"/>
              </a:ext>
            </a:extLst>
          </p:cNvPr>
          <p:cNvPicPr>
            <a:picLocks noChangeAspect="1"/>
          </p:cNvPicPr>
          <p:nvPr userDrawn="1"/>
        </p:nvPicPr>
        <p:blipFill>
          <a:blip r:embed="rId2"/>
          <a:srcRect/>
          <a:stretch/>
        </p:blipFill>
        <p:spPr>
          <a:xfrm>
            <a:off x="3131827" y="6336926"/>
            <a:ext cx="5942393" cy="275540"/>
          </a:xfrm>
          <a:prstGeom prst="rect">
            <a:avLst/>
          </a:prstGeom>
        </p:spPr>
      </p:pic>
    </p:spTree>
    <p:extLst>
      <p:ext uri="{BB962C8B-B14F-4D97-AF65-F5344CB8AC3E}">
        <p14:creationId xmlns:p14="http://schemas.microsoft.com/office/powerpoint/2010/main" val="239648465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ntro - blå bakgrund">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2581036"/>
            <a:ext cx="9144000" cy="1661993"/>
          </a:xfrm>
        </p:spPr>
        <p:txBody>
          <a:bodyPr anchor="ctr" anchorCtr="0">
            <a:spAutoFit/>
          </a:bodyPr>
          <a:lstStyle>
            <a:lvl1pPr algn="ctr">
              <a:defRPr sz="6000">
                <a:solidFill>
                  <a:schemeClr val="tx1"/>
                </a:solidFill>
              </a:defRPr>
            </a:lvl1pPr>
          </a:lstStyle>
          <a:p>
            <a:r>
              <a:rPr lang="sv-SE" dirty="0"/>
              <a:t>Presentationsrubrik </a:t>
            </a:r>
            <a:br>
              <a:rPr lang="sv-SE" dirty="0"/>
            </a:br>
            <a:r>
              <a:rPr lang="sv-SE" dirty="0" err="1"/>
              <a:t>startbild</a:t>
            </a:r>
            <a:endParaRPr lang="sv-SE" dirty="0"/>
          </a:p>
        </p:txBody>
      </p:sp>
      <p:pic>
        <p:nvPicPr>
          <p:cNvPr id="3" name="Bildobjekt 2">
            <a:extLst>
              <a:ext uri="{FF2B5EF4-FFF2-40B4-BE49-F238E27FC236}">
                <a16:creationId xmlns:a16="http://schemas.microsoft.com/office/drawing/2014/main" id="{AAE37A39-E5DA-41DC-83CB-63BCE57D05D6}"/>
              </a:ext>
            </a:extLst>
          </p:cNvPr>
          <p:cNvPicPr>
            <a:picLocks noChangeAspect="1"/>
          </p:cNvPicPr>
          <p:nvPr userDrawn="1"/>
        </p:nvPicPr>
        <p:blipFill>
          <a:blip r:embed="rId2"/>
          <a:srcRect/>
          <a:stretch/>
        </p:blipFill>
        <p:spPr>
          <a:xfrm>
            <a:off x="3131827" y="6336926"/>
            <a:ext cx="5942393" cy="275540"/>
          </a:xfrm>
          <a:prstGeom prst="rect">
            <a:avLst/>
          </a:prstGeom>
        </p:spPr>
      </p:pic>
    </p:spTree>
    <p:extLst>
      <p:ext uri="{BB962C8B-B14F-4D97-AF65-F5344CB8AC3E}">
        <p14:creationId xmlns:p14="http://schemas.microsoft.com/office/powerpoint/2010/main" val="1669371069"/>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ntro - illustration">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766742"/>
            <a:ext cx="10072645" cy="1171704"/>
          </a:xfrm>
        </p:spPr>
        <p:txBody>
          <a:bodyPr anchor="ctr">
            <a:normAutofit/>
          </a:bodyPr>
          <a:lstStyle>
            <a:lvl1pPr>
              <a:defRPr/>
            </a:lvl1pPr>
          </a:lstStyle>
          <a:p>
            <a:r>
              <a:rPr lang="sv-SE" dirty="0"/>
              <a:t>Presentationsrubrik </a:t>
            </a:r>
            <a:r>
              <a:rPr lang="sv-SE" dirty="0" err="1"/>
              <a:t>startbild</a:t>
            </a:r>
            <a:endParaRPr lang="sv-SE" dirty="0"/>
          </a:p>
        </p:txBody>
      </p:sp>
      <p:sp>
        <p:nvSpPr>
          <p:cNvPr id="3" name="Rektangel 2">
            <a:extLst>
              <a:ext uri="{FF2B5EF4-FFF2-40B4-BE49-F238E27FC236}">
                <a16:creationId xmlns:a16="http://schemas.microsoft.com/office/drawing/2014/main" id="{0F0F76DF-1916-449F-9CEA-CEEEE0E4A85E}"/>
              </a:ext>
            </a:extLst>
          </p:cNvPr>
          <p:cNvSpPr/>
          <p:nvPr userDrawn="1"/>
        </p:nvSpPr>
        <p:spPr>
          <a:xfrm flipV="1">
            <a:off x="0" y="2028085"/>
            <a:ext cx="12192000" cy="4841487"/>
          </a:xfrm>
          <a:prstGeom prst="rect">
            <a:avLst/>
          </a:prstGeom>
          <a:solidFill>
            <a:srgbClr val="004CA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accent6"/>
                </a:solidFill>
              </a:rPr>
              <a:t>w</a:t>
            </a:r>
          </a:p>
        </p:txBody>
      </p:sp>
      <p:pic>
        <p:nvPicPr>
          <p:cNvPr id="4" name="Bild 3">
            <a:extLst>
              <a:ext uri="{FF2B5EF4-FFF2-40B4-BE49-F238E27FC236}">
                <a16:creationId xmlns:a16="http://schemas.microsoft.com/office/drawing/2014/main" id="{6E357B30-1759-4178-92E8-3DA5F223DBC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377" t="18551" r="5756" b="9322"/>
          <a:stretch/>
        </p:blipFill>
        <p:spPr>
          <a:xfrm>
            <a:off x="0" y="2314151"/>
            <a:ext cx="12192000" cy="4433891"/>
          </a:xfrm>
          <a:prstGeom prst="rect">
            <a:avLst/>
          </a:prstGeom>
        </p:spPr>
      </p:pic>
      <p:sp>
        <p:nvSpPr>
          <p:cNvPr id="8" name="Platshållare för datum 7">
            <a:extLst>
              <a:ext uri="{FF2B5EF4-FFF2-40B4-BE49-F238E27FC236}">
                <a16:creationId xmlns:a16="http://schemas.microsoft.com/office/drawing/2014/main" id="{3A3A9986-BFBF-4F13-A569-F44C6D92D2BE}"/>
              </a:ext>
            </a:extLst>
          </p:cNvPr>
          <p:cNvSpPr>
            <a:spLocks noGrp="1"/>
          </p:cNvSpPr>
          <p:nvPr>
            <p:ph type="dt" sz="half" idx="10"/>
          </p:nvPr>
        </p:nvSpPr>
        <p:spPr/>
        <p:txBody>
          <a:bodyPr/>
          <a:lstStyle/>
          <a:p>
            <a:fld id="{B41A3010-49EA-4D85-B136-F083644E9040}" type="datetime1">
              <a:rPr lang="sv-SE" smtClean="0"/>
              <a:t>2025-05-20</a:t>
            </a:fld>
            <a:endParaRPr lang="sv-SE" dirty="0"/>
          </a:p>
        </p:txBody>
      </p:sp>
      <p:sp>
        <p:nvSpPr>
          <p:cNvPr id="9" name="Platshållare för sidfot 8">
            <a:extLst>
              <a:ext uri="{FF2B5EF4-FFF2-40B4-BE49-F238E27FC236}">
                <a16:creationId xmlns:a16="http://schemas.microsoft.com/office/drawing/2014/main" id="{17EF7A20-325B-4A7B-83B3-08F15C18AB23}"/>
              </a:ext>
            </a:extLst>
          </p:cNvPr>
          <p:cNvSpPr>
            <a:spLocks noGrp="1"/>
          </p:cNvSpPr>
          <p:nvPr>
            <p:ph type="ftr" sz="quarter" idx="11"/>
          </p:nvPr>
        </p:nvSpPr>
        <p:spPr/>
        <p:txBody>
          <a:bodyPr/>
          <a:lstStyle/>
          <a:p>
            <a:r>
              <a:rPr lang="sv-SE"/>
              <a:t>Ange informationssäkerhetsklass</a:t>
            </a:r>
            <a:endParaRPr lang="sv-SE" dirty="0"/>
          </a:p>
        </p:txBody>
      </p:sp>
      <p:sp>
        <p:nvSpPr>
          <p:cNvPr id="10" name="Platshållare för bildnummer 9">
            <a:extLst>
              <a:ext uri="{FF2B5EF4-FFF2-40B4-BE49-F238E27FC236}">
                <a16:creationId xmlns:a16="http://schemas.microsoft.com/office/drawing/2014/main" id="{48BA4F3B-B31F-44AE-A6AA-26470AA920A6}"/>
              </a:ext>
            </a:extLst>
          </p:cNvPr>
          <p:cNvSpPr>
            <a:spLocks noGrp="1"/>
          </p:cNvSpPr>
          <p:nvPr>
            <p:ph type="sldNum" sz="quarter" idx="12"/>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3235395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rubrik med två punktlisto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86200"/>
            <a:ext cx="10072645" cy="1171704"/>
          </a:xfrm>
        </p:spPr>
        <p:txBody>
          <a:bodyPr/>
          <a:lstStyle>
            <a:lvl1pPr>
              <a:defRPr/>
            </a:lvl1pPr>
          </a:lstStyle>
          <a:p>
            <a:r>
              <a:rPr lang="sv-SE" dirty="0"/>
              <a:t>Agenda eller annan rubrik</a:t>
            </a:r>
          </a:p>
        </p:txBody>
      </p:sp>
      <p:sp>
        <p:nvSpPr>
          <p:cNvPr id="4" name="Platshållare för innehåll 3">
            <a:extLst>
              <a:ext uri="{FF2B5EF4-FFF2-40B4-BE49-F238E27FC236}">
                <a16:creationId xmlns:a16="http://schemas.microsoft.com/office/drawing/2014/main" id="{005951D6-E360-4686-AB7E-190E45D3E3AE}"/>
              </a:ext>
            </a:extLst>
          </p:cNvPr>
          <p:cNvSpPr>
            <a:spLocks noGrp="1"/>
          </p:cNvSpPr>
          <p:nvPr>
            <p:ph sz="quarter" idx="15"/>
          </p:nvPr>
        </p:nvSpPr>
        <p:spPr>
          <a:xfrm>
            <a:off x="1063624" y="2149788"/>
            <a:ext cx="4921200" cy="4183576"/>
          </a:xfrm>
        </p:spPr>
        <p:txBody>
          <a:bodyPr/>
          <a:lstStyle>
            <a:lvl2pPr>
              <a:defRPr/>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innehåll 5">
            <a:extLst>
              <a:ext uri="{FF2B5EF4-FFF2-40B4-BE49-F238E27FC236}">
                <a16:creationId xmlns:a16="http://schemas.microsoft.com/office/drawing/2014/main" id="{4992D59D-C623-4EA8-AB12-02492BECC07D}"/>
              </a:ext>
            </a:extLst>
          </p:cNvPr>
          <p:cNvSpPr>
            <a:spLocks noGrp="1"/>
          </p:cNvSpPr>
          <p:nvPr>
            <p:ph sz="quarter" idx="16"/>
          </p:nvPr>
        </p:nvSpPr>
        <p:spPr>
          <a:xfrm>
            <a:off x="6214750" y="2149788"/>
            <a:ext cx="4921563" cy="418357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2" name="Platshållare för datum 11">
            <a:extLst>
              <a:ext uri="{FF2B5EF4-FFF2-40B4-BE49-F238E27FC236}">
                <a16:creationId xmlns:a16="http://schemas.microsoft.com/office/drawing/2014/main" id="{797A0C30-EA15-4224-8A03-3EA17928FF66}"/>
              </a:ext>
            </a:extLst>
          </p:cNvPr>
          <p:cNvSpPr>
            <a:spLocks noGrp="1"/>
          </p:cNvSpPr>
          <p:nvPr>
            <p:ph type="dt" sz="half" idx="17"/>
          </p:nvPr>
        </p:nvSpPr>
        <p:spPr/>
        <p:txBody>
          <a:bodyPr/>
          <a:lstStyle/>
          <a:p>
            <a:fld id="{FEF2B561-080B-493D-9A90-8CD10AC7AD93}" type="datetime1">
              <a:rPr lang="sv-SE" smtClean="0"/>
              <a:t>2025-05-20</a:t>
            </a:fld>
            <a:endParaRPr lang="sv-SE" dirty="0"/>
          </a:p>
        </p:txBody>
      </p:sp>
      <p:sp>
        <p:nvSpPr>
          <p:cNvPr id="13" name="Platshållare för sidfot 12">
            <a:extLst>
              <a:ext uri="{FF2B5EF4-FFF2-40B4-BE49-F238E27FC236}">
                <a16:creationId xmlns:a16="http://schemas.microsoft.com/office/drawing/2014/main" id="{15955937-0D60-4CF7-8FA6-3CEFCC4503C6}"/>
              </a:ext>
            </a:extLst>
          </p:cNvPr>
          <p:cNvSpPr>
            <a:spLocks noGrp="1"/>
          </p:cNvSpPr>
          <p:nvPr>
            <p:ph type="ftr" sz="quarter" idx="18"/>
          </p:nvPr>
        </p:nvSpPr>
        <p:spPr/>
        <p:txBody>
          <a:bodyPr/>
          <a:lstStyle/>
          <a:p>
            <a:r>
              <a:rPr lang="sv-SE"/>
              <a:t>Ange informationssäkerhetsklass</a:t>
            </a:r>
            <a:endParaRPr lang="sv-SE" dirty="0"/>
          </a:p>
        </p:txBody>
      </p:sp>
      <p:sp>
        <p:nvSpPr>
          <p:cNvPr id="14" name="Platshållare för bildnummer 13">
            <a:extLst>
              <a:ext uri="{FF2B5EF4-FFF2-40B4-BE49-F238E27FC236}">
                <a16:creationId xmlns:a16="http://schemas.microsoft.com/office/drawing/2014/main" id="{B0FE738E-9CA0-4C38-B331-EC88738B0CAA}"/>
              </a:ext>
            </a:extLst>
          </p:cNvPr>
          <p:cNvSpPr>
            <a:spLocks noGrp="1"/>
          </p:cNvSpPr>
          <p:nvPr>
            <p:ph type="sldNum" sz="quarter" idx="19"/>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7084250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Rubrik och innehållsblock i full bred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hasCustomPrompt="1"/>
          </p:nvPr>
        </p:nvSpPr>
        <p:spPr>
          <a:xfrm>
            <a:off x="1063667" y="686200"/>
            <a:ext cx="10072645" cy="1171704"/>
          </a:xfrm>
        </p:spPr>
        <p:txBody>
          <a:bodyPr/>
          <a:lstStyle>
            <a:lvl1pPr>
              <a:defRPr/>
            </a:lvl1pPr>
          </a:lstStyle>
          <a:p>
            <a:r>
              <a:rPr lang="sv-SE" dirty="0"/>
              <a:t>Rubrik till innehållsblock i full bredd</a:t>
            </a:r>
          </a:p>
        </p:txBody>
      </p:sp>
      <p:sp>
        <p:nvSpPr>
          <p:cNvPr id="4" name="Platshållare för innehåll 3">
            <a:extLst>
              <a:ext uri="{FF2B5EF4-FFF2-40B4-BE49-F238E27FC236}">
                <a16:creationId xmlns:a16="http://schemas.microsoft.com/office/drawing/2014/main" id="{258E417C-4AAC-4940-AD34-C960A1D0F10E}"/>
              </a:ext>
            </a:extLst>
          </p:cNvPr>
          <p:cNvSpPr>
            <a:spLocks noGrp="1"/>
          </p:cNvSpPr>
          <p:nvPr>
            <p:ph sz="quarter" idx="13"/>
          </p:nvPr>
        </p:nvSpPr>
        <p:spPr>
          <a:xfrm>
            <a:off x="1063625" y="2150325"/>
            <a:ext cx="10072688" cy="4176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datum 2">
            <a:extLst>
              <a:ext uri="{FF2B5EF4-FFF2-40B4-BE49-F238E27FC236}">
                <a16:creationId xmlns:a16="http://schemas.microsoft.com/office/drawing/2014/main" id="{8532A221-30DC-4A57-94AC-701E3AC428E1}"/>
              </a:ext>
            </a:extLst>
          </p:cNvPr>
          <p:cNvSpPr>
            <a:spLocks noGrp="1"/>
          </p:cNvSpPr>
          <p:nvPr>
            <p:ph type="dt" sz="half" idx="14"/>
          </p:nvPr>
        </p:nvSpPr>
        <p:spPr/>
        <p:txBody>
          <a:bodyPr/>
          <a:lstStyle/>
          <a:p>
            <a:fld id="{BCEACA17-D43A-43AF-8D8E-15E7DE01831F}" type="datetime1">
              <a:rPr lang="sv-SE" smtClean="0"/>
              <a:t>2025-05-20</a:t>
            </a:fld>
            <a:endParaRPr lang="sv-SE" dirty="0"/>
          </a:p>
        </p:txBody>
      </p:sp>
      <p:sp>
        <p:nvSpPr>
          <p:cNvPr id="5" name="Platshållare för sidfot 4">
            <a:extLst>
              <a:ext uri="{FF2B5EF4-FFF2-40B4-BE49-F238E27FC236}">
                <a16:creationId xmlns:a16="http://schemas.microsoft.com/office/drawing/2014/main" id="{2CAB46DB-7657-4040-8A15-4E3185FE95A7}"/>
              </a:ext>
            </a:extLst>
          </p:cNvPr>
          <p:cNvSpPr>
            <a:spLocks noGrp="1"/>
          </p:cNvSpPr>
          <p:nvPr>
            <p:ph type="ftr" sz="quarter" idx="15"/>
          </p:nvPr>
        </p:nvSpPr>
        <p:spPr/>
        <p:txBody>
          <a:bodyPr/>
          <a:lstStyle/>
          <a:p>
            <a:r>
              <a:rPr lang="sv-SE" sz="700"/>
              <a:t>Ange informationssäkerhetsklass</a:t>
            </a:r>
            <a:endParaRPr lang="sv-SE" sz="700" dirty="0">
              <a:solidFill>
                <a:schemeClr val="tx1"/>
              </a:solidFill>
            </a:endParaRPr>
          </a:p>
        </p:txBody>
      </p:sp>
      <p:sp>
        <p:nvSpPr>
          <p:cNvPr id="6" name="Platshållare för bildnummer 5">
            <a:extLst>
              <a:ext uri="{FF2B5EF4-FFF2-40B4-BE49-F238E27FC236}">
                <a16:creationId xmlns:a16="http://schemas.microsoft.com/office/drawing/2014/main" id="{C8A3BE9D-C43D-4674-9D03-F3E35BF35CEC}"/>
              </a:ext>
            </a:extLst>
          </p:cNvPr>
          <p:cNvSpPr>
            <a:spLocks noGrp="1"/>
          </p:cNvSpPr>
          <p:nvPr>
            <p:ph type="sldNum" sz="quarter" idx="16"/>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411428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 illustration">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766742"/>
            <a:ext cx="10072645" cy="1171704"/>
          </a:xfrm>
        </p:spPr>
        <p:txBody>
          <a:bodyPr anchor="ctr">
            <a:normAutofit/>
          </a:bodyPr>
          <a:lstStyle>
            <a:lvl1pPr>
              <a:defRPr/>
            </a:lvl1pPr>
          </a:lstStyle>
          <a:p>
            <a:r>
              <a:rPr lang="sv-SE"/>
              <a:t>Presentation </a:t>
            </a:r>
            <a:r>
              <a:rPr lang="sv-SE" err="1"/>
              <a:t>title</a:t>
            </a:r>
            <a:endParaRPr lang="sv-SE"/>
          </a:p>
        </p:txBody>
      </p:sp>
      <p:sp>
        <p:nvSpPr>
          <p:cNvPr id="3" name="Rektangel 2">
            <a:extLst>
              <a:ext uri="{FF2B5EF4-FFF2-40B4-BE49-F238E27FC236}">
                <a16:creationId xmlns:a16="http://schemas.microsoft.com/office/drawing/2014/main" id="{0F0F76DF-1916-449F-9CEA-CEEEE0E4A85E}"/>
              </a:ext>
            </a:extLst>
          </p:cNvPr>
          <p:cNvSpPr/>
          <p:nvPr userDrawn="1"/>
        </p:nvSpPr>
        <p:spPr>
          <a:xfrm flipV="1">
            <a:off x="0" y="2028085"/>
            <a:ext cx="12192000" cy="4841487"/>
          </a:xfrm>
          <a:prstGeom prst="rect">
            <a:avLst/>
          </a:prstGeom>
          <a:solidFill>
            <a:srgbClr val="004CA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accent6"/>
                </a:solidFill>
              </a:rPr>
              <a:t>w</a:t>
            </a:r>
          </a:p>
        </p:txBody>
      </p:sp>
      <p:pic>
        <p:nvPicPr>
          <p:cNvPr id="4" name="Bild 3">
            <a:extLst>
              <a:ext uri="{FF2B5EF4-FFF2-40B4-BE49-F238E27FC236}">
                <a16:creationId xmlns:a16="http://schemas.microsoft.com/office/drawing/2014/main" id="{6E357B30-1759-4178-92E8-3DA5F223DBC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377" t="18551" r="5756" b="9322"/>
          <a:stretch/>
        </p:blipFill>
        <p:spPr>
          <a:xfrm>
            <a:off x="0" y="2314151"/>
            <a:ext cx="12192000" cy="4433891"/>
          </a:xfrm>
          <a:prstGeom prst="rect">
            <a:avLst/>
          </a:prstGeom>
        </p:spPr>
      </p:pic>
      <p:sp>
        <p:nvSpPr>
          <p:cNvPr id="5" name="Platshållare för datum 4">
            <a:extLst>
              <a:ext uri="{FF2B5EF4-FFF2-40B4-BE49-F238E27FC236}">
                <a16:creationId xmlns:a16="http://schemas.microsoft.com/office/drawing/2014/main" id="{2A77EF07-2E65-4356-BB8F-146A42592C1C}"/>
              </a:ext>
            </a:extLst>
          </p:cNvPr>
          <p:cNvSpPr>
            <a:spLocks noGrp="1"/>
          </p:cNvSpPr>
          <p:nvPr>
            <p:ph type="dt" sz="half" idx="10"/>
          </p:nvPr>
        </p:nvSpPr>
        <p:spPr/>
        <p:txBody>
          <a:bodyPr/>
          <a:lstStyle/>
          <a:p>
            <a:fld id="{A73FB757-2DEC-4896-B1CE-1C14CCE0DA90}" type="datetime1">
              <a:rPr lang="sv-SE" smtClean="0"/>
              <a:t>2025-05-20</a:t>
            </a:fld>
            <a:endParaRPr lang="sv-SE"/>
          </a:p>
        </p:txBody>
      </p:sp>
      <p:sp>
        <p:nvSpPr>
          <p:cNvPr id="6" name="Platshållare för sidfot 5">
            <a:extLst>
              <a:ext uri="{FF2B5EF4-FFF2-40B4-BE49-F238E27FC236}">
                <a16:creationId xmlns:a16="http://schemas.microsoft.com/office/drawing/2014/main" id="{37AA6982-5F96-4B08-A27E-1D48A940026C}"/>
              </a:ext>
            </a:extLst>
          </p:cNvPr>
          <p:cNvSpPr>
            <a:spLocks noGrp="1"/>
          </p:cNvSpPr>
          <p:nvPr>
            <p:ph type="ftr" sz="quarter" idx="11"/>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193FC1EE-B77E-4019-8753-4B725028E422}"/>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25101015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ubrik och två textblock på blå plat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98075"/>
            <a:ext cx="10072645" cy="1171704"/>
          </a:xfrm>
        </p:spPr>
        <p:txBody>
          <a:bodyPr/>
          <a:lstStyle>
            <a:lvl1pPr>
              <a:defRPr/>
            </a:lvl1pPr>
          </a:lstStyle>
          <a:p>
            <a:r>
              <a:rPr lang="sv-SE" dirty="0"/>
              <a:t>Rubrik till två block på tonplatta</a:t>
            </a:r>
          </a:p>
        </p:txBody>
      </p:sp>
      <p:sp>
        <p:nvSpPr>
          <p:cNvPr id="4" name="Platshållare för innehåll 3">
            <a:extLst>
              <a:ext uri="{FF2B5EF4-FFF2-40B4-BE49-F238E27FC236}">
                <a16:creationId xmlns:a16="http://schemas.microsoft.com/office/drawing/2014/main" id="{A5F4628A-8552-4548-B709-74AE6894B343}"/>
              </a:ext>
            </a:extLst>
          </p:cNvPr>
          <p:cNvSpPr>
            <a:spLocks noGrp="1"/>
          </p:cNvSpPr>
          <p:nvPr>
            <p:ph sz="quarter" idx="15"/>
          </p:nvPr>
        </p:nvSpPr>
        <p:spPr>
          <a:xfrm>
            <a:off x="1063625" y="2150325"/>
            <a:ext cx="4932000" cy="4752000"/>
          </a:xfrm>
          <a:solidFill>
            <a:schemeClr val="tx2"/>
          </a:solidFill>
        </p:spPr>
        <p:txBody>
          <a:bodyPr lIns="360000" tIns="360000" rIns="36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5" name="Platshållare för innehåll 14">
            <a:extLst>
              <a:ext uri="{FF2B5EF4-FFF2-40B4-BE49-F238E27FC236}">
                <a16:creationId xmlns:a16="http://schemas.microsoft.com/office/drawing/2014/main" id="{5BDA1A41-C70C-4059-B0CD-471504FB3748}"/>
              </a:ext>
            </a:extLst>
          </p:cNvPr>
          <p:cNvSpPr>
            <a:spLocks noGrp="1"/>
          </p:cNvSpPr>
          <p:nvPr>
            <p:ph sz="quarter" idx="19"/>
          </p:nvPr>
        </p:nvSpPr>
        <p:spPr>
          <a:xfrm>
            <a:off x="6202874" y="2150325"/>
            <a:ext cx="4932000" cy="4752000"/>
          </a:xfrm>
          <a:solidFill>
            <a:schemeClr val="tx2"/>
          </a:solidFill>
        </p:spPr>
        <p:txBody>
          <a:bodyPr lIns="360000" tIns="360000" rIns="36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datum 2">
            <a:extLst>
              <a:ext uri="{FF2B5EF4-FFF2-40B4-BE49-F238E27FC236}">
                <a16:creationId xmlns:a16="http://schemas.microsoft.com/office/drawing/2014/main" id="{A6EDF54C-A14F-4784-AD7F-57B74CB59341}"/>
              </a:ext>
            </a:extLst>
          </p:cNvPr>
          <p:cNvSpPr>
            <a:spLocks noGrp="1"/>
          </p:cNvSpPr>
          <p:nvPr>
            <p:ph type="dt" sz="half" idx="20"/>
          </p:nvPr>
        </p:nvSpPr>
        <p:spPr/>
        <p:txBody>
          <a:bodyPr/>
          <a:lstStyle/>
          <a:p>
            <a:fld id="{0DDA3BB9-9176-4AF8-AF5A-58EA07955F16}" type="datetime1">
              <a:rPr lang="sv-SE" smtClean="0"/>
              <a:t>2025-05-20</a:t>
            </a:fld>
            <a:endParaRPr lang="sv-SE" dirty="0"/>
          </a:p>
        </p:txBody>
      </p:sp>
      <p:sp>
        <p:nvSpPr>
          <p:cNvPr id="5" name="Platshållare för sidfot 4">
            <a:extLst>
              <a:ext uri="{FF2B5EF4-FFF2-40B4-BE49-F238E27FC236}">
                <a16:creationId xmlns:a16="http://schemas.microsoft.com/office/drawing/2014/main" id="{302A4AB9-B3A4-4328-B595-8413EA6BC79B}"/>
              </a:ext>
            </a:extLst>
          </p:cNvPr>
          <p:cNvSpPr>
            <a:spLocks noGrp="1"/>
          </p:cNvSpPr>
          <p:nvPr>
            <p:ph type="ftr" sz="quarter" idx="21"/>
          </p:nvPr>
        </p:nvSpPr>
        <p:spPr/>
        <p:txBody>
          <a:bodyPr/>
          <a:lstStyle/>
          <a:p>
            <a:r>
              <a:rPr lang="sv-SE" sz="700" dirty="0"/>
              <a:t>Ange informationssäkerhetsklass</a:t>
            </a:r>
            <a:endParaRPr lang="sv-SE" sz="700" dirty="0">
              <a:solidFill>
                <a:schemeClr val="tx1"/>
              </a:solidFill>
            </a:endParaRPr>
          </a:p>
        </p:txBody>
      </p:sp>
      <p:sp>
        <p:nvSpPr>
          <p:cNvPr id="6" name="Platshållare för bildnummer 5">
            <a:extLst>
              <a:ext uri="{FF2B5EF4-FFF2-40B4-BE49-F238E27FC236}">
                <a16:creationId xmlns:a16="http://schemas.microsoft.com/office/drawing/2014/main" id="{2EA1D139-65C8-4E90-A431-7803920698C9}"/>
              </a:ext>
            </a:extLst>
          </p:cNvPr>
          <p:cNvSpPr>
            <a:spLocks noGrp="1"/>
          </p:cNvSpPr>
          <p:nvPr>
            <p:ph type="sldNum" sz="quarter" idx="22"/>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24534340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Rubrik och två textbloc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98075"/>
            <a:ext cx="10072645" cy="1171704"/>
          </a:xfrm>
        </p:spPr>
        <p:txBody>
          <a:bodyPr/>
          <a:lstStyle>
            <a:lvl1pPr>
              <a:defRPr/>
            </a:lvl1pPr>
          </a:lstStyle>
          <a:p>
            <a:r>
              <a:rPr lang="sv-SE" dirty="0"/>
              <a:t>Rubrik till två textblock på vit botten</a:t>
            </a:r>
          </a:p>
        </p:txBody>
      </p:sp>
      <p:sp>
        <p:nvSpPr>
          <p:cNvPr id="13" name="Platshållare för innehåll 12">
            <a:extLst>
              <a:ext uri="{FF2B5EF4-FFF2-40B4-BE49-F238E27FC236}">
                <a16:creationId xmlns:a16="http://schemas.microsoft.com/office/drawing/2014/main" id="{19E2C2B4-592D-4CE2-8797-3A6C22810726}"/>
              </a:ext>
            </a:extLst>
          </p:cNvPr>
          <p:cNvSpPr>
            <a:spLocks noGrp="1"/>
          </p:cNvSpPr>
          <p:nvPr>
            <p:ph sz="quarter" idx="20"/>
          </p:nvPr>
        </p:nvSpPr>
        <p:spPr>
          <a:xfrm>
            <a:off x="1063625" y="2150325"/>
            <a:ext cx="4932000" cy="4176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7" name="Platshållare för innehåll 16">
            <a:extLst>
              <a:ext uri="{FF2B5EF4-FFF2-40B4-BE49-F238E27FC236}">
                <a16:creationId xmlns:a16="http://schemas.microsoft.com/office/drawing/2014/main" id="{2588241F-EF75-4BA1-BD99-68BAC43D094E}"/>
              </a:ext>
            </a:extLst>
          </p:cNvPr>
          <p:cNvSpPr>
            <a:spLocks noGrp="1"/>
          </p:cNvSpPr>
          <p:nvPr>
            <p:ph sz="quarter" idx="21"/>
          </p:nvPr>
        </p:nvSpPr>
        <p:spPr>
          <a:xfrm>
            <a:off x="6210917" y="2150325"/>
            <a:ext cx="4925395" cy="4176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datum 2">
            <a:extLst>
              <a:ext uri="{FF2B5EF4-FFF2-40B4-BE49-F238E27FC236}">
                <a16:creationId xmlns:a16="http://schemas.microsoft.com/office/drawing/2014/main" id="{9C4B7FB4-62E4-491A-B6DF-F92317BA8731}"/>
              </a:ext>
            </a:extLst>
          </p:cNvPr>
          <p:cNvSpPr>
            <a:spLocks noGrp="1"/>
          </p:cNvSpPr>
          <p:nvPr>
            <p:ph type="dt" sz="half" idx="22"/>
          </p:nvPr>
        </p:nvSpPr>
        <p:spPr/>
        <p:txBody>
          <a:bodyPr/>
          <a:lstStyle/>
          <a:p>
            <a:fld id="{63E9F72E-32B5-46AF-AC3F-A0D84D36C841}" type="datetime1">
              <a:rPr lang="sv-SE" smtClean="0"/>
              <a:t>2025-05-20</a:t>
            </a:fld>
            <a:endParaRPr lang="sv-SE" dirty="0"/>
          </a:p>
        </p:txBody>
      </p:sp>
      <p:sp>
        <p:nvSpPr>
          <p:cNvPr id="4" name="Platshållare för sidfot 3">
            <a:extLst>
              <a:ext uri="{FF2B5EF4-FFF2-40B4-BE49-F238E27FC236}">
                <a16:creationId xmlns:a16="http://schemas.microsoft.com/office/drawing/2014/main" id="{B5AE9C26-A5FB-4003-8259-8C7A5C2C5707}"/>
              </a:ext>
            </a:extLst>
          </p:cNvPr>
          <p:cNvSpPr>
            <a:spLocks noGrp="1"/>
          </p:cNvSpPr>
          <p:nvPr>
            <p:ph type="ftr" sz="quarter" idx="23"/>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9ACB369C-6874-4812-8A88-8BAC5E38354D}"/>
              </a:ext>
            </a:extLst>
          </p:cNvPr>
          <p:cNvSpPr>
            <a:spLocks noGrp="1"/>
          </p:cNvSpPr>
          <p:nvPr>
            <p:ph type="sldNum" sz="quarter" idx="24"/>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930793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Rubrik och 4 textblock på blå platta">
    <p:spTree>
      <p:nvGrpSpPr>
        <p:cNvPr id="1" name=""/>
        <p:cNvGrpSpPr/>
        <p:nvPr/>
      </p:nvGrpSpPr>
      <p:grpSpPr>
        <a:xfrm>
          <a:off x="0" y="0"/>
          <a:ext cx="0" cy="0"/>
          <a:chOff x="0" y="0"/>
          <a:chExt cx="0" cy="0"/>
        </a:xfrm>
      </p:grpSpPr>
      <p:sp>
        <p:nvSpPr>
          <p:cNvPr id="37" name="Rektangel 36">
            <a:extLst>
              <a:ext uri="{FF2B5EF4-FFF2-40B4-BE49-F238E27FC236}">
                <a16:creationId xmlns:a16="http://schemas.microsoft.com/office/drawing/2014/main" id="{B8B0BD90-7256-4EE7-A2FC-B14F05F0625B}"/>
              </a:ext>
            </a:extLst>
          </p:cNvPr>
          <p:cNvSpPr/>
          <p:nvPr userDrawn="1"/>
        </p:nvSpPr>
        <p:spPr>
          <a:xfrm>
            <a:off x="8729221" y="2160780"/>
            <a:ext cx="2413457" cy="38971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Platshållare för text 10">
            <a:extLst>
              <a:ext uri="{FF2B5EF4-FFF2-40B4-BE49-F238E27FC236}">
                <a16:creationId xmlns:a16="http://schemas.microsoft.com/office/drawing/2014/main" id="{B532AA24-4DE9-4E1E-955F-9E39DFA3838C}"/>
              </a:ext>
            </a:extLst>
          </p:cNvPr>
          <p:cNvSpPr>
            <a:spLocks noGrp="1"/>
          </p:cNvSpPr>
          <p:nvPr>
            <p:ph type="body" sz="quarter" idx="28" hasCustomPrompt="1"/>
          </p:nvPr>
        </p:nvSpPr>
        <p:spPr>
          <a:xfrm>
            <a:off x="8980818" y="2349977"/>
            <a:ext cx="2081122" cy="562606"/>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34" name="Rektangel 33">
            <a:extLst>
              <a:ext uri="{FF2B5EF4-FFF2-40B4-BE49-F238E27FC236}">
                <a16:creationId xmlns:a16="http://schemas.microsoft.com/office/drawing/2014/main" id="{82019FB4-DEE8-43D4-A0B2-42C40DE21686}"/>
              </a:ext>
            </a:extLst>
          </p:cNvPr>
          <p:cNvSpPr/>
          <p:nvPr userDrawn="1"/>
        </p:nvSpPr>
        <p:spPr>
          <a:xfrm>
            <a:off x="6173377" y="2160779"/>
            <a:ext cx="2413457" cy="3899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ektangel 30">
            <a:extLst>
              <a:ext uri="{FF2B5EF4-FFF2-40B4-BE49-F238E27FC236}">
                <a16:creationId xmlns:a16="http://schemas.microsoft.com/office/drawing/2014/main" id="{23C9F3D2-C845-40E9-80EA-EE1D9288C17C}"/>
              </a:ext>
            </a:extLst>
          </p:cNvPr>
          <p:cNvSpPr/>
          <p:nvPr userDrawn="1"/>
        </p:nvSpPr>
        <p:spPr>
          <a:xfrm>
            <a:off x="3605657" y="2160780"/>
            <a:ext cx="2413457" cy="3897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2" name="Platshållare för text 10">
            <a:extLst>
              <a:ext uri="{FF2B5EF4-FFF2-40B4-BE49-F238E27FC236}">
                <a16:creationId xmlns:a16="http://schemas.microsoft.com/office/drawing/2014/main" id="{ED7A2409-B7BA-4694-B981-F4D063EFC46F}"/>
              </a:ext>
            </a:extLst>
          </p:cNvPr>
          <p:cNvSpPr>
            <a:spLocks noGrp="1"/>
          </p:cNvSpPr>
          <p:nvPr>
            <p:ph type="body" sz="quarter" idx="24" hasCustomPrompt="1"/>
          </p:nvPr>
        </p:nvSpPr>
        <p:spPr>
          <a:xfrm>
            <a:off x="3884147" y="2349977"/>
            <a:ext cx="1989983" cy="562606"/>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30" name="Rektangel 29">
            <a:extLst>
              <a:ext uri="{FF2B5EF4-FFF2-40B4-BE49-F238E27FC236}">
                <a16:creationId xmlns:a16="http://schemas.microsoft.com/office/drawing/2014/main" id="{2FCCD665-0BBB-4583-AE41-207F424C22BF}"/>
              </a:ext>
            </a:extLst>
          </p:cNvPr>
          <p:cNvSpPr/>
          <p:nvPr userDrawn="1"/>
        </p:nvSpPr>
        <p:spPr>
          <a:xfrm>
            <a:off x="1070687" y="2160780"/>
            <a:ext cx="2413457" cy="38971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Platshållare för text 10">
            <a:extLst>
              <a:ext uri="{FF2B5EF4-FFF2-40B4-BE49-F238E27FC236}">
                <a16:creationId xmlns:a16="http://schemas.microsoft.com/office/drawing/2014/main" id="{A925EA6F-A06A-4C83-94D7-D2B0A85A7CAC}"/>
              </a:ext>
            </a:extLst>
          </p:cNvPr>
          <p:cNvSpPr>
            <a:spLocks noGrp="1"/>
          </p:cNvSpPr>
          <p:nvPr>
            <p:ph type="body" sz="quarter" idx="17" hasCustomPrompt="1"/>
          </p:nvPr>
        </p:nvSpPr>
        <p:spPr>
          <a:xfrm>
            <a:off x="1349176" y="2349977"/>
            <a:ext cx="2003624" cy="562605"/>
          </a:xfrm>
          <a:noFill/>
        </p:spPr>
        <p:txBody>
          <a:bodyPr lIns="0" tIns="0" rIns="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51637" y="686200"/>
            <a:ext cx="10084675" cy="1171704"/>
          </a:xfrm>
        </p:spPr>
        <p:txBody>
          <a:bodyPr/>
          <a:lstStyle>
            <a:lvl1pPr>
              <a:defRPr/>
            </a:lvl1pPr>
          </a:lstStyle>
          <a:p>
            <a:r>
              <a:rPr lang="sv-SE" dirty="0"/>
              <a:t>Rubrik till fyra textblock på tonplatta</a:t>
            </a:r>
          </a:p>
        </p:txBody>
      </p:sp>
      <p:sp>
        <p:nvSpPr>
          <p:cNvPr id="23" name="Triangel 17">
            <a:extLst>
              <a:ext uri="{FF2B5EF4-FFF2-40B4-BE49-F238E27FC236}">
                <a16:creationId xmlns:a16="http://schemas.microsoft.com/office/drawing/2014/main" id="{FA035411-7E06-4942-877E-E90CB9C501E3}"/>
              </a:ext>
            </a:extLst>
          </p:cNvPr>
          <p:cNvSpPr/>
          <p:nvPr userDrawn="1"/>
        </p:nvSpPr>
        <p:spPr>
          <a:xfrm rot="5400000">
            <a:off x="3879096" y="305494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 name="Triangel 17">
            <a:extLst>
              <a:ext uri="{FF2B5EF4-FFF2-40B4-BE49-F238E27FC236}">
                <a16:creationId xmlns:a16="http://schemas.microsoft.com/office/drawing/2014/main" id="{61DFD7BC-FB5C-4FC2-BBF1-EEA3C04EA358}"/>
              </a:ext>
            </a:extLst>
          </p:cNvPr>
          <p:cNvSpPr/>
          <p:nvPr userDrawn="1"/>
        </p:nvSpPr>
        <p:spPr>
          <a:xfrm rot="5400000">
            <a:off x="6433369" y="3054939"/>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9" name="Triangel 17">
            <a:extLst>
              <a:ext uri="{FF2B5EF4-FFF2-40B4-BE49-F238E27FC236}">
                <a16:creationId xmlns:a16="http://schemas.microsoft.com/office/drawing/2014/main" id="{D839DB3F-5ABE-48BF-870A-2B271BC72EAC}"/>
              </a:ext>
            </a:extLst>
          </p:cNvPr>
          <p:cNvSpPr/>
          <p:nvPr userDrawn="1"/>
        </p:nvSpPr>
        <p:spPr>
          <a:xfrm rot="5400000">
            <a:off x="8975767" y="3061008"/>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5" name="Platshållare för text 10">
            <a:extLst>
              <a:ext uri="{FF2B5EF4-FFF2-40B4-BE49-F238E27FC236}">
                <a16:creationId xmlns:a16="http://schemas.microsoft.com/office/drawing/2014/main" id="{D911B424-1444-48A3-8D73-22EA44167F09}"/>
              </a:ext>
            </a:extLst>
          </p:cNvPr>
          <p:cNvSpPr>
            <a:spLocks noGrp="1"/>
          </p:cNvSpPr>
          <p:nvPr>
            <p:ph type="body" sz="quarter" idx="26" hasCustomPrompt="1"/>
          </p:nvPr>
        </p:nvSpPr>
        <p:spPr>
          <a:xfrm>
            <a:off x="6438420" y="2349977"/>
            <a:ext cx="1991775" cy="562606"/>
          </a:xfrm>
          <a:noFill/>
        </p:spPr>
        <p:txBody>
          <a:bodyPr lIns="0" tIns="0" rIns="252000" bIns="0" anchor="b" anchorCtr="0"/>
          <a:lstStyle>
            <a:lvl1pPr marL="0" indent="0" algn="l">
              <a:buFont typeface="Arial" panose="020B0604020202020204" pitchFamily="34" charset="0"/>
              <a:buNone/>
              <a:defRPr sz="1600" b="1">
                <a:solidFill>
                  <a:schemeClr val="bg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14" name="Platshållare för innehåll 13">
            <a:extLst>
              <a:ext uri="{FF2B5EF4-FFF2-40B4-BE49-F238E27FC236}">
                <a16:creationId xmlns:a16="http://schemas.microsoft.com/office/drawing/2014/main" id="{CEC84391-C764-43DD-938E-14C19238D379}"/>
              </a:ext>
            </a:extLst>
          </p:cNvPr>
          <p:cNvSpPr>
            <a:spLocks noGrp="1"/>
          </p:cNvSpPr>
          <p:nvPr>
            <p:ph sz="quarter" idx="33"/>
          </p:nvPr>
        </p:nvSpPr>
        <p:spPr>
          <a:xfrm>
            <a:off x="1349375"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a:t>Klicka här för att ändra format på bakgrundstexten</a:t>
            </a:r>
          </a:p>
          <a:p>
            <a:pPr lvl="1"/>
            <a:r>
              <a:rPr lang="sv-SE"/>
              <a:t>Nivå två</a:t>
            </a:r>
          </a:p>
          <a:p>
            <a:pPr lvl="2"/>
            <a:r>
              <a:rPr lang="sv-SE"/>
              <a:t>Nivå tre</a:t>
            </a:r>
          </a:p>
        </p:txBody>
      </p:sp>
      <p:sp>
        <p:nvSpPr>
          <p:cNvPr id="40" name="Platshållare för innehåll 13">
            <a:extLst>
              <a:ext uri="{FF2B5EF4-FFF2-40B4-BE49-F238E27FC236}">
                <a16:creationId xmlns:a16="http://schemas.microsoft.com/office/drawing/2014/main" id="{3489BEC6-D2B1-45A4-B450-BE5AB6BFA4BE}"/>
              </a:ext>
            </a:extLst>
          </p:cNvPr>
          <p:cNvSpPr>
            <a:spLocks noGrp="1"/>
          </p:cNvSpPr>
          <p:nvPr>
            <p:ph sz="quarter" idx="34"/>
          </p:nvPr>
        </p:nvSpPr>
        <p:spPr>
          <a:xfrm>
            <a:off x="3884147"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a:t>Klicka här för att ändra format på bakgrundstexten</a:t>
            </a:r>
          </a:p>
          <a:p>
            <a:pPr lvl="1"/>
            <a:r>
              <a:rPr lang="sv-SE"/>
              <a:t>Nivå två</a:t>
            </a:r>
          </a:p>
          <a:p>
            <a:pPr lvl="2"/>
            <a:r>
              <a:rPr lang="sv-SE"/>
              <a:t>Nivå tre</a:t>
            </a:r>
          </a:p>
        </p:txBody>
      </p:sp>
      <p:sp>
        <p:nvSpPr>
          <p:cNvPr id="41" name="Platshållare för innehåll 13">
            <a:extLst>
              <a:ext uri="{FF2B5EF4-FFF2-40B4-BE49-F238E27FC236}">
                <a16:creationId xmlns:a16="http://schemas.microsoft.com/office/drawing/2014/main" id="{03CEFC0A-E4D2-4729-B40E-97715AF34D9E}"/>
              </a:ext>
            </a:extLst>
          </p:cNvPr>
          <p:cNvSpPr>
            <a:spLocks noGrp="1"/>
          </p:cNvSpPr>
          <p:nvPr>
            <p:ph sz="quarter" idx="35"/>
          </p:nvPr>
        </p:nvSpPr>
        <p:spPr>
          <a:xfrm>
            <a:off x="6438420" y="3306054"/>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a:t>Klicka här för att ändra format på bakgrundstexten</a:t>
            </a:r>
          </a:p>
          <a:p>
            <a:pPr lvl="1"/>
            <a:r>
              <a:rPr lang="sv-SE"/>
              <a:t>Nivå två</a:t>
            </a:r>
          </a:p>
          <a:p>
            <a:pPr lvl="2"/>
            <a:r>
              <a:rPr lang="sv-SE"/>
              <a:t>Nivå tre</a:t>
            </a:r>
          </a:p>
        </p:txBody>
      </p:sp>
      <p:sp>
        <p:nvSpPr>
          <p:cNvPr id="42" name="Platshållare för innehåll 13">
            <a:extLst>
              <a:ext uri="{FF2B5EF4-FFF2-40B4-BE49-F238E27FC236}">
                <a16:creationId xmlns:a16="http://schemas.microsoft.com/office/drawing/2014/main" id="{B135EFBA-697B-4CFF-89E3-0663B0D032D9}"/>
              </a:ext>
            </a:extLst>
          </p:cNvPr>
          <p:cNvSpPr>
            <a:spLocks noGrp="1"/>
          </p:cNvSpPr>
          <p:nvPr>
            <p:ph sz="quarter" idx="36"/>
          </p:nvPr>
        </p:nvSpPr>
        <p:spPr>
          <a:xfrm>
            <a:off x="8980818" y="3288282"/>
            <a:ext cx="2003425" cy="2429728"/>
          </a:xfrm>
        </p:spPr>
        <p:txBody>
          <a:bodyPr/>
          <a:lstStyle>
            <a:lvl1pPr marL="0" indent="0">
              <a:buFont typeface="Arial" panose="020B0604020202020204" pitchFamily="34" charset="0"/>
              <a:buNone/>
              <a:defRPr sz="1600">
                <a:solidFill>
                  <a:schemeClr val="bg1"/>
                </a:solidFill>
              </a:defRPr>
            </a:lvl1pPr>
            <a:lvl2pPr marL="174625" indent="-174625">
              <a:spcAft>
                <a:spcPts val="600"/>
              </a:spcAft>
              <a:buClr>
                <a:schemeClr val="bg1"/>
              </a:buClr>
              <a:defRPr sz="1600">
                <a:solidFill>
                  <a:schemeClr val="bg1"/>
                </a:solidFill>
              </a:defRPr>
            </a:lvl2pPr>
            <a:lvl3pPr marL="363538" indent="-171450">
              <a:spcAft>
                <a:spcPts val="600"/>
              </a:spcAft>
              <a:buClr>
                <a:schemeClr val="bg1"/>
              </a:buClr>
              <a:defRPr sz="1600">
                <a:solidFill>
                  <a:schemeClr val="bg1"/>
                </a:solidFill>
              </a:defRPr>
            </a:lvl3pPr>
            <a:lvl4pPr>
              <a:defRPr sz="1600">
                <a:solidFill>
                  <a:schemeClr val="bg1"/>
                </a:solidFill>
              </a:defRPr>
            </a:lvl4pPr>
            <a:lvl5pPr>
              <a:defRPr sz="1600">
                <a:solidFill>
                  <a:schemeClr val="bg1"/>
                </a:solidFill>
              </a:defRPr>
            </a:lvl5pPr>
          </a:lstStyle>
          <a:p>
            <a:pPr lvl="0"/>
            <a:r>
              <a:rPr lang="sv-SE"/>
              <a:t>Klicka här för att ändra format på bakgrundstexten</a:t>
            </a:r>
          </a:p>
          <a:p>
            <a:pPr lvl="1"/>
            <a:r>
              <a:rPr lang="sv-SE"/>
              <a:t>Nivå två</a:t>
            </a:r>
          </a:p>
          <a:p>
            <a:pPr lvl="2"/>
            <a:r>
              <a:rPr lang="sv-SE"/>
              <a:t>Nivå tre</a:t>
            </a:r>
          </a:p>
        </p:txBody>
      </p:sp>
      <p:sp>
        <p:nvSpPr>
          <p:cNvPr id="3" name="Platshållare för datum 2">
            <a:extLst>
              <a:ext uri="{FF2B5EF4-FFF2-40B4-BE49-F238E27FC236}">
                <a16:creationId xmlns:a16="http://schemas.microsoft.com/office/drawing/2014/main" id="{127D6D2C-EC5D-4322-A1F8-EAAA98D83642}"/>
              </a:ext>
            </a:extLst>
          </p:cNvPr>
          <p:cNvSpPr>
            <a:spLocks noGrp="1"/>
          </p:cNvSpPr>
          <p:nvPr>
            <p:ph type="dt" sz="half" idx="37"/>
          </p:nvPr>
        </p:nvSpPr>
        <p:spPr/>
        <p:txBody>
          <a:bodyPr/>
          <a:lstStyle/>
          <a:p>
            <a:fld id="{EF185F94-5C8C-40E1-BF7F-F5F26826BAF8}" type="datetime1">
              <a:rPr lang="sv-SE" smtClean="0"/>
              <a:t>2025-05-20</a:t>
            </a:fld>
            <a:endParaRPr lang="sv-SE" dirty="0"/>
          </a:p>
        </p:txBody>
      </p:sp>
      <p:sp>
        <p:nvSpPr>
          <p:cNvPr id="4" name="Platshållare för sidfot 3">
            <a:extLst>
              <a:ext uri="{FF2B5EF4-FFF2-40B4-BE49-F238E27FC236}">
                <a16:creationId xmlns:a16="http://schemas.microsoft.com/office/drawing/2014/main" id="{942EDF02-484A-4107-B343-01150E3A2D60}"/>
              </a:ext>
            </a:extLst>
          </p:cNvPr>
          <p:cNvSpPr>
            <a:spLocks noGrp="1"/>
          </p:cNvSpPr>
          <p:nvPr>
            <p:ph type="ftr" sz="quarter" idx="38"/>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DA2C114A-F6D5-4184-9F77-A997583CFF70}"/>
              </a:ext>
            </a:extLst>
          </p:cNvPr>
          <p:cNvSpPr>
            <a:spLocks noGrp="1"/>
          </p:cNvSpPr>
          <p:nvPr>
            <p:ph type="sldNum" sz="quarter" idx="39"/>
          </p:nvPr>
        </p:nvSpPr>
        <p:spPr/>
        <p:txBody>
          <a:bodyPr/>
          <a:lstStyle/>
          <a:p>
            <a:fld id="{F1B3B4BD-EB47-1D45-9087-F777A38FB609}" type="slidenum">
              <a:rPr lang="sv-SE" smtClean="0"/>
              <a:pPr/>
              <a:t>‹#›</a:t>
            </a:fld>
            <a:endParaRPr lang="sv-SE" sz="700" dirty="0"/>
          </a:p>
        </p:txBody>
      </p:sp>
      <p:sp>
        <p:nvSpPr>
          <p:cNvPr id="22" name="Triangel 17">
            <a:extLst>
              <a:ext uri="{FF2B5EF4-FFF2-40B4-BE49-F238E27FC236}">
                <a16:creationId xmlns:a16="http://schemas.microsoft.com/office/drawing/2014/main" id="{8CDED82A-6489-4B58-A3DF-A58A00663E0C}"/>
              </a:ext>
            </a:extLst>
          </p:cNvPr>
          <p:cNvSpPr/>
          <p:nvPr userDrawn="1"/>
        </p:nvSpPr>
        <p:spPr>
          <a:xfrm rot="5400000">
            <a:off x="1384361" y="305494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2863632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ubrik och 4 textblock på vit botten">
    <p:spTree>
      <p:nvGrpSpPr>
        <p:cNvPr id="1" name=""/>
        <p:cNvGrpSpPr/>
        <p:nvPr/>
      </p:nvGrpSpPr>
      <p:grpSpPr>
        <a:xfrm>
          <a:off x="0" y="0"/>
          <a:ext cx="0" cy="0"/>
          <a:chOff x="0" y="0"/>
          <a:chExt cx="0" cy="0"/>
        </a:xfrm>
      </p:grpSpPr>
      <p:sp>
        <p:nvSpPr>
          <p:cNvPr id="18" name="Platshållare för text 10">
            <a:extLst>
              <a:ext uri="{FF2B5EF4-FFF2-40B4-BE49-F238E27FC236}">
                <a16:creationId xmlns:a16="http://schemas.microsoft.com/office/drawing/2014/main" id="{A925EA6F-A06A-4C83-94D7-D2B0A85A7CAC}"/>
              </a:ext>
            </a:extLst>
          </p:cNvPr>
          <p:cNvSpPr>
            <a:spLocks noGrp="1"/>
          </p:cNvSpPr>
          <p:nvPr>
            <p:ph type="body" sz="quarter" idx="17" hasCustomPrompt="1"/>
          </p:nvPr>
        </p:nvSpPr>
        <p:spPr>
          <a:xfrm>
            <a:off x="1070687"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513" y="686200"/>
            <a:ext cx="10060470" cy="1171704"/>
          </a:xfrm>
        </p:spPr>
        <p:txBody>
          <a:bodyPr/>
          <a:lstStyle>
            <a:lvl1pPr>
              <a:defRPr/>
            </a:lvl1pPr>
          </a:lstStyle>
          <a:p>
            <a:r>
              <a:rPr lang="sv-SE" dirty="0"/>
              <a:t>Rubrik till fyra textblock på vit bakgrund</a:t>
            </a:r>
          </a:p>
        </p:txBody>
      </p:sp>
      <p:sp>
        <p:nvSpPr>
          <p:cNvPr id="10" name="Triangel 17">
            <a:extLst>
              <a:ext uri="{FF2B5EF4-FFF2-40B4-BE49-F238E27FC236}">
                <a16:creationId xmlns:a16="http://schemas.microsoft.com/office/drawing/2014/main" id="{EC66FE8D-48D9-4BF5-B0A9-3975D39CBC82}"/>
              </a:ext>
            </a:extLst>
          </p:cNvPr>
          <p:cNvSpPr/>
          <p:nvPr userDrawn="1"/>
        </p:nvSpPr>
        <p:spPr>
          <a:xfrm rot="10800000">
            <a:off x="2049436"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2" name="Platshållare för text 10">
            <a:extLst>
              <a:ext uri="{FF2B5EF4-FFF2-40B4-BE49-F238E27FC236}">
                <a16:creationId xmlns:a16="http://schemas.microsoft.com/office/drawing/2014/main" id="{8A52F4D9-C4A2-4174-B24B-C5DA56F6808B}"/>
              </a:ext>
            </a:extLst>
          </p:cNvPr>
          <p:cNvSpPr>
            <a:spLocks noGrp="1"/>
          </p:cNvSpPr>
          <p:nvPr>
            <p:ph type="body" sz="quarter" idx="18" hasCustomPrompt="1"/>
          </p:nvPr>
        </p:nvSpPr>
        <p:spPr>
          <a:xfrm>
            <a:off x="3701906"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34" name="Triangel 17">
            <a:extLst>
              <a:ext uri="{FF2B5EF4-FFF2-40B4-BE49-F238E27FC236}">
                <a16:creationId xmlns:a16="http://schemas.microsoft.com/office/drawing/2014/main" id="{9E306581-A783-4757-A73F-5F3BE6F2B04F}"/>
              </a:ext>
            </a:extLst>
          </p:cNvPr>
          <p:cNvSpPr/>
          <p:nvPr userDrawn="1"/>
        </p:nvSpPr>
        <p:spPr>
          <a:xfrm rot="10800000">
            <a:off x="4680655"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5" name="Platshållare för text 10">
            <a:extLst>
              <a:ext uri="{FF2B5EF4-FFF2-40B4-BE49-F238E27FC236}">
                <a16:creationId xmlns:a16="http://schemas.microsoft.com/office/drawing/2014/main" id="{A7ACF604-2EA2-4B93-9C35-4D157B3C8252}"/>
              </a:ext>
            </a:extLst>
          </p:cNvPr>
          <p:cNvSpPr>
            <a:spLocks noGrp="1"/>
          </p:cNvSpPr>
          <p:nvPr>
            <p:ph type="body" sz="quarter" idx="20" hasCustomPrompt="1"/>
          </p:nvPr>
        </p:nvSpPr>
        <p:spPr>
          <a:xfrm>
            <a:off x="6333125"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37" name="Triangel 17">
            <a:extLst>
              <a:ext uri="{FF2B5EF4-FFF2-40B4-BE49-F238E27FC236}">
                <a16:creationId xmlns:a16="http://schemas.microsoft.com/office/drawing/2014/main" id="{03704152-67EA-43A2-B84D-BFB8901E879E}"/>
              </a:ext>
            </a:extLst>
          </p:cNvPr>
          <p:cNvSpPr/>
          <p:nvPr userDrawn="1"/>
        </p:nvSpPr>
        <p:spPr>
          <a:xfrm rot="10800000">
            <a:off x="7311874"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8" name="Platshållare för text 10">
            <a:extLst>
              <a:ext uri="{FF2B5EF4-FFF2-40B4-BE49-F238E27FC236}">
                <a16:creationId xmlns:a16="http://schemas.microsoft.com/office/drawing/2014/main" id="{51A28D5A-8F30-44EF-9C90-9000F2C50933}"/>
              </a:ext>
            </a:extLst>
          </p:cNvPr>
          <p:cNvSpPr>
            <a:spLocks noGrp="1"/>
          </p:cNvSpPr>
          <p:nvPr>
            <p:ph type="body" sz="quarter" idx="22" hasCustomPrompt="1"/>
          </p:nvPr>
        </p:nvSpPr>
        <p:spPr>
          <a:xfrm>
            <a:off x="9042396" y="2373794"/>
            <a:ext cx="2081587" cy="528093"/>
          </a:xfrm>
          <a:noFill/>
        </p:spPr>
        <p:txBody>
          <a:bodyPr lIns="0" tIns="0" rIns="0" bIns="0" anchor="b" anchorCtr="0">
            <a:spAutoFit/>
          </a:bodyPr>
          <a:lstStyle>
            <a:lvl1pPr marL="0" indent="0" algn="ctr">
              <a:buFont typeface="Arial" panose="020B0604020202020204" pitchFamily="34" charset="0"/>
              <a:buNone/>
              <a:defRPr sz="1600" b="1">
                <a:solidFill>
                  <a:schemeClr val="tx1"/>
                </a:solidFill>
                <a:latin typeface="+mj-lt"/>
              </a:defRPr>
            </a:lvl1pPr>
            <a:lvl2pPr marL="457200" indent="0">
              <a:buFont typeface="Arial" panose="020B0604020202020204" pitchFamily="34" charset="0"/>
              <a:buNone/>
              <a:defRPr>
                <a:solidFill>
                  <a:schemeClr val="bg1"/>
                </a:solidFill>
              </a:defRPr>
            </a:lvl2pPr>
            <a:lvl3pPr marL="734400" indent="0">
              <a:buFont typeface="Arial" panose="020B0604020202020204" pitchFamily="34" charset="0"/>
              <a:buNone/>
              <a:defRPr>
                <a:solidFill>
                  <a:schemeClr val="bg1"/>
                </a:solidFill>
              </a:defRPr>
            </a:lvl3pPr>
            <a:lvl4pPr marL="975600" indent="0">
              <a:buFont typeface="Arial" panose="020B0604020202020204" pitchFamily="34" charset="0"/>
              <a:buNone/>
              <a:defRPr>
                <a:solidFill>
                  <a:schemeClr val="bg1"/>
                </a:solidFill>
              </a:defRPr>
            </a:lvl4pPr>
            <a:lvl5pPr marL="1216800" indent="0">
              <a:buFont typeface="Arial" panose="020B0604020202020204" pitchFamily="34" charset="0"/>
              <a:buNone/>
              <a:defRPr>
                <a:solidFill>
                  <a:schemeClr val="bg1"/>
                </a:solidFill>
              </a:defRPr>
            </a:lvl5pPr>
          </a:lstStyle>
          <a:p>
            <a:pPr lvl="0"/>
            <a:r>
              <a:rPr lang="sv-SE" dirty="0"/>
              <a:t>Rubrik </a:t>
            </a:r>
            <a:r>
              <a:rPr lang="sv-SE" dirty="0" err="1"/>
              <a:t>lorem</a:t>
            </a:r>
            <a:r>
              <a:rPr lang="sv-SE" dirty="0"/>
              <a:t> </a:t>
            </a:r>
            <a:r>
              <a:rPr lang="sv-SE" dirty="0" err="1"/>
              <a:t>ispum</a:t>
            </a:r>
            <a:r>
              <a:rPr lang="sv-SE" dirty="0"/>
              <a:t> </a:t>
            </a:r>
            <a:r>
              <a:rPr lang="sv-SE" dirty="0" err="1"/>
              <a:t>sit</a:t>
            </a:r>
            <a:r>
              <a:rPr lang="sv-SE" dirty="0"/>
              <a:t> </a:t>
            </a:r>
            <a:r>
              <a:rPr lang="sv-SE" dirty="0" err="1"/>
              <a:t>amet</a:t>
            </a:r>
            <a:endParaRPr lang="sv-SE" dirty="0"/>
          </a:p>
        </p:txBody>
      </p:sp>
      <p:sp>
        <p:nvSpPr>
          <p:cNvPr id="40" name="Triangel 17">
            <a:extLst>
              <a:ext uri="{FF2B5EF4-FFF2-40B4-BE49-F238E27FC236}">
                <a16:creationId xmlns:a16="http://schemas.microsoft.com/office/drawing/2014/main" id="{0A574742-305D-4472-B8D3-21BA4582A3DA}"/>
              </a:ext>
            </a:extLst>
          </p:cNvPr>
          <p:cNvSpPr/>
          <p:nvPr userDrawn="1"/>
        </p:nvSpPr>
        <p:spPr>
          <a:xfrm rot="10800000">
            <a:off x="10021145" y="3012911"/>
            <a:ext cx="118864" cy="108761"/>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accent3"/>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2" name="Platshållare för innehåll 11">
            <a:extLst>
              <a:ext uri="{FF2B5EF4-FFF2-40B4-BE49-F238E27FC236}">
                <a16:creationId xmlns:a16="http://schemas.microsoft.com/office/drawing/2014/main" id="{7B9151D9-9E04-4EF1-B67D-707113587700}"/>
              </a:ext>
            </a:extLst>
          </p:cNvPr>
          <p:cNvSpPr>
            <a:spLocks noGrp="1"/>
          </p:cNvSpPr>
          <p:nvPr>
            <p:ph sz="quarter" idx="27"/>
          </p:nvPr>
        </p:nvSpPr>
        <p:spPr>
          <a:xfrm>
            <a:off x="1050925"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7" name="Platshållare för innehåll 11">
            <a:extLst>
              <a:ext uri="{FF2B5EF4-FFF2-40B4-BE49-F238E27FC236}">
                <a16:creationId xmlns:a16="http://schemas.microsoft.com/office/drawing/2014/main" id="{CA031AA6-D307-45CD-8C7F-77DDF8F5B7F6}"/>
              </a:ext>
            </a:extLst>
          </p:cNvPr>
          <p:cNvSpPr>
            <a:spLocks noGrp="1"/>
          </p:cNvSpPr>
          <p:nvPr>
            <p:ph sz="quarter" idx="28"/>
          </p:nvPr>
        </p:nvSpPr>
        <p:spPr>
          <a:xfrm>
            <a:off x="3701906"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8" name="Platshållare för innehåll 11">
            <a:extLst>
              <a:ext uri="{FF2B5EF4-FFF2-40B4-BE49-F238E27FC236}">
                <a16:creationId xmlns:a16="http://schemas.microsoft.com/office/drawing/2014/main" id="{06B7DBBF-E184-4646-BA2A-F8AD2D35A2FC}"/>
              </a:ext>
            </a:extLst>
          </p:cNvPr>
          <p:cNvSpPr>
            <a:spLocks noGrp="1"/>
          </p:cNvSpPr>
          <p:nvPr>
            <p:ph sz="quarter" idx="29"/>
          </p:nvPr>
        </p:nvSpPr>
        <p:spPr>
          <a:xfrm>
            <a:off x="6349087"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9" name="Platshållare för innehåll 11">
            <a:extLst>
              <a:ext uri="{FF2B5EF4-FFF2-40B4-BE49-F238E27FC236}">
                <a16:creationId xmlns:a16="http://schemas.microsoft.com/office/drawing/2014/main" id="{05530442-3770-4FB7-9E1C-F63DEBCAFEFF}"/>
              </a:ext>
            </a:extLst>
          </p:cNvPr>
          <p:cNvSpPr>
            <a:spLocks noGrp="1"/>
          </p:cNvSpPr>
          <p:nvPr>
            <p:ph sz="quarter" idx="30"/>
          </p:nvPr>
        </p:nvSpPr>
        <p:spPr>
          <a:xfrm>
            <a:off x="9042396" y="3217110"/>
            <a:ext cx="2101850" cy="2840789"/>
          </a:xfrm>
        </p:spPr>
        <p:txBody>
          <a:bodyPr/>
          <a:lstStyle>
            <a:lvl1pPr marL="0" indent="12700" algn="ctr">
              <a:buFont typeface="Arial" panose="020B0604020202020204" pitchFamily="34" charset="0"/>
              <a:buNone/>
              <a:defRPr sz="1600"/>
            </a:lvl1pPr>
            <a:lvl2pPr marL="180975" indent="-168275" algn="ctr">
              <a:defRPr sz="1600"/>
            </a:lvl2pPr>
            <a:lvl3pPr marL="180975" indent="-168275" algn="ctr">
              <a:defRPr sz="1600"/>
            </a:lvl3pPr>
            <a:lvl4pPr marL="180975" indent="-168275" algn="ctr">
              <a:defRPr sz="1600"/>
            </a:lvl4pPr>
            <a:lvl5pPr marL="180975" indent="-168275" algn="ctr">
              <a:defRPr sz="16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datum 2">
            <a:extLst>
              <a:ext uri="{FF2B5EF4-FFF2-40B4-BE49-F238E27FC236}">
                <a16:creationId xmlns:a16="http://schemas.microsoft.com/office/drawing/2014/main" id="{4881A44F-6AB1-4F6B-A7D3-63C2EED9149B}"/>
              </a:ext>
            </a:extLst>
          </p:cNvPr>
          <p:cNvSpPr>
            <a:spLocks noGrp="1"/>
          </p:cNvSpPr>
          <p:nvPr>
            <p:ph type="dt" sz="half" idx="31"/>
          </p:nvPr>
        </p:nvSpPr>
        <p:spPr/>
        <p:txBody>
          <a:bodyPr/>
          <a:lstStyle/>
          <a:p>
            <a:fld id="{DCDDA17A-CD23-41F5-A0D7-2FDAB03EB674}" type="datetime1">
              <a:rPr lang="sv-SE" smtClean="0"/>
              <a:t>2025-05-20</a:t>
            </a:fld>
            <a:endParaRPr lang="sv-SE" dirty="0"/>
          </a:p>
        </p:txBody>
      </p:sp>
      <p:sp>
        <p:nvSpPr>
          <p:cNvPr id="4" name="Platshållare för sidfot 3">
            <a:extLst>
              <a:ext uri="{FF2B5EF4-FFF2-40B4-BE49-F238E27FC236}">
                <a16:creationId xmlns:a16="http://schemas.microsoft.com/office/drawing/2014/main" id="{126C091B-A154-488D-A06F-585466D3F665}"/>
              </a:ext>
            </a:extLst>
          </p:cNvPr>
          <p:cNvSpPr>
            <a:spLocks noGrp="1"/>
          </p:cNvSpPr>
          <p:nvPr>
            <p:ph type="ftr" sz="quarter" idx="32"/>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BD19B3CC-369E-426B-BB14-A442DA01F644}"/>
              </a:ext>
            </a:extLst>
          </p:cNvPr>
          <p:cNvSpPr>
            <a:spLocks noGrp="1"/>
          </p:cNvSpPr>
          <p:nvPr>
            <p:ph type="sldNum" sz="quarter" idx="33"/>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284658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ubrik och text, bild till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8" y="686200"/>
            <a:ext cx="5604761" cy="1173600"/>
          </a:xfrm>
        </p:spPr>
        <p:txBody>
          <a:bodyPr/>
          <a:lstStyle>
            <a:lvl1pPr>
              <a:defRPr/>
            </a:lvl1pPr>
          </a:lstStyle>
          <a:p>
            <a:r>
              <a:rPr lang="sv-SE" dirty="0"/>
              <a:t>Rubrik</a:t>
            </a:r>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1063667" y="2161125"/>
            <a:ext cx="5604762" cy="408911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4" name="Platshållare för bild 13">
            <a:extLst>
              <a:ext uri="{FF2B5EF4-FFF2-40B4-BE49-F238E27FC236}">
                <a16:creationId xmlns:a16="http://schemas.microsoft.com/office/drawing/2014/main" id="{9F8119B9-7A98-45FB-81B1-64E73BCB33FA}"/>
              </a:ext>
            </a:extLst>
          </p:cNvPr>
          <p:cNvSpPr>
            <a:spLocks noGrp="1"/>
          </p:cNvSpPr>
          <p:nvPr>
            <p:ph type="pic" sz="quarter" idx="14" hasCustomPrompt="1"/>
          </p:nvPr>
        </p:nvSpPr>
        <p:spPr>
          <a:xfrm>
            <a:off x="7221538" y="0"/>
            <a:ext cx="4970462" cy="6858000"/>
          </a:xfrm>
        </p:spPr>
        <p:txBody>
          <a:bodyPr lIns="360000" tIns="360000" rIns="360000"/>
          <a:lstStyle>
            <a:lvl1pPr>
              <a:defRPr/>
            </a:lvl1pPr>
          </a:lstStyle>
          <a:p>
            <a:r>
              <a:rPr lang="sv-SE" dirty="0"/>
              <a:t>Klicka på ikonen nedan för att lägga in en bild</a:t>
            </a:r>
          </a:p>
        </p:txBody>
      </p:sp>
    </p:spTree>
    <p:extLst>
      <p:ext uri="{BB962C8B-B14F-4D97-AF65-F5344CB8AC3E}">
        <p14:creationId xmlns:p14="http://schemas.microsoft.com/office/powerpoint/2010/main" val="15587538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Rubrik och text, bild till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5722374" y="686200"/>
            <a:ext cx="5413939" cy="1173600"/>
          </a:xfrm>
        </p:spPr>
        <p:txBody>
          <a:bodyPr/>
          <a:lstStyle>
            <a:lvl1pPr>
              <a:defRPr/>
            </a:lvl1pPr>
          </a:lstStyle>
          <a:p>
            <a:r>
              <a:rPr lang="sv-SE" dirty="0"/>
              <a:t>Rubrik</a:t>
            </a:r>
          </a:p>
        </p:txBody>
      </p:sp>
      <p:sp>
        <p:nvSpPr>
          <p:cNvPr id="11" name="Platshållare för text 10">
            <a:extLst>
              <a:ext uri="{FF2B5EF4-FFF2-40B4-BE49-F238E27FC236}">
                <a16:creationId xmlns:a16="http://schemas.microsoft.com/office/drawing/2014/main" id="{ED3616C3-7060-CB46-AA2E-E4E30DCC55B0}"/>
              </a:ext>
            </a:extLst>
          </p:cNvPr>
          <p:cNvSpPr>
            <a:spLocks noGrp="1"/>
          </p:cNvSpPr>
          <p:nvPr>
            <p:ph type="body" sz="quarter" idx="13"/>
          </p:nvPr>
        </p:nvSpPr>
        <p:spPr>
          <a:xfrm>
            <a:off x="5722374" y="2161124"/>
            <a:ext cx="5413939" cy="408911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bild 3">
            <a:extLst>
              <a:ext uri="{FF2B5EF4-FFF2-40B4-BE49-F238E27FC236}">
                <a16:creationId xmlns:a16="http://schemas.microsoft.com/office/drawing/2014/main" id="{AAADDA6B-F619-45C3-B29B-8EB4CA0B0C0E}"/>
              </a:ext>
            </a:extLst>
          </p:cNvPr>
          <p:cNvSpPr>
            <a:spLocks noGrp="1"/>
          </p:cNvSpPr>
          <p:nvPr>
            <p:ph type="pic" sz="quarter" idx="14" hasCustomPrompt="1"/>
          </p:nvPr>
        </p:nvSpPr>
        <p:spPr>
          <a:xfrm>
            <a:off x="0" y="1"/>
            <a:ext cx="4765287" cy="6857999"/>
          </a:xfrm>
          <a:noFill/>
        </p:spPr>
        <p:txBody>
          <a:bodyPr lIns="360000" tIns="360000" rIns="360000" bIns="360000"/>
          <a:lstStyle>
            <a:lvl1pPr>
              <a:defRPr/>
            </a:lvl1pPr>
          </a:lstStyle>
          <a:p>
            <a:r>
              <a:rPr lang="sv-SE" dirty="0"/>
              <a:t>Klicka på ikonen nedan för att lägga in en bild</a:t>
            </a:r>
          </a:p>
        </p:txBody>
      </p:sp>
      <p:sp>
        <p:nvSpPr>
          <p:cNvPr id="3" name="Platshållare för datum 2">
            <a:extLst>
              <a:ext uri="{FF2B5EF4-FFF2-40B4-BE49-F238E27FC236}">
                <a16:creationId xmlns:a16="http://schemas.microsoft.com/office/drawing/2014/main" id="{C6B7AAA7-5819-4795-8F76-0AAE12E998E4}"/>
              </a:ext>
            </a:extLst>
          </p:cNvPr>
          <p:cNvSpPr>
            <a:spLocks noGrp="1"/>
          </p:cNvSpPr>
          <p:nvPr>
            <p:ph type="dt" sz="half" idx="15"/>
          </p:nvPr>
        </p:nvSpPr>
        <p:spPr/>
        <p:txBody>
          <a:bodyPr/>
          <a:lstStyle/>
          <a:p>
            <a:fld id="{1237FFF6-81F0-4B19-AC9A-F87CC7F73129}" type="datetime1">
              <a:rPr lang="sv-SE" smtClean="0"/>
              <a:t>2025-05-20</a:t>
            </a:fld>
            <a:endParaRPr lang="sv-SE" dirty="0"/>
          </a:p>
        </p:txBody>
      </p:sp>
      <p:sp>
        <p:nvSpPr>
          <p:cNvPr id="4" name="Platshållare för sidfot 3">
            <a:extLst>
              <a:ext uri="{FF2B5EF4-FFF2-40B4-BE49-F238E27FC236}">
                <a16:creationId xmlns:a16="http://schemas.microsoft.com/office/drawing/2014/main" id="{CF1FF9A9-3486-4259-84E0-9A79BBD5FFC9}"/>
              </a:ext>
            </a:extLst>
          </p:cNvPr>
          <p:cNvSpPr>
            <a:spLocks noGrp="1"/>
          </p:cNvSpPr>
          <p:nvPr>
            <p:ph type="ftr" sz="quarter" idx="16"/>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3DAC2885-28DD-4D35-9846-CF0D9CE36677}"/>
              </a:ext>
            </a:extLst>
          </p:cNvPr>
          <p:cNvSpPr>
            <a:spLocks noGrp="1"/>
          </p:cNvSpPr>
          <p:nvPr>
            <p:ph type="sldNum" sz="quarter" idx="17"/>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16352754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Enbart bild, helsida">
    <p:spTree>
      <p:nvGrpSpPr>
        <p:cNvPr id="1" name=""/>
        <p:cNvGrpSpPr/>
        <p:nvPr/>
      </p:nvGrpSpPr>
      <p:grpSpPr>
        <a:xfrm>
          <a:off x="0" y="0"/>
          <a:ext cx="0" cy="0"/>
          <a:chOff x="0" y="0"/>
          <a:chExt cx="0" cy="0"/>
        </a:xfrm>
      </p:grpSpPr>
      <p:sp>
        <p:nvSpPr>
          <p:cNvPr id="8" name="Platshållare för bild 3">
            <a:extLst>
              <a:ext uri="{FF2B5EF4-FFF2-40B4-BE49-F238E27FC236}">
                <a16:creationId xmlns:a16="http://schemas.microsoft.com/office/drawing/2014/main" id="{AAADDA6B-F619-45C3-B29B-8EB4CA0B0C0E}"/>
              </a:ext>
            </a:extLst>
          </p:cNvPr>
          <p:cNvSpPr>
            <a:spLocks noGrp="1"/>
          </p:cNvSpPr>
          <p:nvPr>
            <p:ph type="pic" sz="quarter" idx="14" hasCustomPrompt="1"/>
          </p:nvPr>
        </p:nvSpPr>
        <p:spPr>
          <a:xfrm>
            <a:off x="0" y="1"/>
            <a:ext cx="12192000" cy="6857999"/>
          </a:xfrm>
          <a:noFill/>
        </p:spPr>
        <p:txBody>
          <a:bodyPr lIns="360000" tIns="360000" rIns="360000" bIns="360000"/>
          <a:lstStyle>
            <a:lvl1pPr>
              <a:defRPr/>
            </a:lvl1pPr>
          </a:lstStyle>
          <a:p>
            <a:r>
              <a:rPr lang="sv-SE" dirty="0"/>
              <a:t>Klicka på ikonen nedan för att lägga in en bild</a:t>
            </a:r>
          </a:p>
        </p:txBody>
      </p:sp>
    </p:spTree>
    <p:extLst>
      <p:ext uri="{BB962C8B-B14F-4D97-AF65-F5344CB8AC3E}">
        <p14:creationId xmlns:p14="http://schemas.microsoft.com/office/powerpoint/2010/main" val="27871084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Endast rubrik, i överkant">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55687" y="510636"/>
            <a:ext cx="10080625" cy="1356708"/>
          </a:xfrm>
        </p:spPr>
        <p:txBody>
          <a:bodyPr anchor="b" anchorCtr="0">
            <a:noAutofit/>
          </a:bodyPr>
          <a:lstStyle>
            <a:lvl1pPr>
              <a:defRPr/>
            </a:lvl1pPr>
          </a:lstStyle>
          <a:p>
            <a:r>
              <a:rPr lang="sv-SE" dirty="0"/>
              <a:t>Endast rubrik</a:t>
            </a:r>
          </a:p>
        </p:txBody>
      </p:sp>
      <p:sp>
        <p:nvSpPr>
          <p:cNvPr id="2" name="Platshållare för datum 1">
            <a:extLst>
              <a:ext uri="{FF2B5EF4-FFF2-40B4-BE49-F238E27FC236}">
                <a16:creationId xmlns:a16="http://schemas.microsoft.com/office/drawing/2014/main" id="{1C86D94E-F6BE-402E-B460-8A3F859B5B90}"/>
              </a:ext>
            </a:extLst>
          </p:cNvPr>
          <p:cNvSpPr>
            <a:spLocks noGrp="1"/>
          </p:cNvSpPr>
          <p:nvPr>
            <p:ph type="dt" sz="half" idx="10"/>
          </p:nvPr>
        </p:nvSpPr>
        <p:spPr/>
        <p:txBody>
          <a:bodyPr/>
          <a:lstStyle/>
          <a:p>
            <a:fld id="{A8ACFE6E-78A1-47FF-80DF-41879E55D407}" type="datetime1">
              <a:rPr lang="sv-SE" smtClean="0"/>
              <a:t>2025-05-20</a:t>
            </a:fld>
            <a:endParaRPr lang="sv-SE" dirty="0"/>
          </a:p>
        </p:txBody>
      </p:sp>
      <p:sp>
        <p:nvSpPr>
          <p:cNvPr id="3" name="Platshållare för sidfot 2">
            <a:extLst>
              <a:ext uri="{FF2B5EF4-FFF2-40B4-BE49-F238E27FC236}">
                <a16:creationId xmlns:a16="http://schemas.microsoft.com/office/drawing/2014/main" id="{67927DF5-9102-4BE6-A72D-643E3DC22C52}"/>
              </a:ext>
            </a:extLst>
          </p:cNvPr>
          <p:cNvSpPr>
            <a:spLocks noGrp="1"/>
          </p:cNvSpPr>
          <p:nvPr>
            <p:ph type="ftr" sz="quarter" idx="11"/>
          </p:nvPr>
        </p:nvSpPr>
        <p:spPr/>
        <p:txBody>
          <a:bodyPr/>
          <a:lstStyle/>
          <a:p>
            <a:r>
              <a:rPr lang="sv-SE" sz="700"/>
              <a:t>Ange informationssäkerhetsklass</a:t>
            </a:r>
            <a:endParaRPr lang="sv-SE" sz="700" dirty="0">
              <a:solidFill>
                <a:schemeClr val="tx1"/>
              </a:solidFill>
            </a:endParaRPr>
          </a:p>
        </p:txBody>
      </p:sp>
      <p:sp>
        <p:nvSpPr>
          <p:cNvPr id="4" name="Platshållare för bildnummer 3">
            <a:extLst>
              <a:ext uri="{FF2B5EF4-FFF2-40B4-BE49-F238E27FC236}">
                <a16:creationId xmlns:a16="http://schemas.microsoft.com/office/drawing/2014/main" id="{653F600E-D491-4175-8AA6-DA6892445AFE}"/>
              </a:ext>
            </a:extLst>
          </p:cNvPr>
          <p:cNvSpPr>
            <a:spLocks noGrp="1"/>
          </p:cNvSpPr>
          <p:nvPr>
            <p:ph type="sldNum" sz="quarter" idx="12"/>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21559348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Endast rubrik, centrerad i höjdled">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63667" y="3144037"/>
            <a:ext cx="10072645" cy="581698"/>
          </a:xfrm>
        </p:spPr>
        <p:txBody>
          <a:bodyPr wrap="square" anchor="ctr" anchorCtr="0">
            <a:spAutoFit/>
          </a:bodyPr>
          <a:lstStyle>
            <a:lvl1pPr>
              <a:defRPr/>
            </a:lvl1pPr>
          </a:lstStyle>
          <a:p>
            <a:r>
              <a:rPr lang="sv-SE" dirty="0"/>
              <a:t>Endast rubrik</a:t>
            </a:r>
          </a:p>
        </p:txBody>
      </p:sp>
      <p:sp>
        <p:nvSpPr>
          <p:cNvPr id="2" name="Platshållare för datum 1">
            <a:extLst>
              <a:ext uri="{FF2B5EF4-FFF2-40B4-BE49-F238E27FC236}">
                <a16:creationId xmlns:a16="http://schemas.microsoft.com/office/drawing/2014/main" id="{45852889-ECE2-4DEA-ACE3-7B9A9B694C60}"/>
              </a:ext>
            </a:extLst>
          </p:cNvPr>
          <p:cNvSpPr>
            <a:spLocks noGrp="1"/>
          </p:cNvSpPr>
          <p:nvPr>
            <p:ph type="dt" sz="half" idx="10"/>
          </p:nvPr>
        </p:nvSpPr>
        <p:spPr/>
        <p:txBody>
          <a:bodyPr/>
          <a:lstStyle/>
          <a:p>
            <a:fld id="{0C62B4FD-F1DD-47F8-ADC0-AE6D2CE350BD}" type="datetime1">
              <a:rPr lang="sv-SE" smtClean="0"/>
              <a:t>2025-05-20</a:t>
            </a:fld>
            <a:endParaRPr lang="sv-SE" dirty="0"/>
          </a:p>
        </p:txBody>
      </p:sp>
      <p:sp>
        <p:nvSpPr>
          <p:cNvPr id="3" name="Platshållare för sidfot 2">
            <a:extLst>
              <a:ext uri="{FF2B5EF4-FFF2-40B4-BE49-F238E27FC236}">
                <a16:creationId xmlns:a16="http://schemas.microsoft.com/office/drawing/2014/main" id="{531C635F-E2A9-43DE-93FC-8A1C0DEBE76E}"/>
              </a:ext>
            </a:extLst>
          </p:cNvPr>
          <p:cNvSpPr>
            <a:spLocks noGrp="1"/>
          </p:cNvSpPr>
          <p:nvPr>
            <p:ph type="ftr" sz="quarter" idx="11"/>
          </p:nvPr>
        </p:nvSpPr>
        <p:spPr/>
        <p:txBody>
          <a:bodyPr/>
          <a:lstStyle/>
          <a:p>
            <a:r>
              <a:rPr lang="sv-SE" sz="700"/>
              <a:t>Ange informationssäkerhetsklass</a:t>
            </a:r>
            <a:endParaRPr lang="sv-SE" sz="700" dirty="0">
              <a:solidFill>
                <a:schemeClr val="tx1"/>
              </a:solidFill>
            </a:endParaRPr>
          </a:p>
        </p:txBody>
      </p:sp>
      <p:sp>
        <p:nvSpPr>
          <p:cNvPr id="4" name="Platshållare för bildnummer 3">
            <a:extLst>
              <a:ext uri="{FF2B5EF4-FFF2-40B4-BE49-F238E27FC236}">
                <a16:creationId xmlns:a16="http://schemas.microsoft.com/office/drawing/2014/main" id="{2C3F6346-04BD-486C-8219-D95DD5A2D380}"/>
              </a:ext>
            </a:extLst>
          </p:cNvPr>
          <p:cNvSpPr>
            <a:spLocks noGrp="1"/>
          </p:cNvSpPr>
          <p:nvPr>
            <p:ph type="sldNum" sz="quarter" idx="12"/>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35138292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Rubrik på bildbakgrund">
    <p:spTree>
      <p:nvGrpSpPr>
        <p:cNvPr id="1" name=""/>
        <p:cNvGrpSpPr/>
        <p:nvPr/>
      </p:nvGrpSpPr>
      <p:grpSpPr>
        <a:xfrm>
          <a:off x="0" y="0"/>
          <a:ext cx="0" cy="0"/>
          <a:chOff x="0" y="0"/>
          <a:chExt cx="0" cy="0"/>
        </a:xfrm>
      </p:grpSpPr>
      <p:sp>
        <p:nvSpPr>
          <p:cNvPr id="7" name="Platshållare för bild 6">
            <a:extLst>
              <a:ext uri="{FF2B5EF4-FFF2-40B4-BE49-F238E27FC236}">
                <a16:creationId xmlns:a16="http://schemas.microsoft.com/office/drawing/2014/main" id="{50597F66-B0AF-8644-8D02-B8EB0A69DCF1}"/>
              </a:ext>
            </a:extLst>
          </p:cNvPr>
          <p:cNvSpPr>
            <a:spLocks noGrp="1"/>
          </p:cNvSpPr>
          <p:nvPr>
            <p:ph type="pic" sz="quarter" idx="13" hasCustomPrompt="1"/>
          </p:nvPr>
        </p:nvSpPr>
        <p:spPr>
          <a:xfrm>
            <a:off x="0" y="0"/>
            <a:ext cx="12192000" cy="6858000"/>
          </a:xfrm>
          <a:solidFill>
            <a:schemeClr val="bg1">
              <a:lumMod val="95000"/>
            </a:schemeClr>
          </a:solidFill>
        </p:spPr>
        <p:txBody>
          <a:bodyPr lIns="360000" tIns="360000" rIns="360000"/>
          <a:lstStyle>
            <a:lvl1pPr>
              <a:defRPr sz="1600"/>
            </a:lvl1pPr>
          </a:lstStyle>
          <a:p>
            <a:r>
              <a:rPr lang="sv-SE" dirty="0"/>
              <a:t>Klicka på ikonen nedan för att lägga in en bild. </a:t>
            </a:r>
            <a:br>
              <a:rPr lang="sv-SE" dirty="0"/>
            </a:br>
            <a:r>
              <a:rPr lang="sv-SE" dirty="0"/>
              <a:t>Du kan behöva byta färg på rubriktexten nedan om du väljer en ljus bild.</a:t>
            </a:r>
            <a:br>
              <a:rPr lang="sv-SE" dirty="0"/>
            </a:br>
            <a:r>
              <a:rPr lang="sv-SE" dirty="0"/>
              <a:t>Du kan också behöva flytta texten för att den ska fungera ihop med motivet</a:t>
            </a:r>
          </a:p>
        </p:txBody>
      </p:sp>
      <p:sp>
        <p:nvSpPr>
          <p:cNvPr id="2" name="Rubrik 1">
            <a:extLst>
              <a:ext uri="{FF2B5EF4-FFF2-40B4-BE49-F238E27FC236}">
                <a16:creationId xmlns:a16="http://schemas.microsoft.com/office/drawing/2014/main" id="{AE52BED6-BC08-4245-9ABA-5A297871713E}"/>
              </a:ext>
            </a:extLst>
          </p:cNvPr>
          <p:cNvSpPr>
            <a:spLocks noGrp="1"/>
          </p:cNvSpPr>
          <p:nvPr>
            <p:ph type="title" hasCustomPrompt="1"/>
          </p:nvPr>
        </p:nvSpPr>
        <p:spPr>
          <a:xfrm>
            <a:off x="1078182" y="1713164"/>
            <a:ext cx="10058131" cy="581698"/>
          </a:xfrm>
        </p:spPr>
        <p:txBody>
          <a:bodyPr wrap="square" anchor="b" anchorCtr="0">
            <a:spAutoFit/>
          </a:bodyPr>
          <a:lstStyle>
            <a:lvl1pPr>
              <a:defRPr>
                <a:solidFill>
                  <a:schemeClr val="bg1"/>
                </a:solidFill>
              </a:defRPr>
            </a:lvl1pPr>
          </a:lstStyle>
          <a:p>
            <a:r>
              <a:rPr lang="sv-SE" dirty="0"/>
              <a:t>Rubrik på bakgrundsbild</a:t>
            </a:r>
          </a:p>
        </p:txBody>
      </p:sp>
    </p:spTree>
    <p:extLst>
      <p:ext uri="{BB962C8B-B14F-4D97-AF65-F5344CB8AC3E}">
        <p14:creationId xmlns:p14="http://schemas.microsoft.com/office/powerpoint/2010/main" val="2930201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and two block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86200"/>
            <a:ext cx="10072645" cy="1171704"/>
          </a:xfrm>
        </p:spPr>
        <p:txBody>
          <a:bodyPr/>
          <a:lstStyle>
            <a:lvl1pPr>
              <a:defRPr/>
            </a:lvl1pPr>
          </a:lstStyle>
          <a:p>
            <a:r>
              <a:rPr lang="sv-SE"/>
              <a:t>Agenda</a:t>
            </a:r>
          </a:p>
        </p:txBody>
      </p:sp>
      <p:sp>
        <p:nvSpPr>
          <p:cNvPr id="4" name="Platshållare för innehåll 3">
            <a:extLst>
              <a:ext uri="{FF2B5EF4-FFF2-40B4-BE49-F238E27FC236}">
                <a16:creationId xmlns:a16="http://schemas.microsoft.com/office/drawing/2014/main" id="{005951D6-E360-4686-AB7E-190E45D3E3AE}"/>
              </a:ext>
            </a:extLst>
          </p:cNvPr>
          <p:cNvSpPr>
            <a:spLocks noGrp="1"/>
          </p:cNvSpPr>
          <p:nvPr>
            <p:ph sz="quarter" idx="15" hasCustomPrompt="1"/>
          </p:nvPr>
        </p:nvSpPr>
        <p:spPr>
          <a:xfrm>
            <a:off x="1063624" y="2149788"/>
            <a:ext cx="4921200" cy="4183576"/>
          </a:xfrm>
        </p:spPr>
        <p:txBody>
          <a:bodyPr/>
          <a:lstStyle>
            <a:lvl1pPr>
              <a:defRPr/>
            </a:lvl1pPr>
            <a:lvl2pPr>
              <a:defRPr/>
            </a:lvl2pPr>
            <a:lvl3pPr>
              <a:defRPr/>
            </a:lvl3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6" name="Platshållare för innehåll 5">
            <a:extLst>
              <a:ext uri="{FF2B5EF4-FFF2-40B4-BE49-F238E27FC236}">
                <a16:creationId xmlns:a16="http://schemas.microsoft.com/office/drawing/2014/main" id="{4992D59D-C623-4EA8-AB12-02492BECC07D}"/>
              </a:ext>
            </a:extLst>
          </p:cNvPr>
          <p:cNvSpPr>
            <a:spLocks noGrp="1"/>
          </p:cNvSpPr>
          <p:nvPr>
            <p:ph sz="quarter" idx="16" hasCustomPrompt="1"/>
          </p:nvPr>
        </p:nvSpPr>
        <p:spPr>
          <a:xfrm>
            <a:off x="6214750" y="2149788"/>
            <a:ext cx="4921563" cy="4183576"/>
          </a:xfrm>
        </p:spPr>
        <p:txBody>
          <a:bodyPr/>
          <a:lstStyle>
            <a:lvl1pPr>
              <a:defRPr/>
            </a:lvl1pPr>
            <a:lvl5pPr>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3" name="Platshållare för datum 2">
            <a:extLst>
              <a:ext uri="{FF2B5EF4-FFF2-40B4-BE49-F238E27FC236}">
                <a16:creationId xmlns:a16="http://schemas.microsoft.com/office/drawing/2014/main" id="{7B91C229-ACE0-476E-8991-3FD998133E7A}"/>
              </a:ext>
            </a:extLst>
          </p:cNvPr>
          <p:cNvSpPr>
            <a:spLocks noGrp="1"/>
          </p:cNvSpPr>
          <p:nvPr>
            <p:ph type="dt" sz="half" idx="17"/>
          </p:nvPr>
        </p:nvSpPr>
        <p:spPr/>
        <p:txBody>
          <a:bodyPr/>
          <a:lstStyle/>
          <a:p>
            <a:fld id="{1174277A-E2E3-4F30-B402-F6B6F7E2488D}" type="datetime1">
              <a:rPr lang="sv-SE" smtClean="0"/>
              <a:t>2025-05-20</a:t>
            </a:fld>
            <a:endParaRPr lang="sv-SE"/>
          </a:p>
        </p:txBody>
      </p:sp>
      <p:sp>
        <p:nvSpPr>
          <p:cNvPr id="5" name="Platshållare för sidfot 4">
            <a:extLst>
              <a:ext uri="{FF2B5EF4-FFF2-40B4-BE49-F238E27FC236}">
                <a16:creationId xmlns:a16="http://schemas.microsoft.com/office/drawing/2014/main" id="{17A7495F-B1E1-4A9A-B35A-844FE906FBAF}"/>
              </a:ext>
            </a:extLst>
          </p:cNvPr>
          <p:cNvSpPr>
            <a:spLocks noGrp="1"/>
          </p:cNvSpPr>
          <p:nvPr>
            <p:ph type="ftr" sz="quarter" idx="18"/>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1B7BF37D-7FFC-40F7-8301-74913E413BA8}"/>
              </a:ext>
            </a:extLst>
          </p:cNvPr>
          <p:cNvSpPr>
            <a:spLocks noGrp="1"/>
          </p:cNvSpPr>
          <p:nvPr>
            <p:ph type="sldNum" sz="quarter" idx="19"/>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829644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dslinje">
    <p:spTree>
      <p:nvGrpSpPr>
        <p:cNvPr id="1" name=""/>
        <p:cNvGrpSpPr/>
        <p:nvPr/>
      </p:nvGrpSpPr>
      <p:grpSpPr>
        <a:xfrm>
          <a:off x="0" y="0"/>
          <a:ext cx="0" cy="0"/>
          <a:chOff x="0" y="0"/>
          <a:chExt cx="0" cy="0"/>
        </a:xfrm>
      </p:grpSpPr>
      <p:sp>
        <p:nvSpPr>
          <p:cNvPr id="9" name="Platshållare för tabell 8">
            <a:extLst>
              <a:ext uri="{FF2B5EF4-FFF2-40B4-BE49-F238E27FC236}">
                <a16:creationId xmlns:a16="http://schemas.microsoft.com/office/drawing/2014/main" id="{9BBFE55A-95F6-464B-ABFC-1792ADBA549C}"/>
              </a:ext>
            </a:extLst>
          </p:cNvPr>
          <p:cNvSpPr>
            <a:spLocks noGrp="1"/>
          </p:cNvSpPr>
          <p:nvPr>
            <p:ph type="tbl" sz="quarter" idx="29"/>
          </p:nvPr>
        </p:nvSpPr>
        <p:spPr>
          <a:xfrm>
            <a:off x="1068388" y="2084100"/>
            <a:ext cx="10283825" cy="4261138"/>
          </a:xfrm>
        </p:spPr>
        <p:txBody>
          <a:bodyPr/>
          <a:lstStyle/>
          <a:p>
            <a:r>
              <a:rPr lang="sv-SE"/>
              <a:t>Klicka på ikonen för att lägga till en tabell</a:t>
            </a:r>
            <a:endParaRPr lang="sv-SE" dirty="0"/>
          </a:p>
        </p:txBody>
      </p:sp>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8388" y="686200"/>
            <a:ext cx="10067925" cy="1173600"/>
          </a:xfrm>
        </p:spPr>
        <p:txBody>
          <a:bodyPr/>
          <a:lstStyle>
            <a:lvl1pPr>
              <a:defRPr/>
            </a:lvl1pPr>
          </a:lstStyle>
          <a:p>
            <a:r>
              <a:rPr lang="sv-SE" dirty="0"/>
              <a:t>Rubrik tidslinje</a:t>
            </a:r>
          </a:p>
        </p:txBody>
      </p:sp>
      <p:sp>
        <p:nvSpPr>
          <p:cNvPr id="36" name="Platshållare för text 33">
            <a:extLst>
              <a:ext uri="{FF2B5EF4-FFF2-40B4-BE49-F238E27FC236}">
                <a16:creationId xmlns:a16="http://schemas.microsoft.com/office/drawing/2014/main" id="{A3094F39-15AB-264B-9E40-8C2AE0456556}"/>
              </a:ext>
            </a:extLst>
          </p:cNvPr>
          <p:cNvSpPr>
            <a:spLocks noGrp="1"/>
          </p:cNvSpPr>
          <p:nvPr>
            <p:ph type="body" sz="quarter" idx="23" hasCustomPrompt="1"/>
          </p:nvPr>
        </p:nvSpPr>
        <p:spPr>
          <a:xfrm>
            <a:off x="4840868" y="2744576"/>
            <a:ext cx="4733667" cy="720000"/>
          </a:xfrm>
          <a:prstGeom prst="chevron">
            <a:avLst/>
          </a:prstGeom>
          <a:solidFill>
            <a:schemeClr val="tx1">
              <a:alpha val="60000"/>
            </a:schemeClr>
          </a:solidFill>
          <a:ln>
            <a:noFill/>
          </a:ln>
        </p:spPr>
        <p:txBody>
          <a:bodyPr wrap="none" lIns="0" anchor="ctr" anchorCtr="0"/>
          <a:lstStyle>
            <a:lvl1pPr marL="0" indent="0" algn="ctr">
              <a:buNone/>
              <a:defRPr sz="1600">
                <a:solidFill>
                  <a:schemeClr val="bg1"/>
                </a:solidFill>
              </a:defRPr>
            </a:lvl1pPr>
          </a:lstStyle>
          <a:p>
            <a:pPr lvl="0"/>
            <a:r>
              <a:rPr lang="sv-SE" dirty="0"/>
              <a:t>Fas 3</a:t>
            </a:r>
          </a:p>
        </p:txBody>
      </p:sp>
      <p:sp>
        <p:nvSpPr>
          <p:cNvPr id="37" name="Platshållare för text 33">
            <a:extLst>
              <a:ext uri="{FF2B5EF4-FFF2-40B4-BE49-F238E27FC236}">
                <a16:creationId xmlns:a16="http://schemas.microsoft.com/office/drawing/2014/main" id="{0A88A8B8-4D74-A746-8F5F-A19C637EEA47}"/>
              </a:ext>
            </a:extLst>
          </p:cNvPr>
          <p:cNvSpPr>
            <a:spLocks noGrp="1"/>
          </p:cNvSpPr>
          <p:nvPr>
            <p:ph type="body" sz="quarter" idx="24" hasCustomPrompt="1"/>
          </p:nvPr>
        </p:nvSpPr>
        <p:spPr>
          <a:xfrm>
            <a:off x="9335266" y="2744576"/>
            <a:ext cx="2369257" cy="720000"/>
          </a:xfrm>
          <a:prstGeom prst="chevron">
            <a:avLst/>
          </a:prstGeom>
          <a:solidFill>
            <a:schemeClr val="tx1">
              <a:alpha val="40000"/>
            </a:schemeClr>
          </a:solidFill>
          <a:ln>
            <a:noFill/>
          </a:ln>
        </p:spPr>
        <p:txBody>
          <a:bodyPr wrap="none" lIns="0" anchor="ctr" anchorCtr="0"/>
          <a:lstStyle>
            <a:lvl1pPr marL="0" indent="0" algn="ctr">
              <a:buNone/>
              <a:defRPr sz="1600">
                <a:solidFill>
                  <a:schemeClr val="bg1"/>
                </a:solidFill>
              </a:defRPr>
            </a:lvl1pPr>
          </a:lstStyle>
          <a:p>
            <a:pPr lvl="0"/>
            <a:r>
              <a:rPr lang="sv-SE" dirty="0"/>
              <a:t>Fas 4</a:t>
            </a:r>
          </a:p>
        </p:txBody>
      </p:sp>
      <p:sp>
        <p:nvSpPr>
          <p:cNvPr id="38" name="Platshållare för text 33">
            <a:extLst>
              <a:ext uri="{FF2B5EF4-FFF2-40B4-BE49-F238E27FC236}">
                <a16:creationId xmlns:a16="http://schemas.microsoft.com/office/drawing/2014/main" id="{9A168A50-C4CF-D049-93A4-892854B31A3D}"/>
              </a:ext>
            </a:extLst>
          </p:cNvPr>
          <p:cNvSpPr>
            <a:spLocks noGrp="1"/>
          </p:cNvSpPr>
          <p:nvPr>
            <p:ph type="body" sz="quarter" idx="25" hasCustomPrompt="1"/>
          </p:nvPr>
        </p:nvSpPr>
        <p:spPr>
          <a:xfrm>
            <a:off x="1068389" y="4347515"/>
            <a:ext cx="3373028" cy="720000"/>
          </a:xfrm>
          <a:prstGeom prst="homePlate">
            <a:avLst/>
          </a:prstGeom>
          <a:solidFill>
            <a:schemeClr val="tx2"/>
          </a:solidFill>
          <a:ln>
            <a:noFill/>
          </a:ln>
        </p:spPr>
        <p:txBody>
          <a:bodyPr wrap="none" lIns="180000" anchor="ctr" anchorCtr="0"/>
          <a:lstStyle>
            <a:lvl1pPr marL="0" indent="0" algn="l">
              <a:buNone/>
              <a:defRPr sz="1600">
                <a:solidFill>
                  <a:schemeClr val="bg1"/>
                </a:solidFill>
              </a:defRPr>
            </a:lvl1pPr>
          </a:lstStyle>
          <a:p>
            <a:pPr lvl="0"/>
            <a:r>
              <a:rPr lang="sv-SE" dirty="0"/>
              <a:t>Parallell process</a:t>
            </a:r>
          </a:p>
        </p:txBody>
      </p:sp>
      <p:sp>
        <p:nvSpPr>
          <p:cNvPr id="39" name="Platshållare för text 33">
            <a:extLst>
              <a:ext uri="{FF2B5EF4-FFF2-40B4-BE49-F238E27FC236}">
                <a16:creationId xmlns:a16="http://schemas.microsoft.com/office/drawing/2014/main" id="{66D65F92-1A8F-BB47-9178-36071309E7C5}"/>
              </a:ext>
            </a:extLst>
          </p:cNvPr>
          <p:cNvSpPr>
            <a:spLocks noGrp="1"/>
          </p:cNvSpPr>
          <p:nvPr>
            <p:ph type="body" sz="quarter" idx="26" hasCustomPrompt="1"/>
          </p:nvPr>
        </p:nvSpPr>
        <p:spPr>
          <a:xfrm>
            <a:off x="4209452" y="4347515"/>
            <a:ext cx="2369257" cy="720000"/>
          </a:xfrm>
          <a:prstGeom prst="chevron">
            <a:avLst/>
          </a:prstGeom>
          <a:solidFill>
            <a:schemeClr val="tx2">
              <a:alpha val="70000"/>
            </a:schemeClr>
          </a:solidFill>
          <a:ln>
            <a:noFill/>
          </a:ln>
        </p:spPr>
        <p:txBody>
          <a:bodyPr wrap="none" lIns="36000" anchor="ctr" anchorCtr="0"/>
          <a:lstStyle>
            <a:lvl1pPr marL="0" indent="0" algn="ctr">
              <a:buNone/>
              <a:defRPr sz="1600">
                <a:solidFill>
                  <a:schemeClr val="bg1"/>
                </a:solidFill>
              </a:defRPr>
            </a:lvl1pPr>
          </a:lstStyle>
          <a:p>
            <a:pPr lvl="0"/>
            <a:r>
              <a:rPr lang="sv-SE" dirty="0"/>
              <a:t>Fas 2</a:t>
            </a:r>
          </a:p>
        </p:txBody>
      </p:sp>
      <p:sp>
        <p:nvSpPr>
          <p:cNvPr id="40" name="Platshållare för text 33">
            <a:extLst>
              <a:ext uri="{FF2B5EF4-FFF2-40B4-BE49-F238E27FC236}">
                <a16:creationId xmlns:a16="http://schemas.microsoft.com/office/drawing/2014/main" id="{A8424413-0AEB-594A-8678-864C22BB86A3}"/>
              </a:ext>
            </a:extLst>
          </p:cNvPr>
          <p:cNvSpPr>
            <a:spLocks noGrp="1"/>
          </p:cNvSpPr>
          <p:nvPr>
            <p:ph type="body" sz="quarter" idx="27" hasCustomPrompt="1"/>
          </p:nvPr>
        </p:nvSpPr>
        <p:spPr>
          <a:xfrm>
            <a:off x="1068389" y="5236399"/>
            <a:ext cx="3373028" cy="720000"/>
          </a:xfrm>
          <a:prstGeom prst="homePlate">
            <a:avLst/>
          </a:prstGeom>
          <a:solidFill>
            <a:schemeClr val="accent3"/>
          </a:solidFill>
          <a:ln>
            <a:noFill/>
          </a:ln>
        </p:spPr>
        <p:txBody>
          <a:bodyPr wrap="none" lIns="180000" anchor="ctr" anchorCtr="0"/>
          <a:lstStyle>
            <a:lvl1pPr marL="0" indent="0" algn="l">
              <a:buNone/>
              <a:defRPr sz="1600">
                <a:solidFill>
                  <a:schemeClr val="bg1"/>
                </a:solidFill>
              </a:defRPr>
            </a:lvl1pPr>
          </a:lstStyle>
          <a:p>
            <a:pPr lvl="0"/>
            <a:r>
              <a:rPr lang="sv-SE" dirty="0"/>
              <a:t>Parallell process</a:t>
            </a:r>
          </a:p>
        </p:txBody>
      </p:sp>
      <p:sp>
        <p:nvSpPr>
          <p:cNvPr id="41" name="Platshållare för text 33">
            <a:extLst>
              <a:ext uri="{FF2B5EF4-FFF2-40B4-BE49-F238E27FC236}">
                <a16:creationId xmlns:a16="http://schemas.microsoft.com/office/drawing/2014/main" id="{2354B13C-1017-2546-A454-BBBB565668EE}"/>
              </a:ext>
            </a:extLst>
          </p:cNvPr>
          <p:cNvSpPr>
            <a:spLocks noGrp="1"/>
          </p:cNvSpPr>
          <p:nvPr>
            <p:ph type="body" sz="quarter" idx="28" hasCustomPrompt="1"/>
          </p:nvPr>
        </p:nvSpPr>
        <p:spPr>
          <a:xfrm>
            <a:off x="4209452" y="5236399"/>
            <a:ext cx="2369257" cy="720000"/>
          </a:xfrm>
          <a:prstGeom prst="chevron">
            <a:avLst/>
          </a:prstGeom>
          <a:solidFill>
            <a:schemeClr val="accent3">
              <a:alpha val="80000"/>
            </a:schemeClr>
          </a:solidFill>
          <a:ln>
            <a:noFill/>
          </a:ln>
        </p:spPr>
        <p:txBody>
          <a:bodyPr wrap="none" lIns="36000" anchor="ctr" anchorCtr="0"/>
          <a:lstStyle>
            <a:lvl1pPr marL="0" indent="0" algn="ctr">
              <a:buNone/>
              <a:defRPr sz="1600">
                <a:solidFill>
                  <a:schemeClr val="bg1"/>
                </a:solidFill>
              </a:defRPr>
            </a:lvl1pPr>
          </a:lstStyle>
          <a:p>
            <a:pPr lvl="0"/>
            <a:r>
              <a:rPr lang="sv-SE" dirty="0"/>
              <a:t>Fas 2</a:t>
            </a:r>
          </a:p>
        </p:txBody>
      </p:sp>
      <p:sp>
        <p:nvSpPr>
          <p:cNvPr id="16" name="Platshållare för text 33">
            <a:extLst>
              <a:ext uri="{FF2B5EF4-FFF2-40B4-BE49-F238E27FC236}">
                <a16:creationId xmlns:a16="http://schemas.microsoft.com/office/drawing/2014/main" id="{293FAD16-7DDE-40C4-9DCB-01ECD75C942D}"/>
              </a:ext>
            </a:extLst>
          </p:cNvPr>
          <p:cNvSpPr>
            <a:spLocks noGrp="1"/>
          </p:cNvSpPr>
          <p:nvPr>
            <p:ph type="body" sz="quarter" idx="33" hasCustomPrompt="1"/>
          </p:nvPr>
        </p:nvSpPr>
        <p:spPr>
          <a:xfrm>
            <a:off x="2716803" y="2744576"/>
            <a:ext cx="2369257" cy="720000"/>
          </a:xfrm>
          <a:prstGeom prst="chevron">
            <a:avLst/>
          </a:prstGeom>
          <a:solidFill>
            <a:schemeClr val="tx1">
              <a:alpha val="80000"/>
            </a:schemeClr>
          </a:solidFill>
          <a:ln>
            <a:noFill/>
          </a:ln>
        </p:spPr>
        <p:txBody>
          <a:bodyPr wrap="none" lIns="0" anchor="ctr" anchorCtr="0"/>
          <a:lstStyle>
            <a:lvl1pPr marL="0" indent="0" algn="ctr">
              <a:buNone/>
              <a:defRPr sz="1600">
                <a:solidFill>
                  <a:schemeClr val="bg1"/>
                </a:solidFill>
              </a:defRPr>
            </a:lvl1pPr>
          </a:lstStyle>
          <a:p>
            <a:pPr lvl="0"/>
            <a:r>
              <a:rPr lang="sv-SE" dirty="0"/>
              <a:t>Fas 2</a:t>
            </a:r>
          </a:p>
        </p:txBody>
      </p:sp>
      <p:sp>
        <p:nvSpPr>
          <p:cNvPr id="17" name="Platshållare för text 33">
            <a:extLst>
              <a:ext uri="{FF2B5EF4-FFF2-40B4-BE49-F238E27FC236}">
                <a16:creationId xmlns:a16="http://schemas.microsoft.com/office/drawing/2014/main" id="{B9523AF8-BEED-49C0-922A-2DDAA81B9DA6}"/>
              </a:ext>
            </a:extLst>
          </p:cNvPr>
          <p:cNvSpPr>
            <a:spLocks noGrp="1"/>
          </p:cNvSpPr>
          <p:nvPr>
            <p:ph type="body" sz="quarter" idx="34" hasCustomPrompt="1"/>
          </p:nvPr>
        </p:nvSpPr>
        <p:spPr>
          <a:xfrm>
            <a:off x="1068389" y="2744576"/>
            <a:ext cx="1901982" cy="720000"/>
          </a:xfrm>
          <a:prstGeom prst="homePlate">
            <a:avLst/>
          </a:prstGeom>
          <a:solidFill>
            <a:schemeClr val="tx1"/>
          </a:solidFill>
          <a:ln>
            <a:noFill/>
          </a:ln>
        </p:spPr>
        <p:txBody>
          <a:bodyPr wrap="none" lIns="180000" anchor="ctr" anchorCtr="0"/>
          <a:lstStyle>
            <a:lvl1pPr marL="0" indent="0" algn="l">
              <a:buNone/>
              <a:defRPr sz="1600">
                <a:solidFill>
                  <a:schemeClr val="bg1"/>
                </a:solidFill>
              </a:defRPr>
            </a:lvl1pPr>
          </a:lstStyle>
          <a:p>
            <a:pPr lvl="0"/>
            <a:r>
              <a:rPr lang="sv-SE" dirty="0"/>
              <a:t>Fas 1</a:t>
            </a:r>
          </a:p>
        </p:txBody>
      </p:sp>
      <p:sp>
        <p:nvSpPr>
          <p:cNvPr id="3" name="Platshållare för datum 2">
            <a:extLst>
              <a:ext uri="{FF2B5EF4-FFF2-40B4-BE49-F238E27FC236}">
                <a16:creationId xmlns:a16="http://schemas.microsoft.com/office/drawing/2014/main" id="{EE184312-ECE2-4DF9-A267-0492779BEB6A}"/>
              </a:ext>
            </a:extLst>
          </p:cNvPr>
          <p:cNvSpPr>
            <a:spLocks noGrp="1"/>
          </p:cNvSpPr>
          <p:nvPr>
            <p:ph type="dt" sz="half" idx="35"/>
          </p:nvPr>
        </p:nvSpPr>
        <p:spPr/>
        <p:txBody>
          <a:bodyPr/>
          <a:lstStyle/>
          <a:p>
            <a:fld id="{9EECA4DF-6874-407A-82D7-B84E5DC3208F}" type="datetime1">
              <a:rPr lang="sv-SE" smtClean="0"/>
              <a:t>2025-05-20</a:t>
            </a:fld>
            <a:endParaRPr lang="sv-SE" dirty="0"/>
          </a:p>
        </p:txBody>
      </p:sp>
      <p:sp>
        <p:nvSpPr>
          <p:cNvPr id="4" name="Platshållare för sidfot 3">
            <a:extLst>
              <a:ext uri="{FF2B5EF4-FFF2-40B4-BE49-F238E27FC236}">
                <a16:creationId xmlns:a16="http://schemas.microsoft.com/office/drawing/2014/main" id="{9D8A6F87-F149-453C-8B9E-857DB7C234A9}"/>
              </a:ext>
            </a:extLst>
          </p:cNvPr>
          <p:cNvSpPr>
            <a:spLocks noGrp="1"/>
          </p:cNvSpPr>
          <p:nvPr>
            <p:ph type="ftr" sz="quarter" idx="36"/>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89DB09C1-6775-4717-B0D7-821E0C4F4E68}"/>
              </a:ext>
            </a:extLst>
          </p:cNvPr>
          <p:cNvSpPr>
            <a:spLocks noGrp="1"/>
          </p:cNvSpPr>
          <p:nvPr>
            <p:ph type="sldNum" sz="quarter" idx="37"/>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26009108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59450C-AF23-4D36-BC2C-C37EB613A9CC}"/>
              </a:ext>
            </a:extLst>
          </p:cNvPr>
          <p:cNvSpPr>
            <a:spLocks noGrp="1"/>
          </p:cNvSpPr>
          <p:nvPr>
            <p:ph type="title" hasCustomPrompt="1"/>
          </p:nvPr>
        </p:nvSpPr>
        <p:spPr>
          <a:xfrm>
            <a:off x="1062989" y="686200"/>
            <a:ext cx="10073323" cy="1173600"/>
          </a:xfrm>
        </p:spPr>
        <p:txBody>
          <a:bodyPr/>
          <a:lstStyle>
            <a:lvl1pPr>
              <a:defRPr/>
            </a:lvl1pPr>
          </a:lstStyle>
          <a:p>
            <a:r>
              <a:rPr lang="sv-SE" dirty="0"/>
              <a:t>Diagram</a:t>
            </a:r>
          </a:p>
        </p:txBody>
      </p:sp>
      <p:sp>
        <p:nvSpPr>
          <p:cNvPr id="3" name="Platshållare för datum 2">
            <a:extLst>
              <a:ext uri="{FF2B5EF4-FFF2-40B4-BE49-F238E27FC236}">
                <a16:creationId xmlns:a16="http://schemas.microsoft.com/office/drawing/2014/main" id="{8AF873F7-6524-4867-81D2-58B1FE63C03B}"/>
              </a:ext>
            </a:extLst>
          </p:cNvPr>
          <p:cNvSpPr>
            <a:spLocks noGrp="1"/>
          </p:cNvSpPr>
          <p:nvPr>
            <p:ph type="dt" sz="half" idx="16"/>
          </p:nvPr>
        </p:nvSpPr>
        <p:spPr/>
        <p:txBody>
          <a:bodyPr/>
          <a:lstStyle/>
          <a:p>
            <a:fld id="{31858242-D6EB-4980-9E87-CAC2E4844F4C}" type="datetime1">
              <a:rPr lang="sv-SE" smtClean="0"/>
              <a:t>2025-05-20</a:t>
            </a:fld>
            <a:endParaRPr lang="sv-SE" dirty="0"/>
          </a:p>
        </p:txBody>
      </p:sp>
      <p:sp>
        <p:nvSpPr>
          <p:cNvPr id="4" name="Platshållare för sidfot 3">
            <a:extLst>
              <a:ext uri="{FF2B5EF4-FFF2-40B4-BE49-F238E27FC236}">
                <a16:creationId xmlns:a16="http://schemas.microsoft.com/office/drawing/2014/main" id="{9680ECDC-FAB2-4FA9-B3F3-E3C42389451C}"/>
              </a:ext>
            </a:extLst>
          </p:cNvPr>
          <p:cNvSpPr>
            <a:spLocks noGrp="1"/>
          </p:cNvSpPr>
          <p:nvPr>
            <p:ph type="ftr" sz="quarter" idx="17"/>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B2ED0345-8B97-418A-A2FA-AB96AFE3C994}"/>
              </a:ext>
            </a:extLst>
          </p:cNvPr>
          <p:cNvSpPr>
            <a:spLocks noGrp="1"/>
          </p:cNvSpPr>
          <p:nvPr>
            <p:ph type="sldNum" sz="quarter" idx="18"/>
          </p:nvPr>
        </p:nvSpPr>
        <p:spPr/>
        <p:txBody>
          <a:bodyPr/>
          <a:lstStyle/>
          <a:p>
            <a:fld id="{F1B3B4BD-EB47-1D45-9087-F777A38FB609}" type="slidenum">
              <a:rPr lang="sv-SE" smtClean="0"/>
              <a:pPr/>
              <a:t>‹#›</a:t>
            </a:fld>
            <a:endParaRPr lang="sv-SE" sz="700" dirty="0"/>
          </a:p>
        </p:txBody>
      </p:sp>
      <p:sp>
        <p:nvSpPr>
          <p:cNvPr id="7" name="Platshållare för innehåll 6">
            <a:extLst>
              <a:ext uri="{FF2B5EF4-FFF2-40B4-BE49-F238E27FC236}">
                <a16:creationId xmlns:a16="http://schemas.microsoft.com/office/drawing/2014/main" id="{7BDEE915-CEC9-4384-BD78-5C776C4FAD05}"/>
              </a:ext>
            </a:extLst>
          </p:cNvPr>
          <p:cNvSpPr>
            <a:spLocks noGrp="1"/>
          </p:cNvSpPr>
          <p:nvPr>
            <p:ph sz="quarter" idx="19"/>
          </p:nvPr>
        </p:nvSpPr>
        <p:spPr>
          <a:xfrm>
            <a:off x="4511675" y="2143637"/>
            <a:ext cx="3168650" cy="421271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innehåll 9">
            <a:extLst>
              <a:ext uri="{FF2B5EF4-FFF2-40B4-BE49-F238E27FC236}">
                <a16:creationId xmlns:a16="http://schemas.microsoft.com/office/drawing/2014/main" id="{B2C5F0F4-86AC-4EEE-931A-63E49F6D3840}"/>
              </a:ext>
            </a:extLst>
          </p:cNvPr>
          <p:cNvSpPr>
            <a:spLocks noGrp="1"/>
          </p:cNvSpPr>
          <p:nvPr>
            <p:ph sz="quarter" idx="20"/>
          </p:nvPr>
        </p:nvSpPr>
        <p:spPr>
          <a:xfrm>
            <a:off x="1054100" y="2145475"/>
            <a:ext cx="3178175" cy="42116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2" name="Platshållare för innehåll 11">
            <a:extLst>
              <a:ext uri="{FF2B5EF4-FFF2-40B4-BE49-F238E27FC236}">
                <a16:creationId xmlns:a16="http://schemas.microsoft.com/office/drawing/2014/main" id="{D7E06758-01C8-47D8-977F-3804F9A0A9C1}"/>
              </a:ext>
            </a:extLst>
          </p:cNvPr>
          <p:cNvSpPr>
            <a:spLocks noGrp="1"/>
          </p:cNvSpPr>
          <p:nvPr>
            <p:ph sz="quarter" idx="21"/>
          </p:nvPr>
        </p:nvSpPr>
        <p:spPr>
          <a:xfrm>
            <a:off x="7969250" y="2145475"/>
            <a:ext cx="3168650" cy="42116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7179277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6D8CC6-E90D-405B-B133-7DC6C1CAF273}"/>
              </a:ext>
            </a:extLst>
          </p:cNvPr>
          <p:cNvSpPr>
            <a:spLocks noGrp="1"/>
          </p:cNvSpPr>
          <p:nvPr>
            <p:ph type="title" hasCustomPrompt="1"/>
          </p:nvPr>
        </p:nvSpPr>
        <p:spPr>
          <a:xfrm>
            <a:off x="1063667" y="686200"/>
            <a:ext cx="10072645" cy="1173600"/>
          </a:xfrm>
        </p:spPr>
        <p:txBody>
          <a:bodyPr/>
          <a:lstStyle>
            <a:lvl1pPr>
              <a:defRPr/>
            </a:lvl1pPr>
          </a:lstStyle>
          <a:p>
            <a:r>
              <a:rPr lang="sv-SE" dirty="0"/>
              <a:t>Rubrik till tabell</a:t>
            </a:r>
          </a:p>
        </p:txBody>
      </p:sp>
      <p:sp>
        <p:nvSpPr>
          <p:cNvPr id="7" name="Platshållare för tabell 6">
            <a:extLst>
              <a:ext uri="{FF2B5EF4-FFF2-40B4-BE49-F238E27FC236}">
                <a16:creationId xmlns:a16="http://schemas.microsoft.com/office/drawing/2014/main" id="{61CD804A-AC12-4F81-A7C3-5F5227A6780A}"/>
              </a:ext>
            </a:extLst>
          </p:cNvPr>
          <p:cNvSpPr>
            <a:spLocks noGrp="1"/>
          </p:cNvSpPr>
          <p:nvPr>
            <p:ph type="tbl" sz="quarter" idx="13"/>
          </p:nvPr>
        </p:nvSpPr>
        <p:spPr>
          <a:xfrm>
            <a:off x="1063625" y="2161125"/>
            <a:ext cx="10072688" cy="4089113"/>
          </a:xfrm>
        </p:spPr>
        <p:txBody>
          <a:bodyPr/>
          <a:lstStyle/>
          <a:p>
            <a:r>
              <a:rPr lang="sv-SE"/>
              <a:t>Klicka på ikonen för att lägga till en tabell</a:t>
            </a:r>
          </a:p>
        </p:txBody>
      </p:sp>
      <p:sp>
        <p:nvSpPr>
          <p:cNvPr id="3" name="Platshållare för datum 2">
            <a:extLst>
              <a:ext uri="{FF2B5EF4-FFF2-40B4-BE49-F238E27FC236}">
                <a16:creationId xmlns:a16="http://schemas.microsoft.com/office/drawing/2014/main" id="{9F22CC11-F5BA-49F5-9E88-FC825F2C1F90}"/>
              </a:ext>
            </a:extLst>
          </p:cNvPr>
          <p:cNvSpPr>
            <a:spLocks noGrp="1"/>
          </p:cNvSpPr>
          <p:nvPr>
            <p:ph type="dt" sz="half" idx="14"/>
          </p:nvPr>
        </p:nvSpPr>
        <p:spPr/>
        <p:txBody>
          <a:bodyPr/>
          <a:lstStyle/>
          <a:p>
            <a:fld id="{28615CB3-876E-418C-A534-1964E7BA5331}" type="datetime1">
              <a:rPr lang="sv-SE" smtClean="0"/>
              <a:t>2025-05-20</a:t>
            </a:fld>
            <a:endParaRPr lang="sv-SE" dirty="0"/>
          </a:p>
        </p:txBody>
      </p:sp>
      <p:sp>
        <p:nvSpPr>
          <p:cNvPr id="4" name="Platshållare för sidfot 3">
            <a:extLst>
              <a:ext uri="{FF2B5EF4-FFF2-40B4-BE49-F238E27FC236}">
                <a16:creationId xmlns:a16="http://schemas.microsoft.com/office/drawing/2014/main" id="{E484539B-1043-4A34-8A64-2A670E6966CB}"/>
              </a:ext>
            </a:extLst>
          </p:cNvPr>
          <p:cNvSpPr>
            <a:spLocks noGrp="1"/>
          </p:cNvSpPr>
          <p:nvPr>
            <p:ph type="ftr" sz="quarter" idx="15"/>
          </p:nvPr>
        </p:nvSpPr>
        <p:spPr/>
        <p:txBody>
          <a:bodyPr/>
          <a:lstStyle/>
          <a:p>
            <a:r>
              <a:rPr lang="sv-SE" sz="700"/>
              <a:t>Ange informationssäkerhetsklass</a:t>
            </a:r>
            <a:endParaRPr lang="sv-SE" sz="700" dirty="0">
              <a:solidFill>
                <a:schemeClr val="tx1"/>
              </a:solidFill>
            </a:endParaRPr>
          </a:p>
        </p:txBody>
      </p:sp>
      <p:sp>
        <p:nvSpPr>
          <p:cNvPr id="5" name="Platshållare för bildnummer 4">
            <a:extLst>
              <a:ext uri="{FF2B5EF4-FFF2-40B4-BE49-F238E27FC236}">
                <a16:creationId xmlns:a16="http://schemas.microsoft.com/office/drawing/2014/main" id="{FDE5D7A9-02D0-489F-87D3-4FEE9513CE6B}"/>
              </a:ext>
            </a:extLst>
          </p:cNvPr>
          <p:cNvSpPr>
            <a:spLocks noGrp="1"/>
          </p:cNvSpPr>
          <p:nvPr>
            <p:ph type="sldNum" sz="quarter" idx="16"/>
          </p:nvPr>
        </p:nvSpPr>
        <p:spPr/>
        <p:txBody>
          <a:bodyPr/>
          <a:lstStyle/>
          <a:p>
            <a:fld id="{F1B3B4BD-EB47-1D45-9087-F777A38FB609}" type="slidenum">
              <a:rPr lang="sv-SE" smtClean="0"/>
              <a:pPr/>
              <a:t>‹#›</a:t>
            </a:fld>
            <a:endParaRPr lang="sv-SE" sz="700" dirty="0"/>
          </a:p>
        </p:txBody>
      </p:sp>
    </p:spTree>
    <p:extLst>
      <p:ext uri="{BB962C8B-B14F-4D97-AF65-F5344CB8AC3E}">
        <p14:creationId xmlns:p14="http://schemas.microsoft.com/office/powerpoint/2010/main" val="25201968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129900EB-86E0-42CE-BD68-1907DECA0F61}"/>
              </a:ext>
            </a:extLst>
          </p:cNvPr>
          <p:cNvSpPr>
            <a:spLocks noGrp="1"/>
          </p:cNvSpPr>
          <p:nvPr>
            <p:ph type="title" hasCustomPrompt="1"/>
          </p:nvPr>
        </p:nvSpPr>
        <p:spPr/>
        <p:txBody>
          <a:bodyPr/>
          <a:lstStyle>
            <a:lvl1pPr>
              <a:defRPr/>
            </a:lvl1pPr>
          </a:lstStyle>
          <a:p>
            <a:r>
              <a:rPr lang="sv-SE" dirty="0"/>
              <a:t>Klicka här för att lägga till rubrik</a:t>
            </a:r>
          </a:p>
        </p:txBody>
      </p:sp>
      <p:sp>
        <p:nvSpPr>
          <p:cNvPr id="8" name="Platshållare för datum 7">
            <a:extLst>
              <a:ext uri="{FF2B5EF4-FFF2-40B4-BE49-F238E27FC236}">
                <a16:creationId xmlns:a16="http://schemas.microsoft.com/office/drawing/2014/main" id="{80E53CC2-EFA0-43F4-885E-E918F47E59D0}"/>
              </a:ext>
            </a:extLst>
          </p:cNvPr>
          <p:cNvSpPr>
            <a:spLocks noGrp="1"/>
          </p:cNvSpPr>
          <p:nvPr>
            <p:ph type="dt" sz="half" idx="15"/>
          </p:nvPr>
        </p:nvSpPr>
        <p:spPr/>
        <p:txBody>
          <a:bodyPr/>
          <a:lstStyle/>
          <a:p>
            <a:fld id="{0861BE18-DD52-42E9-9A19-940EDEF9E54E}" type="datetime1">
              <a:rPr lang="sv-SE" smtClean="0"/>
              <a:t>2025-05-20</a:t>
            </a:fld>
            <a:endParaRPr lang="sv-SE" dirty="0"/>
          </a:p>
        </p:txBody>
      </p:sp>
      <p:sp>
        <p:nvSpPr>
          <p:cNvPr id="13" name="Platshållare för bildnummer 12">
            <a:extLst>
              <a:ext uri="{FF2B5EF4-FFF2-40B4-BE49-F238E27FC236}">
                <a16:creationId xmlns:a16="http://schemas.microsoft.com/office/drawing/2014/main" id="{8669AD38-9DFE-4351-9721-C80DFD4E83F4}"/>
              </a:ext>
            </a:extLst>
          </p:cNvPr>
          <p:cNvSpPr>
            <a:spLocks noGrp="1"/>
          </p:cNvSpPr>
          <p:nvPr>
            <p:ph type="sldNum" sz="quarter" idx="17"/>
          </p:nvPr>
        </p:nvSpPr>
        <p:spPr/>
        <p:txBody>
          <a:bodyPr/>
          <a:lstStyle/>
          <a:p>
            <a:fld id="{F8310E76-72E8-4744-9786-BEC11B8BE0E6}" type="slidenum">
              <a:rPr lang="sv-SE" smtClean="0"/>
              <a:pPr/>
              <a:t>‹#›</a:t>
            </a:fld>
            <a:endParaRPr lang="sv-SE" dirty="0"/>
          </a:p>
        </p:txBody>
      </p:sp>
      <p:sp>
        <p:nvSpPr>
          <p:cNvPr id="9" name="Content Placeholder 2">
            <a:extLst>
              <a:ext uri="{FF2B5EF4-FFF2-40B4-BE49-F238E27FC236}">
                <a16:creationId xmlns:a16="http://schemas.microsoft.com/office/drawing/2014/main" id="{A8BC5504-BADA-4DE3-8266-37115467AE44}"/>
              </a:ext>
            </a:extLst>
          </p:cNvPr>
          <p:cNvSpPr>
            <a:spLocks noGrp="1"/>
          </p:cNvSpPr>
          <p:nvPr>
            <p:ph idx="1"/>
          </p:nvPr>
        </p:nvSpPr>
        <p:spPr>
          <a:xfrm>
            <a:off x="838200" y="1808163"/>
            <a:ext cx="10486292" cy="4213225"/>
          </a:xfrm>
        </p:spPr>
        <p:txBody>
          <a:bodyPr/>
          <a:lstStyle>
            <a:lvl1pPr>
              <a:defRPr>
                <a:solidFill>
                  <a:schemeClr val="accent3"/>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911158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Heading at the top">
    <p:spTree>
      <p:nvGrpSpPr>
        <p:cNvPr id="1" name=""/>
        <p:cNvGrpSpPr/>
        <p:nvPr/>
      </p:nvGrpSpPr>
      <p:grpSpPr>
        <a:xfrm>
          <a:off x="0" y="0"/>
          <a:ext cx="0" cy="0"/>
          <a:chOff x="0" y="0"/>
          <a:chExt cx="0" cy="0"/>
        </a:xfrm>
      </p:grpSpPr>
      <p:sp>
        <p:nvSpPr>
          <p:cNvPr id="12" name="Rubrik 11">
            <a:extLst>
              <a:ext uri="{FF2B5EF4-FFF2-40B4-BE49-F238E27FC236}">
                <a16:creationId xmlns:a16="http://schemas.microsoft.com/office/drawing/2014/main" id="{4A71BE7C-F107-4BBC-8299-F475288370A5}"/>
              </a:ext>
            </a:extLst>
          </p:cNvPr>
          <p:cNvSpPr>
            <a:spLocks noGrp="1"/>
          </p:cNvSpPr>
          <p:nvPr>
            <p:ph type="title" hasCustomPrompt="1"/>
          </p:nvPr>
        </p:nvSpPr>
        <p:spPr>
          <a:xfrm>
            <a:off x="1055687" y="510636"/>
            <a:ext cx="10080625" cy="1356708"/>
          </a:xfrm>
        </p:spPr>
        <p:txBody>
          <a:bodyPr anchor="b" anchorCtr="0">
            <a:noAutofit/>
          </a:bodyPr>
          <a:lstStyle>
            <a:lvl1pPr>
              <a:defRPr/>
            </a:lvl1pPr>
          </a:lstStyle>
          <a:p>
            <a:r>
              <a:rPr lang="sv-SE" err="1"/>
              <a:t>Heading</a:t>
            </a:r>
            <a:endParaRPr lang="sv-SE"/>
          </a:p>
        </p:txBody>
      </p:sp>
      <p:sp>
        <p:nvSpPr>
          <p:cNvPr id="5" name="Platshållare för datum 4">
            <a:extLst>
              <a:ext uri="{FF2B5EF4-FFF2-40B4-BE49-F238E27FC236}">
                <a16:creationId xmlns:a16="http://schemas.microsoft.com/office/drawing/2014/main" id="{04F885E5-A9B9-4851-9AEF-7C26C3812363}"/>
              </a:ext>
            </a:extLst>
          </p:cNvPr>
          <p:cNvSpPr>
            <a:spLocks noGrp="1"/>
          </p:cNvSpPr>
          <p:nvPr>
            <p:ph type="dt" sz="half" idx="10"/>
          </p:nvPr>
        </p:nvSpPr>
        <p:spPr/>
        <p:txBody>
          <a:bodyPr/>
          <a:lstStyle/>
          <a:p>
            <a:fld id="{2EDC914F-11F8-4453-8687-D2FA2AE2D47B}" type="datetime1">
              <a:rPr lang="sv-SE" smtClean="0"/>
              <a:t>2025-05-20</a:t>
            </a:fld>
            <a:endParaRPr lang="sv-SE"/>
          </a:p>
        </p:txBody>
      </p:sp>
      <p:sp>
        <p:nvSpPr>
          <p:cNvPr id="6" name="Platshållare för sidfot 5">
            <a:extLst>
              <a:ext uri="{FF2B5EF4-FFF2-40B4-BE49-F238E27FC236}">
                <a16:creationId xmlns:a16="http://schemas.microsoft.com/office/drawing/2014/main" id="{19B395BB-B9CC-4C03-9F95-CE98733C7D6D}"/>
              </a:ext>
            </a:extLst>
          </p:cNvPr>
          <p:cNvSpPr>
            <a:spLocks noGrp="1"/>
          </p:cNvSpPr>
          <p:nvPr>
            <p:ph type="ftr" sz="quarter" idx="11"/>
          </p:nvPr>
        </p:nvSpPr>
        <p:spPr/>
        <p:txBody>
          <a:bodyPr/>
          <a:lstStyle/>
          <a:p>
            <a:r>
              <a:rPr lang="en-US"/>
              <a:t>External</a:t>
            </a:r>
            <a:endParaRPr lang="sv-SE"/>
          </a:p>
        </p:txBody>
      </p:sp>
      <p:sp>
        <p:nvSpPr>
          <p:cNvPr id="7" name="Platshållare för bildnummer 6">
            <a:extLst>
              <a:ext uri="{FF2B5EF4-FFF2-40B4-BE49-F238E27FC236}">
                <a16:creationId xmlns:a16="http://schemas.microsoft.com/office/drawing/2014/main" id="{64A28883-228B-48D0-8440-8D81602EEDF8}"/>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26922984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New chap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250D1A-93FD-4D54-9705-186CB00FBCC0}"/>
              </a:ext>
            </a:extLst>
          </p:cNvPr>
          <p:cNvSpPr>
            <a:spLocks noGrp="1"/>
          </p:cNvSpPr>
          <p:nvPr>
            <p:ph type="ctrTitle" hasCustomPrompt="1"/>
          </p:nvPr>
        </p:nvSpPr>
        <p:spPr>
          <a:xfrm>
            <a:off x="1524000" y="1479199"/>
            <a:ext cx="9144000" cy="2387600"/>
          </a:xfrm>
        </p:spPr>
        <p:txBody>
          <a:bodyPr anchor="b"/>
          <a:lstStyle>
            <a:lvl1pPr algn="ctr">
              <a:defRPr sz="6000">
                <a:solidFill>
                  <a:schemeClr val="tx2"/>
                </a:solidFill>
              </a:defRPr>
            </a:lvl1pPr>
          </a:lstStyle>
          <a:p>
            <a:r>
              <a:rPr lang="sv-SE" err="1"/>
              <a:t>Chapter</a:t>
            </a:r>
            <a:r>
              <a:rPr lang="sv-SE"/>
              <a:t> </a:t>
            </a:r>
            <a:r>
              <a:rPr lang="sv-SE" err="1"/>
              <a:t>heading</a:t>
            </a:r>
            <a:endParaRPr lang="sv-SE"/>
          </a:p>
        </p:txBody>
      </p:sp>
      <p:sp>
        <p:nvSpPr>
          <p:cNvPr id="3" name="Underrubrik 2">
            <a:extLst>
              <a:ext uri="{FF2B5EF4-FFF2-40B4-BE49-F238E27FC236}">
                <a16:creationId xmlns:a16="http://schemas.microsoft.com/office/drawing/2014/main" id="{5A833034-6CA5-4968-885C-EEECB9BC32CA}"/>
              </a:ext>
            </a:extLst>
          </p:cNvPr>
          <p:cNvSpPr>
            <a:spLocks noGrp="1"/>
          </p:cNvSpPr>
          <p:nvPr>
            <p:ph type="subTitle" idx="1" hasCustomPrompt="1"/>
          </p:nvPr>
        </p:nvSpPr>
        <p:spPr>
          <a:xfrm>
            <a:off x="1524000" y="4572197"/>
            <a:ext cx="9144000" cy="1655762"/>
          </a:xfrm>
        </p:spPr>
        <p:txBody>
          <a:bodyPr>
            <a:noAutofit/>
          </a:bodyPr>
          <a:lstStyle>
            <a:lvl1pPr marL="0" indent="0" algn="ctr">
              <a:buNone/>
              <a:defRPr sz="2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err="1"/>
              <a:t>subheading</a:t>
            </a:r>
            <a:endParaRPr lang="sv-SE"/>
          </a:p>
        </p:txBody>
      </p:sp>
      <p:sp>
        <p:nvSpPr>
          <p:cNvPr id="4" name="Triangel 17">
            <a:extLst>
              <a:ext uri="{FF2B5EF4-FFF2-40B4-BE49-F238E27FC236}">
                <a16:creationId xmlns:a16="http://schemas.microsoft.com/office/drawing/2014/main" id="{C8846EF2-4C49-4A0A-BA09-C9F9241A91A2}"/>
              </a:ext>
            </a:extLst>
          </p:cNvPr>
          <p:cNvSpPr/>
          <p:nvPr userDrawn="1"/>
        </p:nvSpPr>
        <p:spPr>
          <a:xfrm rot="5400000">
            <a:off x="5949775" y="4061518"/>
            <a:ext cx="298800" cy="273402"/>
          </a:xfrm>
          <a:custGeom>
            <a:avLst/>
            <a:gdLst>
              <a:gd name="connsiteX0" fmla="*/ 0 w 288000"/>
              <a:gd name="connsiteY0" fmla="*/ 127772 h 255543"/>
              <a:gd name="connsiteX1" fmla="*/ 63886 w 288000"/>
              <a:gd name="connsiteY1" fmla="*/ 0 h 255543"/>
              <a:gd name="connsiteX2" fmla="*/ 224114 w 288000"/>
              <a:gd name="connsiteY2" fmla="*/ 0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63886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74909 w 288000"/>
              <a:gd name="connsiteY2" fmla="*/ 410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88000"/>
              <a:gd name="connsiteY0" fmla="*/ 127772 h 255543"/>
              <a:gd name="connsiteX1" fmla="*/ 129493 w 288000"/>
              <a:gd name="connsiteY1" fmla="*/ 0 h 255543"/>
              <a:gd name="connsiteX2" fmla="*/ 158507 w 288000"/>
              <a:gd name="connsiteY2" fmla="*/ 1 h 255543"/>
              <a:gd name="connsiteX3" fmla="*/ 288000 w 288000"/>
              <a:gd name="connsiteY3" fmla="*/ 127772 h 255543"/>
              <a:gd name="connsiteX4" fmla="*/ 224114 w 288000"/>
              <a:gd name="connsiteY4" fmla="*/ 255543 h 255543"/>
              <a:gd name="connsiteX5" fmla="*/ 63886 w 288000"/>
              <a:gd name="connsiteY5" fmla="*/ 255543 h 255543"/>
              <a:gd name="connsiteX6" fmla="*/ 0 w 288000"/>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24114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63886 w 292101"/>
              <a:gd name="connsiteY5" fmla="*/ 255543 h 255543"/>
              <a:gd name="connsiteX6" fmla="*/ 0 w 292101"/>
              <a:gd name="connsiteY6" fmla="*/ 127772 h 255543"/>
              <a:gd name="connsiteX0" fmla="*/ 0 w 292101"/>
              <a:gd name="connsiteY0" fmla="*/ 127772 h 255543"/>
              <a:gd name="connsiteX1" fmla="*/ 129493 w 292101"/>
              <a:gd name="connsiteY1" fmla="*/ 0 h 255543"/>
              <a:gd name="connsiteX2" fmla="*/ 158507 w 292101"/>
              <a:gd name="connsiteY2" fmla="*/ 1 h 255543"/>
              <a:gd name="connsiteX3" fmla="*/ 292101 w 292101"/>
              <a:gd name="connsiteY3" fmla="*/ 230284 h 255543"/>
              <a:gd name="connsiteX4" fmla="*/ 256918 w 292101"/>
              <a:gd name="connsiteY4" fmla="*/ 255543 h 255543"/>
              <a:gd name="connsiteX5" fmla="*/ 18781 w 292101"/>
              <a:gd name="connsiteY5" fmla="*/ 255543 h 255543"/>
              <a:gd name="connsiteX6" fmla="*/ 0 w 292101"/>
              <a:gd name="connsiteY6" fmla="*/ 127772 h 255543"/>
              <a:gd name="connsiteX0" fmla="*/ 0 w 300302"/>
              <a:gd name="connsiteY0" fmla="*/ 238484 h 255543"/>
              <a:gd name="connsiteX1" fmla="*/ 137694 w 300302"/>
              <a:gd name="connsiteY1" fmla="*/ 0 h 255543"/>
              <a:gd name="connsiteX2" fmla="*/ 166708 w 300302"/>
              <a:gd name="connsiteY2" fmla="*/ 1 h 255543"/>
              <a:gd name="connsiteX3" fmla="*/ 300302 w 300302"/>
              <a:gd name="connsiteY3" fmla="*/ 230284 h 255543"/>
              <a:gd name="connsiteX4" fmla="*/ 265119 w 300302"/>
              <a:gd name="connsiteY4" fmla="*/ 255543 h 255543"/>
              <a:gd name="connsiteX5" fmla="*/ 26982 w 300302"/>
              <a:gd name="connsiteY5" fmla="*/ 255543 h 255543"/>
              <a:gd name="connsiteX6" fmla="*/ 0 w 300302"/>
              <a:gd name="connsiteY6" fmla="*/ 238484 h 255543"/>
              <a:gd name="connsiteX0" fmla="*/ 0 w 300302"/>
              <a:gd name="connsiteY0" fmla="*/ 238483 h 255542"/>
              <a:gd name="connsiteX1" fmla="*/ 129493 w 300302"/>
              <a:gd name="connsiteY1" fmla="*/ 4099 h 255542"/>
              <a:gd name="connsiteX2" fmla="*/ 166708 w 300302"/>
              <a:gd name="connsiteY2" fmla="*/ 0 h 255542"/>
              <a:gd name="connsiteX3" fmla="*/ 300302 w 300302"/>
              <a:gd name="connsiteY3" fmla="*/ 230283 h 255542"/>
              <a:gd name="connsiteX4" fmla="*/ 265119 w 300302"/>
              <a:gd name="connsiteY4" fmla="*/ 255542 h 255542"/>
              <a:gd name="connsiteX5" fmla="*/ 26982 w 300302"/>
              <a:gd name="connsiteY5" fmla="*/ 255542 h 255542"/>
              <a:gd name="connsiteX6" fmla="*/ 0 w 300302"/>
              <a:gd name="connsiteY6" fmla="*/ 238483 h 255542"/>
              <a:gd name="connsiteX0" fmla="*/ 0 w 300302"/>
              <a:gd name="connsiteY0" fmla="*/ 234384 h 251443"/>
              <a:gd name="connsiteX1" fmla="*/ 129493 w 300302"/>
              <a:gd name="connsiteY1" fmla="*/ 0 h 251443"/>
              <a:gd name="connsiteX2" fmla="*/ 158507 w 300302"/>
              <a:gd name="connsiteY2" fmla="*/ 2 h 251443"/>
              <a:gd name="connsiteX3" fmla="*/ 300302 w 300302"/>
              <a:gd name="connsiteY3" fmla="*/ 226184 h 251443"/>
              <a:gd name="connsiteX4" fmla="*/ 265119 w 300302"/>
              <a:gd name="connsiteY4" fmla="*/ 251443 h 251443"/>
              <a:gd name="connsiteX5" fmla="*/ 26982 w 300302"/>
              <a:gd name="connsiteY5" fmla="*/ 251443 h 251443"/>
              <a:gd name="connsiteX6" fmla="*/ 0 w 300302"/>
              <a:gd name="connsiteY6" fmla="*/ 234384 h 251443"/>
              <a:gd name="connsiteX0" fmla="*/ 0 w 300302"/>
              <a:gd name="connsiteY0" fmla="*/ 234382 h 251441"/>
              <a:gd name="connsiteX1" fmla="*/ 121292 w 300302"/>
              <a:gd name="connsiteY1" fmla="*/ 4098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8485 h 255544"/>
              <a:gd name="connsiteX1" fmla="*/ 121292 w 300302"/>
              <a:gd name="connsiteY1" fmla="*/ 0 h 255544"/>
              <a:gd name="connsiteX2" fmla="*/ 158507 w 300302"/>
              <a:gd name="connsiteY2" fmla="*/ 4103 h 255544"/>
              <a:gd name="connsiteX3" fmla="*/ 300302 w 300302"/>
              <a:gd name="connsiteY3" fmla="*/ 230285 h 255544"/>
              <a:gd name="connsiteX4" fmla="*/ 265119 w 300302"/>
              <a:gd name="connsiteY4" fmla="*/ 255544 h 255544"/>
              <a:gd name="connsiteX5" fmla="*/ 26982 w 300302"/>
              <a:gd name="connsiteY5" fmla="*/ 255544 h 255544"/>
              <a:gd name="connsiteX6" fmla="*/ 0 w 300302"/>
              <a:gd name="connsiteY6" fmla="*/ 238485 h 255544"/>
              <a:gd name="connsiteX0" fmla="*/ 0 w 300302"/>
              <a:gd name="connsiteY0" fmla="*/ 234382 h 251441"/>
              <a:gd name="connsiteX1" fmla="*/ 118117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8117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114942 w 300302"/>
              <a:gd name="connsiteY1" fmla="*/ 5422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35310 h 252369"/>
              <a:gd name="connsiteX1" fmla="*/ 114942 w 300302"/>
              <a:gd name="connsiteY1" fmla="*/ 0 h 252369"/>
              <a:gd name="connsiteX2" fmla="*/ 158507 w 300302"/>
              <a:gd name="connsiteY2" fmla="*/ 928 h 252369"/>
              <a:gd name="connsiteX3" fmla="*/ 300302 w 300302"/>
              <a:gd name="connsiteY3" fmla="*/ 227110 h 252369"/>
              <a:gd name="connsiteX4" fmla="*/ 265119 w 300302"/>
              <a:gd name="connsiteY4" fmla="*/ 252369 h 252369"/>
              <a:gd name="connsiteX5" fmla="*/ 26982 w 300302"/>
              <a:gd name="connsiteY5" fmla="*/ 252369 h 252369"/>
              <a:gd name="connsiteX6" fmla="*/ 0 w 300302"/>
              <a:gd name="connsiteY6" fmla="*/ 235310 h 252369"/>
              <a:gd name="connsiteX0" fmla="*/ 0 w 300302"/>
              <a:gd name="connsiteY0" fmla="*/ 234382 h 251441"/>
              <a:gd name="connsiteX1" fmla="*/ 89542 w 300302"/>
              <a:gd name="connsiteY1" fmla="*/ 2247 h 251441"/>
              <a:gd name="connsiteX2" fmla="*/ 158507 w 300302"/>
              <a:gd name="connsiteY2" fmla="*/ 0 h 251441"/>
              <a:gd name="connsiteX3" fmla="*/ 300302 w 300302"/>
              <a:gd name="connsiteY3" fmla="*/ 226182 h 251441"/>
              <a:gd name="connsiteX4" fmla="*/ 265119 w 300302"/>
              <a:gd name="connsiteY4" fmla="*/ 251441 h 251441"/>
              <a:gd name="connsiteX5" fmla="*/ 26982 w 300302"/>
              <a:gd name="connsiteY5" fmla="*/ 251441 h 251441"/>
              <a:gd name="connsiteX6" fmla="*/ 0 w 300302"/>
              <a:gd name="connsiteY6" fmla="*/ 234382 h 251441"/>
              <a:gd name="connsiteX0" fmla="*/ 0 w 300302"/>
              <a:gd name="connsiteY0" fmla="*/ 241373 h 258432"/>
              <a:gd name="connsiteX1" fmla="*/ 89542 w 300302"/>
              <a:gd name="connsiteY1" fmla="*/ 9238 h 258432"/>
              <a:gd name="connsiteX2" fmla="*/ 158507 w 300302"/>
              <a:gd name="connsiteY2" fmla="*/ 6991 h 258432"/>
              <a:gd name="connsiteX3" fmla="*/ 300302 w 300302"/>
              <a:gd name="connsiteY3" fmla="*/ 233173 h 258432"/>
              <a:gd name="connsiteX4" fmla="*/ 265119 w 300302"/>
              <a:gd name="connsiteY4" fmla="*/ 258432 h 258432"/>
              <a:gd name="connsiteX5" fmla="*/ 26982 w 300302"/>
              <a:gd name="connsiteY5" fmla="*/ 258432 h 258432"/>
              <a:gd name="connsiteX6" fmla="*/ 0 w 300302"/>
              <a:gd name="connsiteY6" fmla="*/ 241373 h 258432"/>
              <a:gd name="connsiteX0" fmla="*/ 0 w 300302"/>
              <a:gd name="connsiteY0" fmla="*/ 250108 h 267167"/>
              <a:gd name="connsiteX1" fmla="*/ 89542 w 300302"/>
              <a:gd name="connsiteY1" fmla="*/ 17973 h 267167"/>
              <a:gd name="connsiteX2" fmla="*/ 158507 w 300302"/>
              <a:gd name="connsiteY2" fmla="*/ 15726 h 267167"/>
              <a:gd name="connsiteX3" fmla="*/ 300302 w 300302"/>
              <a:gd name="connsiteY3" fmla="*/ 241908 h 267167"/>
              <a:gd name="connsiteX4" fmla="*/ 265119 w 300302"/>
              <a:gd name="connsiteY4" fmla="*/ 267167 h 267167"/>
              <a:gd name="connsiteX5" fmla="*/ 26982 w 300302"/>
              <a:gd name="connsiteY5" fmla="*/ 267167 h 267167"/>
              <a:gd name="connsiteX6" fmla="*/ 0 w 300302"/>
              <a:gd name="connsiteY6" fmla="*/ 250108 h 267167"/>
              <a:gd name="connsiteX0" fmla="*/ 0 w 300302"/>
              <a:gd name="connsiteY0" fmla="*/ 248844 h 265903"/>
              <a:gd name="connsiteX1" fmla="*/ 114942 w 300302"/>
              <a:gd name="connsiteY1" fmla="*/ 19884 h 265903"/>
              <a:gd name="connsiteX2" fmla="*/ 158507 w 300302"/>
              <a:gd name="connsiteY2" fmla="*/ 14462 h 265903"/>
              <a:gd name="connsiteX3" fmla="*/ 300302 w 300302"/>
              <a:gd name="connsiteY3" fmla="*/ 240644 h 265903"/>
              <a:gd name="connsiteX4" fmla="*/ 265119 w 300302"/>
              <a:gd name="connsiteY4" fmla="*/ 265903 h 265903"/>
              <a:gd name="connsiteX5" fmla="*/ 26982 w 300302"/>
              <a:gd name="connsiteY5" fmla="*/ 265903 h 265903"/>
              <a:gd name="connsiteX6" fmla="*/ 0 w 300302"/>
              <a:gd name="connsiteY6" fmla="*/ 248844 h 265903"/>
              <a:gd name="connsiteX0" fmla="*/ 0 w 338402"/>
              <a:gd name="connsiteY0" fmla="*/ 248844 h 265903"/>
              <a:gd name="connsiteX1" fmla="*/ 114942 w 338402"/>
              <a:gd name="connsiteY1" fmla="*/ 19884 h 265903"/>
              <a:gd name="connsiteX2" fmla="*/ 158507 w 338402"/>
              <a:gd name="connsiteY2" fmla="*/ 14462 h 265903"/>
              <a:gd name="connsiteX3" fmla="*/ 338402 w 338402"/>
              <a:gd name="connsiteY3" fmla="*/ 221594 h 265903"/>
              <a:gd name="connsiteX4" fmla="*/ 265119 w 338402"/>
              <a:gd name="connsiteY4" fmla="*/ 265903 h 265903"/>
              <a:gd name="connsiteX5" fmla="*/ 26982 w 338402"/>
              <a:gd name="connsiteY5" fmla="*/ 265903 h 265903"/>
              <a:gd name="connsiteX6" fmla="*/ 0 w 338402"/>
              <a:gd name="connsiteY6" fmla="*/ 248844 h 265903"/>
              <a:gd name="connsiteX0" fmla="*/ 0 w 342940"/>
              <a:gd name="connsiteY0" fmla="*/ 248844 h 265903"/>
              <a:gd name="connsiteX1" fmla="*/ 114942 w 342940"/>
              <a:gd name="connsiteY1" fmla="*/ 19884 h 265903"/>
              <a:gd name="connsiteX2" fmla="*/ 158507 w 342940"/>
              <a:gd name="connsiteY2" fmla="*/ 14462 h 265903"/>
              <a:gd name="connsiteX3" fmla="*/ 338402 w 342940"/>
              <a:gd name="connsiteY3" fmla="*/ 221594 h 265903"/>
              <a:gd name="connsiteX4" fmla="*/ 265119 w 342940"/>
              <a:gd name="connsiteY4" fmla="*/ 265903 h 265903"/>
              <a:gd name="connsiteX5" fmla="*/ 26982 w 342940"/>
              <a:gd name="connsiteY5" fmla="*/ 265903 h 265903"/>
              <a:gd name="connsiteX6" fmla="*/ 0 w 342940"/>
              <a:gd name="connsiteY6" fmla="*/ 248844 h 265903"/>
              <a:gd name="connsiteX0" fmla="*/ 0 w 300108"/>
              <a:gd name="connsiteY0" fmla="*/ 248844 h 265903"/>
              <a:gd name="connsiteX1" fmla="*/ 114942 w 300108"/>
              <a:gd name="connsiteY1" fmla="*/ 19884 h 265903"/>
              <a:gd name="connsiteX2" fmla="*/ 158507 w 300108"/>
              <a:gd name="connsiteY2" fmla="*/ 14462 h 265903"/>
              <a:gd name="connsiteX3" fmla="*/ 290777 w 300108"/>
              <a:gd name="connsiteY3" fmla="*/ 234294 h 265903"/>
              <a:gd name="connsiteX4" fmla="*/ 265119 w 300108"/>
              <a:gd name="connsiteY4" fmla="*/ 265903 h 265903"/>
              <a:gd name="connsiteX5" fmla="*/ 26982 w 300108"/>
              <a:gd name="connsiteY5" fmla="*/ 265903 h 265903"/>
              <a:gd name="connsiteX6" fmla="*/ 0 w 300108"/>
              <a:gd name="connsiteY6" fmla="*/ 248844 h 265903"/>
              <a:gd name="connsiteX0" fmla="*/ 0 w 294631"/>
              <a:gd name="connsiteY0" fmla="*/ 248844 h 265903"/>
              <a:gd name="connsiteX1" fmla="*/ 114942 w 294631"/>
              <a:gd name="connsiteY1" fmla="*/ 19884 h 265903"/>
              <a:gd name="connsiteX2" fmla="*/ 158507 w 294631"/>
              <a:gd name="connsiteY2" fmla="*/ 14462 h 265903"/>
              <a:gd name="connsiteX3" fmla="*/ 290777 w 294631"/>
              <a:gd name="connsiteY3" fmla="*/ 234294 h 265903"/>
              <a:gd name="connsiteX4" fmla="*/ 265119 w 294631"/>
              <a:gd name="connsiteY4" fmla="*/ 265903 h 265903"/>
              <a:gd name="connsiteX5" fmla="*/ 26982 w 294631"/>
              <a:gd name="connsiteY5" fmla="*/ 265903 h 265903"/>
              <a:gd name="connsiteX6" fmla="*/ 0 w 294631"/>
              <a:gd name="connsiteY6" fmla="*/ 248844 h 265903"/>
              <a:gd name="connsiteX0" fmla="*/ 0 w 294631"/>
              <a:gd name="connsiteY0" fmla="*/ 245184 h 262243"/>
              <a:gd name="connsiteX1" fmla="*/ 114942 w 294631"/>
              <a:gd name="connsiteY1" fmla="*/ 16224 h 262243"/>
              <a:gd name="connsiteX2" fmla="*/ 161682 w 294631"/>
              <a:gd name="connsiteY2" fmla="*/ 17152 h 262243"/>
              <a:gd name="connsiteX3" fmla="*/ 290777 w 294631"/>
              <a:gd name="connsiteY3" fmla="*/ 230634 h 262243"/>
              <a:gd name="connsiteX4" fmla="*/ 265119 w 294631"/>
              <a:gd name="connsiteY4" fmla="*/ 262243 h 262243"/>
              <a:gd name="connsiteX5" fmla="*/ 26982 w 294631"/>
              <a:gd name="connsiteY5" fmla="*/ 262243 h 262243"/>
              <a:gd name="connsiteX6" fmla="*/ 0 w 294631"/>
              <a:gd name="connsiteY6" fmla="*/ 245184 h 262243"/>
              <a:gd name="connsiteX0" fmla="*/ 0 w 293277"/>
              <a:gd name="connsiteY0" fmla="*/ 245184 h 297168"/>
              <a:gd name="connsiteX1" fmla="*/ 114942 w 293277"/>
              <a:gd name="connsiteY1" fmla="*/ 16224 h 297168"/>
              <a:gd name="connsiteX2" fmla="*/ 161682 w 293277"/>
              <a:gd name="connsiteY2" fmla="*/ 17152 h 297168"/>
              <a:gd name="connsiteX3" fmla="*/ 290777 w 293277"/>
              <a:gd name="connsiteY3" fmla="*/ 230634 h 297168"/>
              <a:gd name="connsiteX4" fmla="*/ 252419 w 293277"/>
              <a:gd name="connsiteY4" fmla="*/ 297168 h 297168"/>
              <a:gd name="connsiteX5" fmla="*/ 26982 w 293277"/>
              <a:gd name="connsiteY5" fmla="*/ 262243 h 297168"/>
              <a:gd name="connsiteX6" fmla="*/ 0 w 293277"/>
              <a:gd name="connsiteY6" fmla="*/ 245184 h 297168"/>
              <a:gd name="connsiteX0" fmla="*/ 0 w 293775"/>
              <a:gd name="connsiteY0" fmla="*/ 245184 h 297922"/>
              <a:gd name="connsiteX1" fmla="*/ 114942 w 293775"/>
              <a:gd name="connsiteY1" fmla="*/ 16224 h 297922"/>
              <a:gd name="connsiteX2" fmla="*/ 161682 w 293775"/>
              <a:gd name="connsiteY2" fmla="*/ 17152 h 297922"/>
              <a:gd name="connsiteX3" fmla="*/ 290777 w 293775"/>
              <a:gd name="connsiteY3" fmla="*/ 230634 h 297922"/>
              <a:gd name="connsiteX4" fmla="*/ 252419 w 293775"/>
              <a:gd name="connsiteY4" fmla="*/ 297168 h 297922"/>
              <a:gd name="connsiteX5" fmla="*/ 26982 w 293775"/>
              <a:gd name="connsiteY5" fmla="*/ 262243 h 297922"/>
              <a:gd name="connsiteX6" fmla="*/ 0 w 293775"/>
              <a:gd name="connsiteY6" fmla="*/ 245184 h 297922"/>
              <a:gd name="connsiteX0" fmla="*/ 0 w 294538"/>
              <a:gd name="connsiteY0" fmla="*/ 245184 h 264183"/>
              <a:gd name="connsiteX1" fmla="*/ 114942 w 294538"/>
              <a:gd name="connsiteY1" fmla="*/ 16224 h 264183"/>
              <a:gd name="connsiteX2" fmla="*/ 161682 w 294538"/>
              <a:gd name="connsiteY2" fmla="*/ 17152 h 264183"/>
              <a:gd name="connsiteX3" fmla="*/ 290777 w 294538"/>
              <a:gd name="connsiteY3" fmla="*/ 230634 h 264183"/>
              <a:gd name="connsiteX4" fmla="*/ 258769 w 294538"/>
              <a:gd name="connsiteY4" fmla="*/ 262243 h 264183"/>
              <a:gd name="connsiteX5" fmla="*/ 26982 w 294538"/>
              <a:gd name="connsiteY5" fmla="*/ 262243 h 264183"/>
              <a:gd name="connsiteX6" fmla="*/ 0 w 294538"/>
              <a:gd name="connsiteY6" fmla="*/ 245184 h 264183"/>
              <a:gd name="connsiteX0" fmla="*/ 0 w 294538"/>
              <a:gd name="connsiteY0" fmla="*/ 245184 h 262337"/>
              <a:gd name="connsiteX1" fmla="*/ 114942 w 294538"/>
              <a:gd name="connsiteY1" fmla="*/ 16224 h 262337"/>
              <a:gd name="connsiteX2" fmla="*/ 161682 w 294538"/>
              <a:gd name="connsiteY2" fmla="*/ 17152 h 262337"/>
              <a:gd name="connsiteX3" fmla="*/ 290777 w 294538"/>
              <a:gd name="connsiteY3" fmla="*/ 230634 h 262337"/>
              <a:gd name="connsiteX4" fmla="*/ 258769 w 294538"/>
              <a:gd name="connsiteY4" fmla="*/ 262243 h 262337"/>
              <a:gd name="connsiteX5" fmla="*/ 26982 w 294538"/>
              <a:gd name="connsiteY5" fmla="*/ 262243 h 262337"/>
              <a:gd name="connsiteX6" fmla="*/ 0 w 294538"/>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26982 w 294152"/>
              <a:gd name="connsiteY5" fmla="*/ 262243 h 262337"/>
              <a:gd name="connsiteX6" fmla="*/ 0 w 294152"/>
              <a:gd name="connsiteY6" fmla="*/ 245184 h 262337"/>
              <a:gd name="connsiteX0" fmla="*/ 0 w 294152"/>
              <a:gd name="connsiteY0" fmla="*/ 245184 h 287643"/>
              <a:gd name="connsiteX1" fmla="*/ 114942 w 294152"/>
              <a:gd name="connsiteY1" fmla="*/ 16224 h 287643"/>
              <a:gd name="connsiteX2" fmla="*/ 161682 w 294152"/>
              <a:gd name="connsiteY2" fmla="*/ 17152 h 287643"/>
              <a:gd name="connsiteX3" fmla="*/ 290777 w 294152"/>
              <a:gd name="connsiteY3" fmla="*/ 230634 h 287643"/>
              <a:gd name="connsiteX4" fmla="*/ 258769 w 294152"/>
              <a:gd name="connsiteY4" fmla="*/ 262243 h 287643"/>
              <a:gd name="connsiteX5" fmla="*/ 42857 w 294152"/>
              <a:gd name="connsiteY5" fmla="*/ 287643 h 287643"/>
              <a:gd name="connsiteX6" fmla="*/ 0 w 294152"/>
              <a:gd name="connsiteY6" fmla="*/ 245184 h 287643"/>
              <a:gd name="connsiteX0" fmla="*/ 0 w 294152"/>
              <a:gd name="connsiteY0" fmla="*/ 245184 h 288798"/>
              <a:gd name="connsiteX1" fmla="*/ 114942 w 294152"/>
              <a:gd name="connsiteY1" fmla="*/ 16224 h 288798"/>
              <a:gd name="connsiteX2" fmla="*/ 161682 w 294152"/>
              <a:gd name="connsiteY2" fmla="*/ 17152 h 288798"/>
              <a:gd name="connsiteX3" fmla="*/ 290777 w 294152"/>
              <a:gd name="connsiteY3" fmla="*/ 230634 h 288798"/>
              <a:gd name="connsiteX4" fmla="*/ 258769 w 294152"/>
              <a:gd name="connsiteY4" fmla="*/ 262243 h 288798"/>
              <a:gd name="connsiteX5" fmla="*/ 42857 w 294152"/>
              <a:gd name="connsiteY5" fmla="*/ 287643 h 288798"/>
              <a:gd name="connsiteX6" fmla="*/ 0 w 294152"/>
              <a:gd name="connsiteY6" fmla="*/ 245184 h 288798"/>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4152"/>
              <a:gd name="connsiteY0" fmla="*/ 245184 h 262337"/>
              <a:gd name="connsiteX1" fmla="*/ 114942 w 294152"/>
              <a:gd name="connsiteY1" fmla="*/ 16224 h 262337"/>
              <a:gd name="connsiteX2" fmla="*/ 161682 w 294152"/>
              <a:gd name="connsiteY2" fmla="*/ 17152 h 262337"/>
              <a:gd name="connsiteX3" fmla="*/ 290777 w 294152"/>
              <a:gd name="connsiteY3" fmla="*/ 230634 h 262337"/>
              <a:gd name="connsiteX4" fmla="*/ 258769 w 294152"/>
              <a:gd name="connsiteY4" fmla="*/ 262243 h 262337"/>
              <a:gd name="connsiteX5" fmla="*/ 49207 w 294152"/>
              <a:gd name="connsiteY5" fmla="*/ 259068 h 262337"/>
              <a:gd name="connsiteX6" fmla="*/ 0 w 294152"/>
              <a:gd name="connsiteY6" fmla="*/ 245184 h 262337"/>
              <a:gd name="connsiteX0" fmla="*/ 0 w 290977"/>
              <a:gd name="connsiteY0" fmla="*/ 207084 h 262337"/>
              <a:gd name="connsiteX1" fmla="*/ 111767 w 290977"/>
              <a:gd name="connsiteY1" fmla="*/ 16224 h 262337"/>
              <a:gd name="connsiteX2" fmla="*/ 158507 w 290977"/>
              <a:gd name="connsiteY2" fmla="*/ 17152 h 262337"/>
              <a:gd name="connsiteX3" fmla="*/ 287602 w 290977"/>
              <a:gd name="connsiteY3" fmla="*/ 230634 h 262337"/>
              <a:gd name="connsiteX4" fmla="*/ 255594 w 290977"/>
              <a:gd name="connsiteY4" fmla="*/ 262243 h 262337"/>
              <a:gd name="connsiteX5" fmla="*/ 46032 w 290977"/>
              <a:gd name="connsiteY5" fmla="*/ 259068 h 262337"/>
              <a:gd name="connsiteX6" fmla="*/ 0 w 290977"/>
              <a:gd name="connsiteY6" fmla="*/ 207084 h 262337"/>
              <a:gd name="connsiteX0" fmla="*/ 5734 w 296711"/>
              <a:gd name="connsiteY0" fmla="*/ 207084 h 262337"/>
              <a:gd name="connsiteX1" fmla="*/ 117501 w 296711"/>
              <a:gd name="connsiteY1" fmla="*/ 16224 h 262337"/>
              <a:gd name="connsiteX2" fmla="*/ 164241 w 296711"/>
              <a:gd name="connsiteY2" fmla="*/ 17152 h 262337"/>
              <a:gd name="connsiteX3" fmla="*/ 293336 w 296711"/>
              <a:gd name="connsiteY3" fmla="*/ 230634 h 262337"/>
              <a:gd name="connsiteX4" fmla="*/ 261328 w 296711"/>
              <a:gd name="connsiteY4" fmla="*/ 262243 h 262337"/>
              <a:gd name="connsiteX5" fmla="*/ 51766 w 296711"/>
              <a:gd name="connsiteY5" fmla="*/ 259068 h 262337"/>
              <a:gd name="connsiteX6" fmla="*/ 5734 w 296711"/>
              <a:gd name="connsiteY6" fmla="*/ 207084 h 262337"/>
              <a:gd name="connsiteX0" fmla="*/ 7812 w 282914"/>
              <a:gd name="connsiteY0" fmla="*/ 238834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8834 h 262337"/>
              <a:gd name="connsiteX0" fmla="*/ 7812 w 282914"/>
              <a:gd name="connsiteY0" fmla="*/ 235659 h 262337"/>
              <a:gd name="connsiteX1" fmla="*/ 103704 w 282914"/>
              <a:gd name="connsiteY1" fmla="*/ 16224 h 262337"/>
              <a:gd name="connsiteX2" fmla="*/ 150444 w 282914"/>
              <a:gd name="connsiteY2" fmla="*/ 17152 h 262337"/>
              <a:gd name="connsiteX3" fmla="*/ 279539 w 282914"/>
              <a:gd name="connsiteY3" fmla="*/ 230634 h 262337"/>
              <a:gd name="connsiteX4" fmla="*/ 247531 w 282914"/>
              <a:gd name="connsiteY4" fmla="*/ 262243 h 262337"/>
              <a:gd name="connsiteX5" fmla="*/ 37969 w 282914"/>
              <a:gd name="connsiteY5" fmla="*/ 259068 h 262337"/>
              <a:gd name="connsiteX6" fmla="*/ 7812 w 282914"/>
              <a:gd name="connsiteY6" fmla="*/ 235659 h 262337"/>
              <a:gd name="connsiteX0" fmla="*/ 3793 w 278895"/>
              <a:gd name="connsiteY0" fmla="*/ 235659 h 262337"/>
              <a:gd name="connsiteX1" fmla="*/ 99685 w 278895"/>
              <a:gd name="connsiteY1" fmla="*/ 16224 h 262337"/>
              <a:gd name="connsiteX2" fmla="*/ 146425 w 278895"/>
              <a:gd name="connsiteY2" fmla="*/ 17152 h 262337"/>
              <a:gd name="connsiteX3" fmla="*/ 275520 w 278895"/>
              <a:gd name="connsiteY3" fmla="*/ 230634 h 262337"/>
              <a:gd name="connsiteX4" fmla="*/ 243512 w 278895"/>
              <a:gd name="connsiteY4" fmla="*/ 262243 h 262337"/>
              <a:gd name="connsiteX5" fmla="*/ 33950 w 278895"/>
              <a:gd name="connsiteY5" fmla="*/ 259068 h 262337"/>
              <a:gd name="connsiteX6" fmla="*/ 3793 w 278895"/>
              <a:gd name="connsiteY6" fmla="*/ 235659 h 262337"/>
              <a:gd name="connsiteX0" fmla="*/ 3397 w 281674"/>
              <a:gd name="connsiteY0" fmla="*/ 232484 h 262337"/>
              <a:gd name="connsiteX1" fmla="*/ 102464 w 281674"/>
              <a:gd name="connsiteY1" fmla="*/ 16224 h 262337"/>
              <a:gd name="connsiteX2" fmla="*/ 149204 w 281674"/>
              <a:gd name="connsiteY2" fmla="*/ 17152 h 262337"/>
              <a:gd name="connsiteX3" fmla="*/ 278299 w 281674"/>
              <a:gd name="connsiteY3" fmla="*/ 230634 h 262337"/>
              <a:gd name="connsiteX4" fmla="*/ 246291 w 281674"/>
              <a:gd name="connsiteY4" fmla="*/ 262243 h 262337"/>
              <a:gd name="connsiteX5" fmla="*/ 36729 w 281674"/>
              <a:gd name="connsiteY5" fmla="*/ 259068 h 262337"/>
              <a:gd name="connsiteX6" fmla="*/ 3397 w 281674"/>
              <a:gd name="connsiteY6" fmla="*/ 232484 h 262337"/>
              <a:gd name="connsiteX0" fmla="*/ 4273 w 282550"/>
              <a:gd name="connsiteY0" fmla="*/ 232484 h 262337"/>
              <a:gd name="connsiteX1" fmla="*/ 103340 w 282550"/>
              <a:gd name="connsiteY1" fmla="*/ 16224 h 262337"/>
              <a:gd name="connsiteX2" fmla="*/ 15008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334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273 w 282550"/>
              <a:gd name="connsiteY0" fmla="*/ 232484 h 262337"/>
              <a:gd name="connsiteX1" fmla="*/ 109690 w 282550"/>
              <a:gd name="connsiteY1" fmla="*/ 16224 h 262337"/>
              <a:gd name="connsiteX2" fmla="*/ 156430 w 282550"/>
              <a:gd name="connsiteY2" fmla="*/ 17152 h 262337"/>
              <a:gd name="connsiteX3" fmla="*/ 279175 w 282550"/>
              <a:gd name="connsiteY3" fmla="*/ 230634 h 262337"/>
              <a:gd name="connsiteX4" fmla="*/ 247167 w 282550"/>
              <a:gd name="connsiteY4" fmla="*/ 262243 h 262337"/>
              <a:gd name="connsiteX5" fmla="*/ 31255 w 282550"/>
              <a:gd name="connsiteY5" fmla="*/ 262243 h 262337"/>
              <a:gd name="connsiteX6" fmla="*/ 4273 w 282550"/>
              <a:gd name="connsiteY6" fmla="*/ 232484 h 262337"/>
              <a:gd name="connsiteX0" fmla="*/ 4864 w 279966"/>
              <a:gd name="connsiteY0" fmla="*/ 226134 h 262337"/>
              <a:gd name="connsiteX1" fmla="*/ 107106 w 279966"/>
              <a:gd name="connsiteY1" fmla="*/ 16224 h 262337"/>
              <a:gd name="connsiteX2" fmla="*/ 153846 w 279966"/>
              <a:gd name="connsiteY2" fmla="*/ 17152 h 262337"/>
              <a:gd name="connsiteX3" fmla="*/ 276591 w 279966"/>
              <a:gd name="connsiteY3" fmla="*/ 230634 h 262337"/>
              <a:gd name="connsiteX4" fmla="*/ 244583 w 279966"/>
              <a:gd name="connsiteY4" fmla="*/ 262243 h 262337"/>
              <a:gd name="connsiteX5" fmla="*/ 28671 w 279966"/>
              <a:gd name="connsiteY5" fmla="*/ 262243 h 262337"/>
              <a:gd name="connsiteX6" fmla="*/ 4864 w 279966"/>
              <a:gd name="connsiteY6" fmla="*/ 226134 h 262337"/>
              <a:gd name="connsiteX0" fmla="*/ 4864 w 279966"/>
              <a:gd name="connsiteY0" fmla="*/ 223139 h 259342"/>
              <a:gd name="connsiteX1" fmla="*/ 107106 w 279966"/>
              <a:gd name="connsiteY1" fmla="*/ 13229 h 259342"/>
              <a:gd name="connsiteX2" fmla="*/ 160196 w 279966"/>
              <a:gd name="connsiteY2" fmla="*/ 20507 h 259342"/>
              <a:gd name="connsiteX3" fmla="*/ 276591 w 279966"/>
              <a:gd name="connsiteY3" fmla="*/ 227639 h 259342"/>
              <a:gd name="connsiteX4" fmla="*/ 244583 w 279966"/>
              <a:gd name="connsiteY4" fmla="*/ 259248 h 259342"/>
              <a:gd name="connsiteX5" fmla="*/ 28671 w 279966"/>
              <a:gd name="connsiteY5" fmla="*/ 259248 h 259342"/>
              <a:gd name="connsiteX6" fmla="*/ 4864 w 279966"/>
              <a:gd name="connsiteY6" fmla="*/ 223139 h 259342"/>
              <a:gd name="connsiteX0" fmla="*/ 4864 w 279966"/>
              <a:gd name="connsiteY0" fmla="*/ 226133 h 262336"/>
              <a:gd name="connsiteX1" fmla="*/ 10710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019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345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6133 h 262336"/>
              <a:gd name="connsiteX1" fmla="*/ 119806 w 279966"/>
              <a:gd name="connsiteY1" fmla="*/ 16223 h 262336"/>
              <a:gd name="connsiteX2" fmla="*/ 166546 w 279966"/>
              <a:gd name="connsiteY2" fmla="*/ 17151 h 262336"/>
              <a:gd name="connsiteX3" fmla="*/ 276591 w 279966"/>
              <a:gd name="connsiteY3" fmla="*/ 230633 h 262336"/>
              <a:gd name="connsiteX4" fmla="*/ 244583 w 279966"/>
              <a:gd name="connsiteY4" fmla="*/ 262242 h 262336"/>
              <a:gd name="connsiteX5" fmla="*/ 28671 w 279966"/>
              <a:gd name="connsiteY5" fmla="*/ 262242 h 262336"/>
              <a:gd name="connsiteX6" fmla="*/ 4864 w 279966"/>
              <a:gd name="connsiteY6" fmla="*/ 226133 h 262336"/>
              <a:gd name="connsiteX0" fmla="*/ 4864 w 279966"/>
              <a:gd name="connsiteY0" fmla="*/ 225010 h 261213"/>
              <a:gd name="connsiteX1" fmla="*/ 119806 w 279966"/>
              <a:gd name="connsiteY1" fmla="*/ 15100 h 261213"/>
              <a:gd name="connsiteX2" fmla="*/ 166546 w 279966"/>
              <a:gd name="connsiteY2" fmla="*/ 16028 h 261213"/>
              <a:gd name="connsiteX3" fmla="*/ 276591 w 279966"/>
              <a:gd name="connsiteY3" fmla="*/ 229510 h 261213"/>
              <a:gd name="connsiteX4" fmla="*/ 244583 w 279966"/>
              <a:gd name="connsiteY4" fmla="*/ 261119 h 261213"/>
              <a:gd name="connsiteX5" fmla="*/ 28671 w 279966"/>
              <a:gd name="connsiteY5" fmla="*/ 261119 h 261213"/>
              <a:gd name="connsiteX6" fmla="*/ 4864 w 279966"/>
              <a:gd name="connsiteY6" fmla="*/ 225010 h 261213"/>
              <a:gd name="connsiteX0" fmla="*/ 4864 w 279966"/>
              <a:gd name="connsiteY0" fmla="*/ 223756 h 259959"/>
              <a:gd name="connsiteX1" fmla="*/ 119806 w 279966"/>
              <a:gd name="connsiteY1" fmla="*/ 13846 h 259959"/>
              <a:gd name="connsiteX2" fmla="*/ 166546 w 279966"/>
              <a:gd name="connsiteY2" fmla="*/ 14774 h 259959"/>
              <a:gd name="connsiteX3" fmla="*/ 276591 w 279966"/>
              <a:gd name="connsiteY3" fmla="*/ 228256 h 259959"/>
              <a:gd name="connsiteX4" fmla="*/ 244583 w 279966"/>
              <a:gd name="connsiteY4" fmla="*/ 259865 h 259959"/>
              <a:gd name="connsiteX5" fmla="*/ 28671 w 279966"/>
              <a:gd name="connsiteY5" fmla="*/ 259865 h 259959"/>
              <a:gd name="connsiteX6" fmla="*/ 4864 w 279966"/>
              <a:gd name="connsiteY6" fmla="*/ 223756 h 259959"/>
              <a:gd name="connsiteX0" fmla="*/ 4864 w 279966"/>
              <a:gd name="connsiteY0" fmla="*/ 224934 h 261137"/>
              <a:gd name="connsiteX1" fmla="*/ 119806 w 279966"/>
              <a:gd name="connsiteY1" fmla="*/ 15024 h 261137"/>
              <a:gd name="connsiteX2" fmla="*/ 166546 w 279966"/>
              <a:gd name="connsiteY2" fmla="*/ 15952 h 261137"/>
              <a:gd name="connsiteX3" fmla="*/ 276591 w 279966"/>
              <a:gd name="connsiteY3" fmla="*/ 229434 h 261137"/>
              <a:gd name="connsiteX4" fmla="*/ 244583 w 279966"/>
              <a:gd name="connsiteY4" fmla="*/ 261043 h 261137"/>
              <a:gd name="connsiteX5" fmla="*/ 28671 w 279966"/>
              <a:gd name="connsiteY5" fmla="*/ 261043 h 261137"/>
              <a:gd name="connsiteX6" fmla="*/ 4864 w 279966"/>
              <a:gd name="connsiteY6" fmla="*/ 224934 h 261137"/>
              <a:gd name="connsiteX0" fmla="*/ 4864 w 279966"/>
              <a:gd name="connsiteY0" fmla="*/ 226814 h 263017"/>
              <a:gd name="connsiteX1" fmla="*/ 119806 w 279966"/>
              <a:gd name="connsiteY1" fmla="*/ 16904 h 263017"/>
              <a:gd name="connsiteX2" fmla="*/ 166546 w 279966"/>
              <a:gd name="connsiteY2" fmla="*/ 17832 h 263017"/>
              <a:gd name="connsiteX3" fmla="*/ 276591 w 279966"/>
              <a:gd name="connsiteY3" fmla="*/ 231314 h 263017"/>
              <a:gd name="connsiteX4" fmla="*/ 244583 w 279966"/>
              <a:gd name="connsiteY4" fmla="*/ 262923 h 263017"/>
              <a:gd name="connsiteX5" fmla="*/ 28671 w 279966"/>
              <a:gd name="connsiteY5" fmla="*/ 262923 h 263017"/>
              <a:gd name="connsiteX6" fmla="*/ 4864 w 279966"/>
              <a:gd name="connsiteY6" fmla="*/ 226814 h 263017"/>
              <a:gd name="connsiteX0" fmla="*/ 4864 w 279966"/>
              <a:gd name="connsiteY0" fmla="*/ 225299 h 261502"/>
              <a:gd name="connsiteX1" fmla="*/ 119806 w 279966"/>
              <a:gd name="connsiteY1" fmla="*/ 15389 h 261502"/>
              <a:gd name="connsiteX2" fmla="*/ 166546 w 279966"/>
              <a:gd name="connsiteY2" fmla="*/ 16317 h 261502"/>
              <a:gd name="connsiteX3" fmla="*/ 276591 w 279966"/>
              <a:gd name="connsiteY3" fmla="*/ 229799 h 261502"/>
              <a:gd name="connsiteX4" fmla="*/ 244583 w 279966"/>
              <a:gd name="connsiteY4" fmla="*/ 261408 h 261502"/>
              <a:gd name="connsiteX5" fmla="*/ 28671 w 279966"/>
              <a:gd name="connsiteY5" fmla="*/ 261408 h 261502"/>
              <a:gd name="connsiteX6" fmla="*/ 4864 w 279966"/>
              <a:gd name="connsiteY6" fmla="*/ 225299 h 261502"/>
              <a:gd name="connsiteX0" fmla="*/ 4864 w 279966"/>
              <a:gd name="connsiteY0" fmla="*/ 225590 h 261793"/>
              <a:gd name="connsiteX1" fmla="*/ 119806 w 279966"/>
              <a:gd name="connsiteY1" fmla="*/ 15680 h 261793"/>
              <a:gd name="connsiteX2" fmla="*/ 166546 w 279966"/>
              <a:gd name="connsiteY2" fmla="*/ 16608 h 261793"/>
              <a:gd name="connsiteX3" fmla="*/ 276591 w 279966"/>
              <a:gd name="connsiteY3" fmla="*/ 230090 h 261793"/>
              <a:gd name="connsiteX4" fmla="*/ 244583 w 279966"/>
              <a:gd name="connsiteY4" fmla="*/ 261699 h 261793"/>
              <a:gd name="connsiteX5" fmla="*/ 28671 w 279966"/>
              <a:gd name="connsiteY5" fmla="*/ 261699 h 261793"/>
              <a:gd name="connsiteX6" fmla="*/ 4864 w 279966"/>
              <a:gd name="connsiteY6" fmla="*/ 225590 h 261793"/>
              <a:gd name="connsiteX0" fmla="*/ 4864 w 279966"/>
              <a:gd name="connsiteY0" fmla="*/ 225992 h 262195"/>
              <a:gd name="connsiteX1" fmla="*/ 119806 w 279966"/>
              <a:gd name="connsiteY1" fmla="*/ 16082 h 262195"/>
              <a:gd name="connsiteX2" fmla="*/ 166546 w 279966"/>
              <a:gd name="connsiteY2" fmla="*/ 17010 h 262195"/>
              <a:gd name="connsiteX3" fmla="*/ 276591 w 279966"/>
              <a:gd name="connsiteY3" fmla="*/ 230492 h 262195"/>
              <a:gd name="connsiteX4" fmla="*/ 244583 w 279966"/>
              <a:gd name="connsiteY4" fmla="*/ 262101 h 262195"/>
              <a:gd name="connsiteX5" fmla="*/ 28671 w 279966"/>
              <a:gd name="connsiteY5" fmla="*/ 262101 h 262195"/>
              <a:gd name="connsiteX6" fmla="*/ 4864 w 279966"/>
              <a:gd name="connsiteY6" fmla="*/ 225992 h 262195"/>
              <a:gd name="connsiteX0" fmla="*/ 4864 w 279966"/>
              <a:gd name="connsiteY0" fmla="*/ 226400 h 262603"/>
              <a:gd name="connsiteX1" fmla="*/ 119806 w 279966"/>
              <a:gd name="connsiteY1" fmla="*/ 16490 h 262603"/>
              <a:gd name="connsiteX2" fmla="*/ 166546 w 279966"/>
              <a:gd name="connsiteY2" fmla="*/ 17418 h 262603"/>
              <a:gd name="connsiteX3" fmla="*/ 276591 w 279966"/>
              <a:gd name="connsiteY3" fmla="*/ 230900 h 262603"/>
              <a:gd name="connsiteX4" fmla="*/ 244583 w 279966"/>
              <a:gd name="connsiteY4" fmla="*/ 262509 h 262603"/>
              <a:gd name="connsiteX5" fmla="*/ 28671 w 279966"/>
              <a:gd name="connsiteY5" fmla="*/ 262509 h 262603"/>
              <a:gd name="connsiteX6" fmla="*/ 4864 w 279966"/>
              <a:gd name="connsiteY6" fmla="*/ 226400 h 262603"/>
              <a:gd name="connsiteX0" fmla="*/ 4864 w 280209"/>
              <a:gd name="connsiteY0" fmla="*/ 226400 h 262603"/>
              <a:gd name="connsiteX1" fmla="*/ 119806 w 280209"/>
              <a:gd name="connsiteY1" fmla="*/ 16490 h 262603"/>
              <a:gd name="connsiteX2" fmla="*/ 166546 w 280209"/>
              <a:gd name="connsiteY2" fmla="*/ 17418 h 262603"/>
              <a:gd name="connsiteX3" fmla="*/ 276591 w 280209"/>
              <a:gd name="connsiteY3" fmla="*/ 230900 h 262603"/>
              <a:gd name="connsiteX4" fmla="*/ 246450 w 280209"/>
              <a:gd name="connsiteY4" fmla="*/ 262509 h 262603"/>
              <a:gd name="connsiteX5" fmla="*/ 28671 w 280209"/>
              <a:gd name="connsiteY5" fmla="*/ 262509 h 262603"/>
              <a:gd name="connsiteX6" fmla="*/ 4864 w 280209"/>
              <a:gd name="connsiteY6" fmla="*/ 226400 h 262603"/>
              <a:gd name="connsiteX0" fmla="*/ 4864 w 280162"/>
              <a:gd name="connsiteY0" fmla="*/ 226400 h 262509"/>
              <a:gd name="connsiteX1" fmla="*/ 119806 w 280162"/>
              <a:gd name="connsiteY1" fmla="*/ 16490 h 262509"/>
              <a:gd name="connsiteX2" fmla="*/ 166546 w 280162"/>
              <a:gd name="connsiteY2" fmla="*/ 17418 h 262509"/>
              <a:gd name="connsiteX3" fmla="*/ 276591 w 280162"/>
              <a:gd name="connsiteY3" fmla="*/ 230900 h 262509"/>
              <a:gd name="connsiteX4" fmla="*/ 246450 w 280162"/>
              <a:gd name="connsiteY4" fmla="*/ 262509 h 262509"/>
              <a:gd name="connsiteX5" fmla="*/ 28671 w 280162"/>
              <a:gd name="connsiteY5" fmla="*/ 262509 h 262509"/>
              <a:gd name="connsiteX6" fmla="*/ 4864 w 280162"/>
              <a:gd name="connsiteY6" fmla="*/ 226400 h 262509"/>
              <a:gd name="connsiteX0" fmla="*/ 4864 w 281089"/>
              <a:gd name="connsiteY0" fmla="*/ 226400 h 262509"/>
              <a:gd name="connsiteX1" fmla="*/ 119806 w 281089"/>
              <a:gd name="connsiteY1" fmla="*/ 16490 h 262509"/>
              <a:gd name="connsiteX2" fmla="*/ 166546 w 281089"/>
              <a:gd name="connsiteY2" fmla="*/ 17418 h 262509"/>
              <a:gd name="connsiteX3" fmla="*/ 276591 w 281089"/>
              <a:gd name="connsiteY3" fmla="*/ 230900 h 262509"/>
              <a:gd name="connsiteX4" fmla="*/ 246450 w 281089"/>
              <a:gd name="connsiteY4" fmla="*/ 262509 h 262509"/>
              <a:gd name="connsiteX5" fmla="*/ 28671 w 281089"/>
              <a:gd name="connsiteY5" fmla="*/ 262509 h 262509"/>
              <a:gd name="connsiteX6" fmla="*/ 4864 w 281089"/>
              <a:gd name="connsiteY6" fmla="*/ 226400 h 262509"/>
              <a:gd name="connsiteX0" fmla="*/ 4419 w 280644"/>
              <a:gd name="connsiteY0" fmla="*/ 226400 h 262509"/>
              <a:gd name="connsiteX1" fmla="*/ 119361 w 280644"/>
              <a:gd name="connsiteY1" fmla="*/ 16490 h 262509"/>
              <a:gd name="connsiteX2" fmla="*/ 166101 w 280644"/>
              <a:gd name="connsiteY2" fmla="*/ 17418 h 262509"/>
              <a:gd name="connsiteX3" fmla="*/ 276146 w 280644"/>
              <a:gd name="connsiteY3" fmla="*/ 230900 h 262509"/>
              <a:gd name="connsiteX4" fmla="*/ 246005 w 280644"/>
              <a:gd name="connsiteY4" fmla="*/ 262509 h 262509"/>
              <a:gd name="connsiteX5" fmla="*/ 28226 w 280644"/>
              <a:gd name="connsiteY5" fmla="*/ 262509 h 262509"/>
              <a:gd name="connsiteX6" fmla="*/ 4419 w 280644"/>
              <a:gd name="connsiteY6" fmla="*/ 226400 h 262509"/>
              <a:gd name="connsiteX0" fmla="*/ 4741 w 280966"/>
              <a:gd name="connsiteY0" fmla="*/ 226400 h 262509"/>
              <a:gd name="connsiteX1" fmla="*/ 119683 w 280966"/>
              <a:gd name="connsiteY1" fmla="*/ 16490 h 262509"/>
              <a:gd name="connsiteX2" fmla="*/ 166423 w 280966"/>
              <a:gd name="connsiteY2" fmla="*/ 17418 h 262509"/>
              <a:gd name="connsiteX3" fmla="*/ 276468 w 280966"/>
              <a:gd name="connsiteY3" fmla="*/ 230900 h 262509"/>
              <a:gd name="connsiteX4" fmla="*/ 246327 w 280966"/>
              <a:gd name="connsiteY4" fmla="*/ 262509 h 262509"/>
              <a:gd name="connsiteX5" fmla="*/ 28548 w 280966"/>
              <a:gd name="connsiteY5" fmla="*/ 262509 h 262509"/>
              <a:gd name="connsiteX6" fmla="*/ 4741 w 280966"/>
              <a:gd name="connsiteY6" fmla="*/ 226400 h 262509"/>
              <a:gd name="connsiteX0" fmla="*/ 4741 w 281862"/>
              <a:gd name="connsiteY0" fmla="*/ 226400 h 262509"/>
              <a:gd name="connsiteX1" fmla="*/ 119683 w 281862"/>
              <a:gd name="connsiteY1" fmla="*/ 16490 h 262509"/>
              <a:gd name="connsiteX2" fmla="*/ 166423 w 281862"/>
              <a:gd name="connsiteY2" fmla="*/ 17418 h 262509"/>
              <a:gd name="connsiteX3" fmla="*/ 276468 w 281862"/>
              <a:gd name="connsiteY3" fmla="*/ 230900 h 262509"/>
              <a:gd name="connsiteX4" fmla="*/ 251554 w 281862"/>
              <a:gd name="connsiteY4" fmla="*/ 262509 h 262509"/>
              <a:gd name="connsiteX5" fmla="*/ 28548 w 281862"/>
              <a:gd name="connsiteY5" fmla="*/ 262509 h 262509"/>
              <a:gd name="connsiteX6" fmla="*/ 4741 w 281862"/>
              <a:gd name="connsiteY6" fmla="*/ 226400 h 262509"/>
              <a:gd name="connsiteX0" fmla="*/ 4741 w 280991"/>
              <a:gd name="connsiteY0" fmla="*/ 226400 h 262523"/>
              <a:gd name="connsiteX1" fmla="*/ 119683 w 280991"/>
              <a:gd name="connsiteY1" fmla="*/ 16490 h 262523"/>
              <a:gd name="connsiteX2" fmla="*/ 166423 w 280991"/>
              <a:gd name="connsiteY2" fmla="*/ 17418 h 262523"/>
              <a:gd name="connsiteX3" fmla="*/ 276468 w 280991"/>
              <a:gd name="connsiteY3" fmla="*/ 230900 h 262523"/>
              <a:gd name="connsiteX4" fmla="*/ 251554 w 280991"/>
              <a:gd name="connsiteY4" fmla="*/ 262509 h 262523"/>
              <a:gd name="connsiteX5" fmla="*/ 28548 w 280991"/>
              <a:gd name="connsiteY5" fmla="*/ 262509 h 262523"/>
              <a:gd name="connsiteX6" fmla="*/ 4741 w 280991"/>
              <a:gd name="connsiteY6" fmla="*/ 226400 h 262523"/>
              <a:gd name="connsiteX0" fmla="*/ 4741 w 280991"/>
              <a:gd name="connsiteY0" fmla="*/ 226400 h 262509"/>
              <a:gd name="connsiteX1" fmla="*/ 119683 w 280991"/>
              <a:gd name="connsiteY1" fmla="*/ 16490 h 262509"/>
              <a:gd name="connsiteX2" fmla="*/ 166423 w 280991"/>
              <a:gd name="connsiteY2" fmla="*/ 17418 h 262509"/>
              <a:gd name="connsiteX3" fmla="*/ 276468 w 280991"/>
              <a:gd name="connsiteY3" fmla="*/ 230900 h 262509"/>
              <a:gd name="connsiteX4" fmla="*/ 251554 w 280991"/>
              <a:gd name="connsiteY4" fmla="*/ 262509 h 262509"/>
              <a:gd name="connsiteX5" fmla="*/ 28548 w 280991"/>
              <a:gd name="connsiteY5" fmla="*/ 262509 h 262509"/>
              <a:gd name="connsiteX6" fmla="*/ 4741 w 280991"/>
              <a:gd name="connsiteY6" fmla="*/ 226400 h 262509"/>
              <a:gd name="connsiteX0" fmla="*/ 4741 w 283810"/>
              <a:gd name="connsiteY0" fmla="*/ 226400 h 265154"/>
              <a:gd name="connsiteX1" fmla="*/ 119683 w 283810"/>
              <a:gd name="connsiteY1" fmla="*/ 16490 h 265154"/>
              <a:gd name="connsiteX2" fmla="*/ 166423 w 283810"/>
              <a:gd name="connsiteY2" fmla="*/ 17418 h 265154"/>
              <a:gd name="connsiteX3" fmla="*/ 274601 w 283810"/>
              <a:gd name="connsiteY3" fmla="*/ 226793 h 265154"/>
              <a:gd name="connsiteX4" fmla="*/ 251554 w 283810"/>
              <a:gd name="connsiteY4" fmla="*/ 262509 h 265154"/>
              <a:gd name="connsiteX5" fmla="*/ 28548 w 283810"/>
              <a:gd name="connsiteY5" fmla="*/ 262509 h 265154"/>
              <a:gd name="connsiteX6" fmla="*/ 4741 w 283810"/>
              <a:gd name="connsiteY6" fmla="*/ 226400 h 265154"/>
              <a:gd name="connsiteX0" fmla="*/ 4741 w 283014"/>
              <a:gd name="connsiteY0" fmla="*/ 226400 h 265154"/>
              <a:gd name="connsiteX1" fmla="*/ 119683 w 283014"/>
              <a:gd name="connsiteY1" fmla="*/ 16490 h 265154"/>
              <a:gd name="connsiteX2" fmla="*/ 166423 w 283014"/>
              <a:gd name="connsiteY2" fmla="*/ 17418 h 265154"/>
              <a:gd name="connsiteX3" fmla="*/ 274601 w 283014"/>
              <a:gd name="connsiteY3" fmla="*/ 226793 h 265154"/>
              <a:gd name="connsiteX4" fmla="*/ 251554 w 283014"/>
              <a:gd name="connsiteY4" fmla="*/ 262509 h 265154"/>
              <a:gd name="connsiteX5" fmla="*/ 28548 w 283014"/>
              <a:gd name="connsiteY5" fmla="*/ 262509 h 265154"/>
              <a:gd name="connsiteX6" fmla="*/ 4741 w 283014"/>
              <a:gd name="connsiteY6" fmla="*/ 226400 h 265154"/>
              <a:gd name="connsiteX0" fmla="*/ 4741 w 279348"/>
              <a:gd name="connsiteY0" fmla="*/ 226400 h 262509"/>
              <a:gd name="connsiteX1" fmla="*/ 119683 w 279348"/>
              <a:gd name="connsiteY1" fmla="*/ 16490 h 262509"/>
              <a:gd name="connsiteX2" fmla="*/ 166423 w 279348"/>
              <a:gd name="connsiteY2" fmla="*/ 17418 h 262509"/>
              <a:gd name="connsiteX3" fmla="*/ 274601 w 279348"/>
              <a:gd name="connsiteY3" fmla="*/ 226793 h 262509"/>
              <a:gd name="connsiteX4" fmla="*/ 251554 w 279348"/>
              <a:gd name="connsiteY4" fmla="*/ 262509 h 262509"/>
              <a:gd name="connsiteX5" fmla="*/ 28548 w 279348"/>
              <a:gd name="connsiteY5" fmla="*/ 262509 h 262509"/>
              <a:gd name="connsiteX6" fmla="*/ 4741 w 279348"/>
              <a:gd name="connsiteY6" fmla="*/ 226400 h 262509"/>
              <a:gd name="connsiteX0" fmla="*/ 4419 w 279026"/>
              <a:gd name="connsiteY0" fmla="*/ 226400 h 262509"/>
              <a:gd name="connsiteX1" fmla="*/ 119361 w 279026"/>
              <a:gd name="connsiteY1" fmla="*/ 16490 h 262509"/>
              <a:gd name="connsiteX2" fmla="*/ 166101 w 279026"/>
              <a:gd name="connsiteY2" fmla="*/ 17418 h 262509"/>
              <a:gd name="connsiteX3" fmla="*/ 274279 w 279026"/>
              <a:gd name="connsiteY3" fmla="*/ 226793 h 262509"/>
              <a:gd name="connsiteX4" fmla="*/ 251232 w 279026"/>
              <a:gd name="connsiteY4" fmla="*/ 262509 h 262509"/>
              <a:gd name="connsiteX5" fmla="*/ 28226 w 279026"/>
              <a:gd name="connsiteY5" fmla="*/ 262509 h 262509"/>
              <a:gd name="connsiteX6" fmla="*/ 4419 w 279026"/>
              <a:gd name="connsiteY6" fmla="*/ 226400 h 262509"/>
              <a:gd name="connsiteX0" fmla="*/ 4246 w 278853"/>
              <a:gd name="connsiteY0" fmla="*/ 226400 h 262509"/>
              <a:gd name="connsiteX1" fmla="*/ 119188 w 278853"/>
              <a:gd name="connsiteY1" fmla="*/ 16490 h 262509"/>
              <a:gd name="connsiteX2" fmla="*/ 165928 w 278853"/>
              <a:gd name="connsiteY2" fmla="*/ 17418 h 262509"/>
              <a:gd name="connsiteX3" fmla="*/ 274106 w 278853"/>
              <a:gd name="connsiteY3" fmla="*/ 226793 h 262509"/>
              <a:gd name="connsiteX4" fmla="*/ 251059 w 278853"/>
              <a:gd name="connsiteY4" fmla="*/ 262509 h 262509"/>
              <a:gd name="connsiteX5" fmla="*/ 28053 w 278853"/>
              <a:gd name="connsiteY5" fmla="*/ 262509 h 262509"/>
              <a:gd name="connsiteX6" fmla="*/ 4246 w 278853"/>
              <a:gd name="connsiteY6" fmla="*/ 22640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53" h="262509">
                <a:moveTo>
                  <a:pt x="4246" y="226400"/>
                </a:moveTo>
                <a:lnTo>
                  <a:pt x="119188" y="16490"/>
                </a:lnTo>
                <a:cubicBezTo>
                  <a:pt x="131904" y="-6108"/>
                  <a:pt x="152648" y="-5178"/>
                  <a:pt x="165928" y="17418"/>
                </a:cubicBezTo>
                <a:lnTo>
                  <a:pt x="274106" y="226793"/>
                </a:lnTo>
                <a:cubicBezTo>
                  <a:pt x="284976" y="247728"/>
                  <a:pt x="277133" y="262530"/>
                  <a:pt x="251059" y="262509"/>
                </a:cubicBezTo>
                <a:lnTo>
                  <a:pt x="28053" y="262509"/>
                </a:lnTo>
                <a:cubicBezTo>
                  <a:pt x="4801" y="262550"/>
                  <a:pt x="-6868" y="250266"/>
                  <a:pt x="4246" y="226400"/>
                </a:cubicBezTo>
                <a:close/>
              </a:path>
            </a:pathLst>
          </a:custGeom>
          <a:solidFill>
            <a:schemeClr val="tx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latshållare för datum 7">
            <a:extLst>
              <a:ext uri="{FF2B5EF4-FFF2-40B4-BE49-F238E27FC236}">
                <a16:creationId xmlns:a16="http://schemas.microsoft.com/office/drawing/2014/main" id="{15827245-25D1-42C0-8CAF-4D369D18DAB7}"/>
              </a:ext>
            </a:extLst>
          </p:cNvPr>
          <p:cNvSpPr>
            <a:spLocks noGrp="1"/>
          </p:cNvSpPr>
          <p:nvPr>
            <p:ph type="dt" sz="half" idx="10"/>
          </p:nvPr>
        </p:nvSpPr>
        <p:spPr/>
        <p:txBody>
          <a:bodyPr/>
          <a:lstStyle/>
          <a:p>
            <a:fld id="{5FAADC53-EF87-45DA-93B8-4E4977C99AD8}" type="datetime1">
              <a:rPr lang="sv-SE" smtClean="0"/>
              <a:t>2025-05-20</a:t>
            </a:fld>
            <a:endParaRPr lang="sv-SE"/>
          </a:p>
        </p:txBody>
      </p:sp>
      <p:sp>
        <p:nvSpPr>
          <p:cNvPr id="9" name="Platshållare för sidfot 8">
            <a:extLst>
              <a:ext uri="{FF2B5EF4-FFF2-40B4-BE49-F238E27FC236}">
                <a16:creationId xmlns:a16="http://schemas.microsoft.com/office/drawing/2014/main" id="{A0AFEAF0-89DE-4920-9B77-F47E2D2CC42B}"/>
              </a:ext>
            </a:extLst>
          </p:cNvPr>
          <p:cNvSpPr>
            <a:spLocks noGrp="1"/>
          </p:cNvSpPr>
          <p:nvPr>
            <p:ph type="ftr" sz="quarter" idx="11"/>
          </p:nvPr>
        </p:nvSpPr>
        <p:spPr/>
        <p:txBody>
          <a:bodyPr/>
          <a:lstStyle/>
          <a:p>
            <a:r>
              <a:rPr lang="en-US"/>
              <a:t>External</a:t>
            </a:r>
            <a:endParaRPr lang="sv-SE"/>
          </a:p>
        </p:txBody>
      </p:sp>
      <p:sp>
        <p:nvSpPr>
          <p:cNvPr id="10" name="Platshållare för bildnummer 9">
            <a:extLst>
              <a:ext uri="{FF2B5EF4-FFF2-40B4-BE49-F238E27FC236}">
                <a16:creationId xmlns:a16="http://schemas.microsoft.com/office/drawing/2014/main" id="{7F6AADC6-152A-4379-BAA2-1463B34DF84B}"/>
              </a:ext>
            </a:extLst>
          </p:cNvPr>
          <p:cNvSpPr>
            <a:spLocks noGrp="1"/>
          </p:cNvSpPr>
          <p:nvPr>
            <p:ph type="sldNum" sz="quarter" idx="1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833489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ing and one full size bloc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DB185B-DF19-EE46-979C-A2A5B8B7560A}"/>
              </a:ext>
            </a:extLst>
          </p:cNvPr>
          <p:cNvSpPr>
            <a:spLocks noGrp="1"/>
          </p:cNvSpPr>
          <p:nvPr>
            <p:ph type="title" hasCustomPrompt="1"/>
          </p:nvPr>
        </p:nvSpPr>
        <p:spPr>
          <a:xfrm>
            <a:off x="1063667" y="686200"/>
            <a:ext cx="10072645" cy="1171704"/>
          </a:xfrm>
        </p:spPr>
        <p:txBody>
          <a:bodyPr/>
          <a:lstStyle>
            <a:lvl1pPr>
              <a:defRPr/>
            </a:lvl1pPr>
          </a:lstStyle>
          <a:p>
            <a:r>
              <a:rPr lang="sv-SE" err="1"/>
              <a:t>Heading</a:t>
            </a:r>
            <a:endParaRPr lang="sv-SE"/>
          </a:p>
        </p:txBody>
      </p:sp>
      <p:sp>
        <p:nvSpPr>
          <p:cNvPr id="4" name="Platshållare för innehåll 3">
            <a:extLst>
              <a:ext uri="{FF2B5EF4-FFF2-40B4-BE49-F238E27FC236}">
                <a16:creationId xmlns:a16="http://schemas.microsoft.com/office/drawing/2014/main" id="{258E417C-4AAC-4940-AD34-C960A1D0F10E}"/>
              </a:ext>
            </a:extLst>
          </p:cNvPr>
          <p:cNvSpPr>
            <a:spLocks noGrp="1"/>
          </p:cNvSpPr>
          <p:nvPr>
            <p:ph sz="quarter" idx="13" hasCustomPrompt="1"/>
          </p:nvPr>
        </p:nvSpPr>
        <p:spPr>
          <a:xfrm>
            <a:off x="1063625" y="2150325"/>
            <a:ext cx="10072688" cy="4176000"/>
          </a:xfrm>
        </p:spPr>
        <p:txBody>
          <a:bodyPr/>
          <a:lstStyle>
            <a:lvl1pPr>
              <a:defRPr/>
            </a:lvl1pPr>
            <a:lvl2pPr>
              <a:defRPr/>
            </a:lvl2pPr>
            <a:lvl4pPr>
              <a:defRPr/>
            </a:lvl4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7" name="Platshållare för datum 6">
            <a:extLst>
              <a:ext uri="{FF2B5EF4-FFF2-40B4-BE49-F238E27FC236}">
                <a16:creationId xmlns:a16="http://schemas.microsoft.com/office/drawing/2014/main" id="{00308321-7055-4C59-ABF9-068278252544}"/>
              </a:ext>
            </a:extLst>
          </p:cNvPr>
          <p:cNvSpPr>
            <a:spLocks noGrp="1"/>
          </p:cNvSpPr>
          <p:nvPr>
            <p:ph type="dt" sz="half" idx="14"/>
          </p:nvPr>
        </p:nvSpPr>
        <p:spPr/>
        <p:txBody>
          <a:bodyPr/>
          <a:lstStyle/>
          <a:p>
            <a:fld id="{5E326425-2C9D-4A0E-82D8-2E89954C6833}" type="datetime1">
              <a:rPr lang="sv-SE" smtClean="0"/>
              <a:t>2025-05-20</a:t>
            </a:fld>
            <a:endParaRPr lang="sv-SE"/>
          </a:p>
        </p:txBody>
      </p:sp>
      <p:sp>
        <p:nvSpPr>
          <p:cNvPr id="8" name="Platshållare för sidfot 7">
            <a:extLst>
              <a:ext uri="{FF2B5EF4-FFF2-40B4-BE49-F238E27FC236}">
                <a16:creationId xmlns:a16="http://schemas.microsoft.com/office/drawing/2014/main" id="{0C8E883C-90CD-4D74-90A7-C0FECB4EF910}"/>
              </a:ext>
            </a:extLst>
          </p:cNvPr>
          <p:cNvSpPr>
            <a:spLocks noGrp="1"/>
          </p:cNvSpPr>
          <p:nvPr>
            <p:ph type="ftr" sz="quarter" idx="15"/>
          </p:nvPr>
        </p:nvSpPr>
        <p:spPr/>
        <p:txBody>
          <a:bodyPr/>
          <a:lstStyle/>
          <a:p>
            <a:r>
              <a:rPr lang="en-US"/>
              <a:t>External</a:t>
            </a:r>
            <a:endParaRPr lang="sv-SE"/>
          </a:p>
        </p:txBody>
      </p:sp>
      <p:sp>
        <p:nvSpPr>
          <p:cNvPr id="9" name="Platshållare för bildnummer 8">
            <a:extLst>
              <a:ext uri="{FF2B5EF4-FFF2-40B4-BE49-F238E27FC236}">
                <a16:creationId xmlns:a16="http://schemas.microsoft.com/office/drawing/2014/main" id="{D23A813B-1E30-44E2-93B4-D365B6AFA2D1}"/>
              </a:ext>
            </a:extLst>
          </p:cNvPr>
          <p:cNvSpPr>
            <a:spLocks noGrp="1"/>
          </p:cNvSpPr>
          <p:nvPr>
            <p:ph type="sldNum" sz="quarter" idx="16"/>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311750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two blue blocks">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0EF65A-4EF1-AB4D-B663-4DFEF0056B14}"/>
              </a:ext>
            </a:extLst>
          </p:cNvPr>
          <p:cNvSpPr>
            <a:spLocks noGrp="1"/>
          </p:cNvSpPr>
          <p:nvPr>
            <p:ph type="title" hasCustomPrompt="1"/>
          </p:nvPr>
        </p:nvSpPr>
        <p:spPr>
          <a:xfrm>
            <a:off x="1063667" y="698075"/>
            <a:ext cx="10072645" cy="1171704"/>
          </a:xfrm>
        </p:spPr>
        <p:txBody>
          <a:bodyPr/>
          <a:lstStyle>
            <a:lvl1pPr>
              <a:defRPr/>
            </a:lvl1pPr>
          </a:lstStyle>
          <a:p>
            <a:r>
              <a:rPr lang="sv-SE" err="1"/>
              <a:t>Heading</a:t>
            </a:r>
            <a:endParaRPr lang="sv-SE"/>
          </a:p>
        </p:txBody>
      </p:sp>
      <p:sp>
        <p:nvSpPr>
          <p:cNvPr id="4" name="Platshållare för innehåll 3">
            <a:extLst>
              <a:ext uri="{FF2B5EF4-FFF2-40B4-BE49-F238E27FC236}">
                <a16:creationId xmlns:a16="http://schemas.microsoft.com/office/drawing/2014/main" id="{A5F4628A-8552-4548-B709-74AE6894B343}"/>
              </a:ext>
            </a:extLst>
          </p:cNvPr>
          <p:cNvSpPr>
            <a:spLocks noGrp="1"/>
          </p:cNvSpPr>
          <p:nvPr>
            <p:ph sz="quarter" idx="15" hasCustomPrompt="1"/>
          </p:nvPr>
        </p:nvSpPr>
        <p:spPr>
          <a:xfrm>
            <a:off x="1063625" y="2150325"/>
            <a:ext cx="4932000" cy="4752000"/>
          </a:xfrm>
          <a:solidFill>
            <a:schemeClr val="tx2"/>
          </a:solidFill>
        </p:spPr>
        <p:txBody>
          <a:bodyPr lIns="360000" tIns="360000" rIns="36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err="1"/>
              <a:t>Level</a:t>
            </a:r>
            <a:r>
              <a:rPr lang="sv-SE"/>
              <a:t> </a:t>
            </a:r>
            <a:r>
              <a:rPr lang="sv-SE" err="1"/>
              <a:t>five</a:t>
            </a:r>
            <a:endParaRPr lang="sv-SE"/>
          </a:p>
        </p:txBody>
      </p:sp>
      <p:sp>
        <p:nvSpPr>
          <p:cNvPr id="15" name="Platshållare för innehåll 14">
            <a:extLst>
              <a:ext uri="{FF2B5EF4-FFF2-40B4-BE49-F238E27FC236}">
                <a16:creationId xmlns:a16="http://schemas.microsoft.com/office/drawing/2014/main" id="{5BDA1A41-C70C-4059-B0CD-471504FB3748}"/>
              </a:ext>
            </a:extLst>
          </p:cNvPr>
          <p:cNvSpPr>
            <a:spLocks noGrp="1"/>
          </p:cNvSpPr>
          <p:nvPr>
            <p:ph sz="quarter" idx="19" hasCustomPrompt="1"/>
          </p:nvPr>
        </p:nvSpPr>
        <p:spPr>
          <a:xfrm>
            <a:off x="6202874" y="2150325"/>
            <a:ext cx="4932000" cy="4752000"/>
          </a:xfrm>
          <a:solidFill>
            <a:schemeClr val="tx2"/>
          </a:solidFill>
        </p:spPr>
        <p:txBody>
          <a:bodyPr lIns="360000" tIns="360000" rIns="36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err="1"/>
              <a:t>Click</a:t>
            </a:r>
            <a:r>
              <a:rPr lang="sv-SE"/>
              <a:t> to </a:t>
            </a:r>
            <a:r>
              <a:rPr lang="sv-SE" err="1"/>
              <a:t>enter</a:t>
            </a:r>
            <a:r>
              <a:rPr lang="sv-SE"/>
              <a:t> text</a:t>
            </a:r>
          </a:p>
          <a:p>
            <a:pPr lvl="1"/>
            <a:r>
              <a:rPr lang="sv-SE" err="1"/>
              <a:t>Level</a:t>
            </a:r>
            <a:r>
              <a:rPr lang="sv-SE"/>
              <a:t> </a:t>
            </a:r>
            <a:r>
              <a:rPr lang="sv-SE" err="1"/>
              <a:t>two</a:t>
            </a:r>
            <a:endParaRPr lang="sv-SE"/>
          </a:p>
          <a:p>
            <a:pPr lvl="2"/>
            <a:r>
              <a:rPr lang="sv-SE" err="1"/>
              <a:t>Level</a:t>
            </a:r>
            <a:r>
              <a:rPr lang="sv-SE"/>
              <a:t> </a:t>
            </a:r>
            <a:r>
              <a:rPr lang="sv-SE" err="1"/>
              <a:t>three</a:t>
            </a:r>
            <a:endParaRPr lang="sv-SE"/>
          </a:p>
          <a:p>
            <a:pPr lvl="3"/>
            <a:r>
              <a:rPr lang="sv-SE" err="1"/>
              <a:t>Level</a:t>
            </a:r>
            <a:r>
              <a:rPr lang="sv-SE"/>
              <a:t> </a:t>
            </a:r>
            <a:r>
              <a:rPr lang="sv-SE" err="1"/>
              <a:t>four</a:t>
            </a:r>
            <a:endParaRPr lang="sv-SE"/>
          </a:p>
          <a:p>
            <a:pPr lvl="4"/>
            <a:r>
              <a:rPr lang="sv-SE"/>
              <a:t>´</a:t>
            </a:r>
            <a:r>
              <a:rPr lang="sv-SE" err="1"/>
              <a:t>Level</a:t>
            </a:r>
            <a:r>
              <a:rPr lang="sv-SE"/>
              <a:t> </a:t>
            </a:r>
            <a:r>
              <a:rPr lang="sv-SE" err="1"/>
              <a:t>five</a:t>
            </a:r>
            <a:endParaRPr lang="sv-SE"/>
          </a:p>
        </p:txBody>
      </p:sp>
      <p:sp>
        <p:nvSpPr>
          <p:cNvPr id="7" name="Platshållare för datum 6">
            <a:extLst>
              <a:ext uri="{FF2B5EF4-FFF2-40B4-BE49-F238E27FC236}">
                <a16:creationId xmlns:a16="http://schemas.microsoft.com/office/drawing/2014/main" id="{9FD5C995-2D45-4A6F-A37E-88E0EAF21BA2}"/>
              </a:ext>
            </a:extLst>
          </p:cNvPr>
          <p:cNvSpPr>
            <a:spLocks noGrp="1"/>
          </p:cNvSpPr>
          <p:nvPr>
            <p:ph type="dt" sz="half" idx="20"/>
          </p:nvPr>
        </p:nvSpPr>
        <p:spPr/>
        <p:txBody>
          <a:bodyPr/>
          <a:lstStyle/>
          <a:p>
            <a:fld id="{A8A0D403-88E1-4EA8-9319-46D3346A3194}" type="datetime1">
              <a:rPr lang="sv-SE" smtClean="0"/>
              <a:t>2025-05-20</a:t>
            </a:fld>
            <a:endParaRPr lang="sv-SE"/>
          </a:p>
        </p:txBody>
      </p:sp>
      <p:sp>
        <p:nvSpPr>
          <p:cNvPr id="8" name="Platshållare för sidfot 7">
            <a:extLst>
              <a:ext uri="{FF2B5EF4-FFF2-40B4-BE49-F238E27FC236}">
                <a16:creationId xmlns:a16="http://schemas.microsoft.com/office/drawing/2014/main" id="{C383BE89-5C20-4F0E-BEE5-336598CDD51E}"/>
              </a:ext>
            </a:extLst>
          </p:cNvPr>
          <p:cNvSpPr>
            <a:spLocks noGrp="1"/>
          </p:cNvSpPr>
          <p:nvPr>
            <p:ph type="ftr" sz="quarter" idx="21"/>
          </p:nvPr>
        </p:nvSpPr>
        <p:spPr/>
        <p:txBody>
          <a:bodyPr/>
          <a:lstStyle/>
          <a:p>
            <a:r>
              <a:rPr lang="en-US"/>
              <a:t>External</a:t>
            </a:r>
            <a:endParaRPr lang="sv-SE"/>
          </a:p>
        </p:txBody>
      </p:sp>
      <p:sp>
        <p:nvSpPr>
          <p:cNvPr id="9" name="Platshållare för bildnummer 8">
            <a:extLst>
              <a:ext uri="{FF2B5EF4-FFF2-40B4-BE49-F238E27FC236}">
                <a16:creationId xmlns:a16="http://schemas.microsoft.com/office/drawing/2014/main" id="{10DCED21-7B65-4BB6-A350-3534A18CCC92}"/>
              </a:ext>
            </a:extLst>
          </p:cNvPr>
          <p:cNvSpPr>
            <a:spLocks noGrp="1"/>
          </p:cNvSpPr>
          <p:nvPr>
            <p:ph type="sldNum" sz="quarter" idx="22"/>
          </p:nvPr>
        </p:nvSpPr>
        <p:spPr/>
        <p:txBody>
          <a:bodyPr/>
          <a:lstStyle/>
          <a:p>
            <a:fld id="{F1B3B4BD-EB47-1D45-9087-F777A38FB609}" type="slidenum">
              <a:rPr lang="sv-SE" smtClean="0"/>
              <a:pPr/>
              <a:t>‹#›</a:t>
            </a:fld>
            <a:endParaRPr lang="sv-SE" sz="700"/>
          </a:p>
        </p:txBody>
      </p:sp>
    </p:spTree>
    <p:extLst>
      <p:ext uri="{BB962C8B-B14F-4D97-AF65-F5344CB8AC3E}">
        <p14:creationId xmlns:p14="http://schemas.microsoft.com/office/powerpoint/2010/main" val="54111755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5CE112B5-4D61-8647-9AB8-CCDB2AF91310}"/>
              </a:ext>
            </a:extLst>
          </p:cNvPr>
          <p:cNvSpPr>
            <a:spLocks noGrp="1"/>
          </p:cNvSpPr>
          <p:nvPr>
            <p:ph type="title"/>
          </p:nvPr>
        </p:nvSpPr>
        <p:spPr>
          <a:xfrm>
            <a:off x="1063667" y="781200"/>
            <a:ext cx="10072645" cy="1080000"/>
          </a:xfrm>
          <a:prstGeom prst="rect">
            <a:avLst/>
          </a:prstGeom>
        </p:spPr>
        <p:txBody>
          <a:bodyPr vert="horz" lIns="0" tIns="0" rIns="0" bIns="0" rtlCol="0" anchor="b" anchorCtr="0">
            <a:noAutofit/>
          </a:bodyPr>
          <a:lstStyle/>
          <a:p>
            <a:r>
              <a:rPr lang="sv-SE" dirty="0"/>
              <a:t>H1 Rubrik 38 pkt</a:t>
            </a:r>
          </a:p>
        </p:txBody>
      </p:sp>
      <p:sp>
        <p:nvSpPr>
          <p:cNvPr id="3" name="Platshållare för text 2">
            <a:extLst>
              <a:ext uri="{FF2B5EF4-FFF2-40B4-BE49-F238E27FC236}">
                <a16:creationId xmlns:a16="http://schemas.microsoft.com/office/drawing/2014/main" id="{44169FEA-EC49-FC41-8675-05F8E1F34411}"/>
              </a:ext>
            </a:extLst>
          </p:cNvPr>
          <p:cNvSpPr>
            <a:spLocks noGrp="1"/>
          </p:cNvSpPr>
          <p:nvPr>
            <p:ph type="body" idx="1"/>
          </p:nvPr>
        </p:nvSpPr>
        <p:spPr>
          <a:xfrm>
            <a:off x="1065600" y="2149249"/>
            <a:ext cx="10070713" cy="4176000"/>
          </a:xfrm>
          <a:prstGeom prst="rect">
            <a:avLst/>
          </a:prstGeom>
        </p:spPr>
        <p:txBody>
          <a:bodyPr vert="horz" lIns="0" tIns="0" rIns="0" bIns="0" rtlCol="0">
            <a:normAutofit/>
          </a:bodyPr>
          <a:lstStyle/>
          <a:p>
            <a:pPr lvl="0"/>
            <a:r>
              <a:rPr lang="sv-SE" err="1"/>
              <a:t>Level</a:t>
            </a:r>
            <a:r>
              <a:rPr lang="sv-SE"/>
              <a:t> 1</a:t>
            </a:r>
          </a:p>
          <a:p>
            <a:pPr lvl="1"/>
            <a:r>
              <a:rPr lang="sv-SE" err="1"/>
              <a:t>Level</a:t>
            </a:r>
            <a:r>
              <a:rPr lang="sv-SE"/>
              <a:t> 2</a:t>
            </a:r>
          </a:p>
          <a:p>
            <a:pPr lvl="2"/>
            <a:r>
              <a:rPr lang="sv-SE" err="1"/>
              <a:t>Level</a:t>
            </a:r>
            <a:r>
              <a:rPr lang="sv-SE"/>
              <a:t> 3</a:t>
            </a:r>
          </a:p>
          <a:p>
            <a:pPr lvl="3"/>
            <a:r>
              <a:rPr lang="sv-SE" err="1"/>
              <a:t>Level</a:t>
            </a:r>
            <a:r>
              <a:rPr lang="sv-SE"/>
              <a:t> 4</a:t>
            </a:r>
          </a:p>
          <a:p>
            <a:pPr lvl="4"/>
            <a:r>
              <a:rPr lang="sv-SE" err="1"/>
              <a:t>Level</a:t>
            </a:r>
            <a:r>
              <a:rPr lang="sv-SE"/>
              <a:t> 5</a:t>
            </a:r>
          </a:p>
        </p:txBody>
      </p:sp>
      <p:sp>
        <p:nvSpPr>
          <p:cNvPr id="4" name="Platshållare för datum 3">
            <a:extLst>
              <a:ext uri="{FF2B5EF4-FFF2-40B4-BE49-F238E27FC236}">
                <a16:creationId xmlns:a16="http://schemas.microsoft.com/office/drawing/2014/main" id="{C81D550C-09CA-A54E-8711-6CFDEB525E14}"/>
              </a:ext>
            </a:extLst>
          </p:cNvPr>
          <p:cNvSpPr>
            <a:spLocks noGrp="1"/>
          </p:cNvSpPr>
          <p:nvPr>
            <p:ph type="dt" sz="half" idx="2"/>
          </p:nvPr>
        </p:nvSpPr>
        <p:spPr>
          <a:xfrm>
            <a:off x="10825163" y="109409"/>
            <a:ext cx="1163177" cy="365125"/>
          </a:xfrm>
          <a:prstGeom prst="rect">
            <a:avLst/>
          </a:prstGeom>
        </p:spPr>
        <p:txBody>
          <a:bodyPr vert="horz" lIns="91440" tIns="45720" rIns="180000" bIns="45720" rtlCol="0" anchor="ctr"/>
          <a:lstStyle>
            <a:lvl1pPr algn="r">
              <a:defRPr sz="700">
                <a:solidFill>
                  <a:schemeClr val="tx1"/>
                </a:solidFill>
              </a:defRPr>
            </a:lvl1pPr>
          </a:lstStyle>
          <a:p>
            <a:fld id="{C3D29871-C5B4-4D65-B81A-1E409140AC82}" type="datetime1">
              <a:rPr lang="sv-SE" smtClean="0"/>
              <a:t>2025-05-20</a:t>
            </a:fld>
            <a:endParaRPr lang="sv-SE"/>
          </a:p>
        </p:txBody>
      </p:sp>
      <p:sp>
        <p:nvSpPr>
          <p:cNvPr id="6" name="Platshållare för bildnummer 5">
            <a:extLst>
              <a:ext uri="{FF2B5EF4-FFF2-40B4-BE49-F238E27FC236}">
                <a16:creationId xmlns:a16="http://schemas.microsoft.com/office/drawing/2014/main" id="{561D36B8-9CD4-BB43-ADB5-6E9BF0A784AB}"/>
              </a:ext>
            </a:extLst>
          </p:cNvPr>
          <p:cNvSpPr>
            <a:spLocks noGrp="1"/>
          </p:cNvSpPr>
          <p:nvPr>
            <p:ph type="sldNum" sz="quarter" idx="4"/>
          </p:nvPr>
        </p:nvSpPr>
        <p:spPr>
          <a:xfrm>
            <a:off x="11352213" y="6356350"/>
            <a:ext cx="574040" cy="365125"/>
          </a:xfrm>
          <a:prstGeom prst="rect">
            <a:avLst/>
          </a:prstGeom>
        </p:spPr>
        <p:txBody>
          <a:bodyPr vert="horz" lIns="91440" tIns="45720" rIns="91440" bIns="45720" rtlCol="0" anchor="ctr"/>
          <a:lstStyle>
            <a:lvl1pPr algn="r">
              <a:defRPr sz="700">
                <a:solidFill>
                  <a:schemeClr val="tx1"/>
                </a:solidFill>
              </a:defRPr>
            </a:lvl1pPr>
          </a:lstStyle>
          <a:p>
            <a:fld id="{F1B3B4BD-EB47-1D45-9087-F777A38FB609}" type="slidenum">
              <a:rPr lang="sv-SE" smtClean="0"/>
              <a:pPr/>
              <a:t>‹#›</a:t>
            </a:fld>
            <a:endParaRPr lang="sv-SE" sz="700"/>
          </a:p>
        </p:txBody>
      </p:sp>
      <p:pic>
        <p:nvPicPr>
          <p:cNvPr id="10" name="Bildobjekt 9">
            <a:extLst>
              <a:ext uri="{FF2B5EF4-FFF2-40B4-BE49-F238E27FC236}">
                <a16:creationId xmlns:a16="http://schemas.microsoft.com/office/drawing/2014/main" id="{3F7E5B7E-1053-425C-9EE8-A3572239BA35}"/>
              </a:ext>
            </a:extLst>
          </p:cNvPr>
          <p:cNvPicPr>
            <a:picLocks noChangeAspect="1"/>
          </p:cNvPicPr>
          <p:nvPr/>
        </p:nvPicPr>
        <p:blipFill>
          <a:blip r:embed="rId66" cstate="screen">
            <a:extLst>
              <a:ext uri="{28A0092B-C50C-407E-A947-70E740481C1C}">
                <a14:useLocalDpi xmlns:a14="http://schemas.microsoft.com/office/drawing/2010/main"/>
              </a:ext>
            </a:extLst>
          </a:blip>
          <a:srcRect/>
          <a:stretch/>
        </p:blipFill>
        <p:spPr>
          <a:xfrm>
            <a:off x="9526" y="28578"/>
            <a:ext cx="3901916" cy="384465"/>
          </a:xfrm>
          <a:prstGeom prst="rect">
            <a:avLst/>
          </a:prstGeom>
        </p:spPr>
      </p:pic>
      <p:sp>
        <p:nvSpPr>
          <p:cNvPr id="7" name="Platshållare för sidfot 6">
            <a:extLst>
              <a:ext uri="{FF2B5EF4-FFF2-40B4-BE49-F238E27FC236}">
                <a16:creationId xmlns:a16="http://schemas.microsoft.com/office/drawing/2014/main" id="{C16A419F-5C5A-44CB-B121-E34B068539D7}"/>
              </a:ext>
            </a:extLst>
          </p:cNvPr>
          <p:cNvSpPr>
            <a:spLocks noGrp="1"/>
          </p:cNvSpPr>
          <p:nvPr>
            <p:ph type="ftr" sz="quarter" idx="3"/>
          </p:nvPr>
        </p:nvSpPr>
        <p:spPr>
          <a:xfrm>
            <a:off x="6710363" y="109409"/>
            <a:ext cx="4114800" cy="365125"/>
          </a:xfrm>
          <a:prstGeom prst="rect">
            <a:avLst/>
          </a:prstGeom>
        </p:spPr>
        <p:txBody>
          <a:bodyPr vert="horz" lIns="91440" tIns="45720" rIns="91440" bIns="45720" rtlCol="0" anchor="ctr"/>
          <a:lstStyle>
            <a:lvl1pPr algn="r">
              <a:defRPr sz="700" i="0">
                <a:solidFill>
                  <a:schemeClr val="tx1"/>
                </a:solidFill>
              </a:defRPr>
            </a:lvl1pPr>
          </a:lstStyle>
          <a:p>
            <a:r>
              <a:rPr lang="en-US"/>
              <a:t>External</a:t>
            </a:r>
            <a:endParaRPr lang="sv-SE"/>
          </a:p>
        </p:txBody>
      </p:sp>
    </p:spTree>
    <p:extLst>
      <p:ext uri="{BB962C8B-B14F-4D97-AF65-F5344CB8AC3E}">
        <p14:creationId xmlns:p14="http://schemas.microsoft.com/office/powerpoint/2010/main" val="1146381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74"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05" r:id="rId43"/>
    <p:sldLayoutId id="2147483679" r:id="rId44"/>
    <p:sldLayoutId id="2147483707" r:id="rId45"/>
    <p:sldLayoutId id="2147483708" r:id="rId46"/>
    <p:sldLayoutId id="2147483691" r:id="rId47"/>
    <p:sldLayoutId id="2147483690" r:id="rId48"/>
    <p:sldLayoutId id="2147483662" r:id="rId49"/>
    <p:sldLayoutId id="2147483672" r:id="rId50"/>
    <p:sldLayoutId id="2147483694" r:id="rId51"/>
    <p:sldLayoutId id="2147483695" r:id="rId52"/>
    <p:sldLayoutId id="2147483696" r:id="rId53"/>
    <p:sldLayoutId id="2147483668" r:id="rId54"/>
    <p:sldLayoutId id="2147483669" r:id="rId55"/>
    <p:sldLayoutId id="2147483697" r:id="rId56"/>
    <p:sldLayoutId id="2147483698" r:id="rId57"/>
    <p:sldLayoutId id="2147483729" r:id="rId58"/>
    <p:sldLayoutId id="2147483670" r:id="rId59"/>
    <p:sldLayoutId id="2147483704" r:id="rId60"/>
    <p:sldLayoutId id="2147483702" r:id="rId61"/>
    <p:sldLayoutId id="2147483703" r:id="rId62"/>
    <p:sldLayoutId id="2147483730" r:id="rId63"/>
    <p:sldLayoutId id="2147483773" r:id="rId64"/>
  </p:sldLayoutIdLst>
  <p:hf hdr="0"/>
  <p:txStyles>
    <p:titleStyle>
      <a:lvl1pPr algn="l" defTabSz="914400" rtl="0" eaLnBrk="1" latinLnBrk="0" hangingPunct="1">
        <a:lnSpc>
          <a:spcPct val="90000"/>
        </a:lnSpc>
        <a:spcBef>
          <a:spcPct val="0"/>
        </a:spcBef>
        <a:buNone/>
        <a:defRPr sz="3800" b="1" kern="1200">
          <a:solidFill>
            <a:schemeClr val="tx2"/>
          </a:solidFill>
          <a:latin typeface="+mj-lt"/>
          <a:ea typeface="+mj-ea"/>
          <a:cs typeface="+mj-cs"/>
        </a:defRPr>
      </a:lvl1pPr>
    </p:titleStyle>
    <p:bodyStyle>
      <a:lvl1pPr marL="360000" indent="-360000" algn="l" defTabSz="914400" rtl="0" eaLnBrk="1" latinLnBrk="0" hangingPunct="1">
        <a:lnSpc>
          <a:spcPct val="110000"/>
        </a:lnSpc>
        <a:spcBef>
          <a:spcPts val="0"/>
        </a:spcBef>
        <a:spcAft>
          <a:spcPts val="1200"/>
        </a:spcAft>
        <a:buClr>
          <a:schemeClr val="tx2"/>
        </a:buClr>
        <a:buSzPct val="80000"/>
        <a:buFont typeface=".Lucida Grande UI Regular"/>
        <a:buChar char="►"/>
        <a:defRPr sz="2000" kern="1200">
          <a:solidFill>
            <a:schemeClr val="tx1"/>
          </a:solidFill>
          <a:latin typeface="+mn-lt"/>
          <a:ea typeface="+mn-ea"/>
          <a:cs typeface="+mn-cs"/>
        </a:defRPr>
      </a:lvl1pPr>
      <a:lvl2pPr marL="703738" indent="-3456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2000" b="0" kern="1200">
          <a:solidFill>
            <a:schemeClr val="tx1"/>
          </a:solidFill>
          <a:latin typeface="+mn-lt"/>
          <a:ea typeface="+mn-ea"/>
          <a:cs typeface="+mn-cs"/>
        </a:defRPr>
      </a:lvl2pPr>
      <a:lvl3pPr marL="1066800" indent="-3456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2000" b="0" kern="1200">
          <a:solidFill>
            <a:schemeClr val="tx1"/>
          </a:solidFill>
          <a:latin typeface="+mn-lt"/>
          <a:ea typeface="+mn-ea"/>
          <a:cs typeface="+mn-cs"/>
        </a:defRPr>
      </a:lvl3pPr>
      <a:lvl4pPr marL="1425600" indent="-342900" algn="l" defTabSz="914400" rtl="0" eaLnBrk="1" latinLnBrk="0" hangingPunct="1">
        <a:lnSpc>
          <a:spcPct val="110000"/>
        </a:lnSpc>
        <a:spcBef>
          <a:spcPts val="0"/>
        </a:spcBef>
        <a:spcAft>
          <a:spcPts val="1200"/>
        </a:spcAft>
        <a:buClr>
          <a:schemeClr val="tx2"/>
        </a:buClr>
        <a:buSzPct val="100000"/>
        <a:buFont typeface="Arial" panose="020B0604020202020204" pitchFamily="34" charset="0"/>
        <a:buChar char="•"/>
        <a:defRPr sz="2000" kern="1200">
          <a:solidFill>
            <a:schemeClr val="tx1"/>
          </a:solidFill>
          <a:latin typeface="+mn-lt"/>
          <a:ea typeface="+mn-ea"/>
          <a:cs typeface="+mn-cs"/>
        </a:defRPr>
      </a:lvl4pPr>
      <a:lvl5pPr marL="1785600" indent="-342000" algn="l" defTabSz="914400" rtl="0" eaLnBrk="1" latinLnBrk="0" hangingPunct="1">
        <a:lnSpc>
          <a:spcPct val="110000"/>
        </a:lnSpc>
        <a:spcBef>
          <a:spcPts val="0"/>
        </a:spcBef>
        <a:spcAft>
          <a:spcPts val="1200"/>
        </a:spcAft>
        <a:buClr>
          <a:schemeClr val="tx2"/>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344" userDrawn="1">
          <p15:clr>
            <a:srgbClr val="F26B43"/>
          </p15:clr>
        </p15:guide>
        <p15:guide id="4" pos="1352" userDrawn="1">
          <p15:clr>
            <a:srgbClr val="F26B43"/>
          </p15:clr>
        </p15:guide>
        <p15:guide id="5" pos="1536" userDrawn="1">
          <p15:clr>
            <a:srgbClr val="F26B43"/>
          </p15:clr>
        </p15:guide>
        <p15:guide id="6" pos="2552" userDrawn="1">
          <p15:clr>
            <a:srgbClr val="F26B43"/>
          </p15:clr>
        </p15:guide>
        <p15:guide id="7" pos="2736" userDrawn="1">
          <p15:clr>
            <a:srgbClr val="F26B43"/>
          </p15:clr>
        </p15:guide>
        <p15:guide id="8" pos="3752" userDrawn="1">
          <p15:clr>
            <a:srgbClr val="F26B43"/>
          </p15:clr>
        </p15:guide>
        <p15:guide id="9" pos="3928" userDrawn="1">
          <p15:clr>
            <a:srgbClr val="F26B43"/>
          </p15:clr>
        </p15:guide>
        <p15:guide id="10" pos="4944" userDrawn="1">
          <p15:clr>
            <a:srgbClr val="F26B43"/>
          </p15:clr>
        </p15:guide>
        <p15:guide id="11" pos="5128" userDrawn="1">
          <p15:clr>
            <a:srgbClr val="F26B43"/>
          </p15:clr>
        </p15:guide>
        <p15:guide id="12" pos="6144" userDrawn="1">
          <p15:clr>
            <a:srgbClr val="F26B43"/>
          </p15:clr>
        </p15:guide>
        <p15:guide id="13" pos="6328" userDrawn="1">
          <p15:clr>
            <a:srgbClr val="F26B43"/>
          </p15:clr>
        </p15:guide>
        <p15:guide id="14" pos="7336" userDrawn="1">
          <p15:clr>
            <a:srgbClr val="F26B43"/>
          </p15:clr>
        </p15:guide>
        <p15:guide id="15" orient="horz" userDrawn="1">
          <p15:clr>
            <a:srgbClr val="F26B43"/>
          </p15:clr>
        </p15:guide>
        <p15:guide id="16" orient="horz" pos="4320" userDrawn="1">
          <p15:clr>
            <a:srgbClr val="F26B43"/>
          </p15:clr>
        </p15:guide>
        <p15:guide id="17" orient="horz" pos="344" userDrawn="1">
          <p15:clr>
            <a:srgbClr val="F26B43"/>
          </p15:clr>
        </p15:guide>
        <p15:guide id="18"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g"/><Relationship Id="rId7" Type="http://schemas.openxmlformats.org/officeDocument/2006/relationships/image" Target="../media/image30.sv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29.png"/><Relationship Id="rId5" Type="http://schemas.openxmlformats.org/officeDocument/2006/relationships/image" Target="../media/image22.sv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xml"/><Relationship Id="rId1" Type="http://schemas.openxmlformats.org/officeDocument/2006/relationships/slideLayout" Target="../slideLayouts/slideLayout17.xml"/><Relationship Id="rId5" Type="http://schemas.openxmlformats.org/officeDocument/2006/relationships/image" Target="../media/image38.sv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40.jpeg"/><Relationship Id="rId7" Type="http://schemas.openxmlformats.org/officeDocument/2006/relationships/image" Target="../media/image42.jpeg"/><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image" Target="../media/image41.jpe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44.jpeg"/></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17.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2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48.jpeg"/><Relationship Id="rId5" Type="http://schemas.openxmlformats.org/officeDocument/2006/relationships/image" Target="../media/image47.sv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5.jpeg"/><Relationship Id="rId7"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 Id="rId9" Type="http://schemas.openxmlformats.org/officeDocument/2006/relationships/image" Target="../media/image53.jpeg"/></Relationships>
</file>

<file path=ppt/slides/_rels/slide2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5.jpeg"/><Relationship Id="rId7" Type="http://schemas.openxmlformats.org/officeDocument/2006/relationships/image" Target="../media/image48.jpe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53.jpeg"/><Relationship Id="rId11" Type="http://schemas.openxmlformats.org/officeDocument/2006/relationships/image" Target="../media/image55.jpeg"/><Relationship Id="rId5" Type="http://schemas.openxmlformats.org/officeDocument/2006/relationships/image" Target="../media/image52.jpeg"/><Relationship Id="rId10" Type="http://schemas.openxmlformats.org/officeDocument/2006/relationships/image" Target="../media/image54.jpeg"/><Relationship Id="rId4" Type="http://schemas.openxmlformats.org/officeDocument/2006/relationships/image" Target="../media/image51.jpeg"/><Relationship Id="rId9" Type="http://schemas.openxmlformats.org/officeDocument/2006/relationships/image" Target="../media/image50.jpeg"/></Relationships>
</file>

<file path=ppt/slides/_rels/slide29.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45.jpeg"/><Relationship Id="rId7" Type="http://schemas.openxmlformats.org/officeDocument/2006/relationships/image" Target="../media/image54.jpeg"/><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9.jpeg"/></Relationships>
</file>

<file path=ppt/slides/_rels/slide30.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56.jpeg"/><Relationship Id="rId7" Type="http://schemas.openxmlformats.org/officeDocument/2006/relationships/image" Target="../media/image53.jpeg"/><Relationship Id="rId2" Type="http://schemas.openxmlformats.org/officeDocument/2006/relationships/notesSlide" Target="../notesSlides/notesSlide30.xml"/><Relationship Id="rId1" Type="http://schemas.openxmlformats.org/officeDocument/2006/relationships/slideLayout" Target="../slideLayouts/slideLayout17.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image" Target="../media/image58.jpeg"/><Relationship Id="rId4" Type="http://schemas.openxmlformats.org/officeDocument/2006/relationships/image" Target="../media/image57.png"/><Relationship Id="rId9" Type="http://schemas.openxmlformats.org/officeDocument/2006/relationships/image" Target="../media/image55.jpeg"/></Relationships>
</file>

<file path=ppt/slides/_rels/slide3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7"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22.sv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7" Type="http://schemas.openxmlformats.org/officeDocument/2006/relationships/image" Target="../media/image30.sv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29.png"/><Relationship Id="rId5" Type="http://schemas.openxmlformats.org/officeDocument/2006/relationships/image" Target="../media/image22.sv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8A637-B3DB-E2EA-235A-7DD2288D01D3}"/>
            </a:ext>
          </a:extLst>
        </p:cNvPr>
        <p:cNvGrpSpPr/>
        <p:nvPr/>
      </p:nvGrpSpPr>
      <p:grpSpPr>
        <a:xfrm>
          <a:off x="0" y="0"/>
          <a:ext cx="0" cy="0"/>
          <a:chOff x="0" y="0"/>
          <a:chExt cx="0" cy="0"/>
        </a:xfrm>
      </p:grpSpPr>
      <p:pic>
        <p:nvPicPr>
          <p:cNvPr id="17" name="!!Hero1" descr="A factory in the snow&#10;&#10;Description automatically generated">
            <a:extLst>
              <a:ext uri="{FF2B5EF4-FFF2-40B4-BE49-F238E27FC236}">
                <a16:creationId xmlns:a16="http://schemas.microsoft.com/office/drawing/2014/main" id="{0FDF44C4-7943-3583-6071-06CA0BB87F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
            <a:ext cx="12191999" cy="6858000"/>
          </a:xfrm>
          <a:prstGeom prst="rect">
            <a:avLst/>
          </a:prstGeom>
        </p:spPr>
      </p:pic>
      <p:sp>
        <p:nvSpPr>
          <p:cNvPr id="2" name="!!40">
            <a:extLst>
              <a:ext uri="{FF2B5EF4-FFF2-40B4-BE49-F238E27FC236}">
                <a16:creationId xmlns:a16="http://schemas.microsoft.com/office/drawing/2014/main" id="{76DF1D21-AE79-E355-81AD-7A2AE49CB442}"/>
              </a:ext>
            </a:extLst>
          </p:cNvPr>
          <p:cNvSpPr txBox="1"/>
          <p:nvPr/>
        </p:nvSpPr>
        <p:spPr>
          <a:xfrm>
            <a:off x="12219405" y="1759261"/>
            <a:ext cx="11099800" cy="3062377"/>
          </a:xfrm>
          <a:prstGeom prst="rect">
            <a:avLst/>
          </a:prstGeom>
          <a:noFill/>
        </p:spPr>
        <p:txBody>
          <a:bodyPr wrap="square" lIns="0" tIns="0" rIns="0" bIns="0" rtlCol="0">
            <a:spAutoFit/>
          </a:bodyPr>
          <a:lstStyle/>
          <a:p>
            <a:pPr algn="ctr"/>
            <a:r>
              <a:rPr lang="sv-SE" sz="19900" dirty="0">
                <a:solidFill>
                  <a:schemeClr val="bg1"/>
                </a:solidFill>
                <a:latin typeface="+mj-lt"/>
              </a:rPr>
              <a:t>25–40</a:t>
            </a:r>
            <a:r>
              <a:rPr lang="sv-SE" sz="10000" dirty="0">
                <a:solidFill>
                  <a:schemeClr val="bg1"/>
                </a:solidFill>
                <a:latin typeface="+mj-lt"/>
              </a:rPr>
              <a:t> </a:t>
            </a:r>
            <a:r>
              <a:rPr lang="sv-SE" sz="19900" dirty="0">
                <a:solidFill>
                  <a:schemeClr val="bg1"/>
                </a:solidFill>
                <a:latin typeface="+mj-lt"/>
              </a:rPr>
              <a:t>%</a:t>
            </a:r>
          </a:p>
        </p:txBody>
      </p:sp>
      <p:sp>
        <p:nvSpPr>
          <p:cNvPr id="21" name="!!Rectangle blue">
            <a:extLst>
              <a:ext uri="{FF2B5EF4-FFF2-40B4-BE49-F238E27FC236}">
                <a16:creationId xmlns:a16="http://schemas.microsoft.com/office/drawing/2014/main" id="{2FCD31C9-92A3-2EB1-E610-A062EC7404DF}"/>
              </a:ext>
            </a:extLst>
          </p:cNvPr>
          <p:cNvSpPr/>
          <p:nvPr/>
        </p:nvSpPr>
        <p:spPr>
          <a:xfrm flipH="1">
            <a:off x="9753599" y="1"/>
            <a:ext cx="2438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Logovertikal">
            <a:extLst>
              <a:ext uri="{FF2B5EF4-FFF2-40B4-BE49-F238E27FC236}">
                <a16:creationId xmlns:a16="http://schemas.microsoft.com/office/drawing/2014/main" id="{4A7F3DB9-F220-4C4E-BEA0-588FC7ABA4A8}"/>
              </a:ext>
            </a:extLst>
          </p:cNvPr>
          <p:cNvSpPr/>
          <p:nvPr/>
        </p:nvSpPr>
        <p:spPr>
          <a:xfrm>
            <a:off x="9304418" y="0"/>
            <a:ext cx="898363" cy="6861227"/>
          </a:xfrm>
          <a:custGeom>
            <a:avLst/>
            <a:gdLst>
              <a:gd name="connsiteX0" fmla="*/ 26504 w 898363"/>
              <a:gd name="connsiteY0" fmla="*/ 5999309 h 6861227"/>
              <a:gd name="connsiteX1" fmla="*/ 871859 w 898363"/>
              <a:gd name="connsiteY1" fmla="*/ 5999309 h 6861227"/>
              <a:gd name="connsiteX2" fmla="*/ 871859 w 898363"/>
              <a:gd name="connsiteY2" fmla="*/ 6155602 h 6861227"/>
              <a:gd name="connsiteX3" fmla="*/ 526964 w 898363"/>
              <a:gd name="connsiteY3" fmla="*/ 6155602 h 6861227"/>
              <a:gd name="connsiteX4" fmla="*/ 526964 w 898363"/>
              <a:gd name="connsiteY4" fmla="*/ 6861227 h 6861227"/>
              <a:gd name="connsiteX5" fmla="*/ 370707 w 898363"/>
              <a:gd name="connsiteY5" fmla="*/ 6861227 h 6861227"/>
              <a:gd name="connsiteX6" fmla="*/ 370707 w 898363"/>
              <a:gd name="connsiteY6" fmla="*/ 6155602 h 6861227"/>
              <a:gd name="connsiteX7" fmla="*/ 26504 w 898363"/>
              <a:gd name="connsiteY7" fmla="*/ 6155602 h 6861227"/>
              <a:gd name="connsiteX8" fmla="*/ 371053 w 898363"/>
              <a:gd name="connsiteY8" fmla="*/ 4799447 h 6861227"/>
              <a:gd name="connsiteX9" fmla="*/ 527310 w 898363"/>
              <a:gd name="connsiteY9" fmla="*/ 4799447 h 6861227"/>
              <a:gd name="connsiteX10" fmla="*/ 527310 w 898363"/>
              <a:gd name="connsiteY10" fmla="*/ 5661250 h 6861227"/>
              <a:gd name="connsiteX11" fmla="*/ 371053 w 898363"/>
              <a:gd name="connsiteY11" fmla="*/ 5661250 h 6861227"/>
              <a:gd name="connsiteX12" fmla="*/ 78590 w 898363"/>
              <a:gd name="connsiteY12" fmla="*/ 3599470 h 6861227"/>
              <a:gd name="connsiteX13" fmla="*/ 671583 w 898363"/>
              <a:gd name="connsiteY13" fmla="*/ 3599470 h 6861227"/>
              <a:gd name="connsiteX14" fmla="*/ 759968 w 898363"/>
              <a:gd name="connsiteY14" fmla="*/ 3618373 h 6861227"/>
              <a:gd name="connsiteX15" fmla="*/ 818506 w 898363"/>
              <a:gd name="connsiteY15" fmla="*/ 3665860 h 6861227"/>
              <a:gd name="connsiteX16" fmla="*/ 851002 w 898363"/>
              <a:gd name="connsiteY16" fmla="*/ 3727524 h 6861227"/>
              <a:gd name="connsiteX17" fmla="*/ 860912 w 898363"/>
              <a:gd name="connsiteY17" fmla="*/ 3789419 h 6861227"/>
              <a:gd name="connsiteX18" fmla="*/ 860912 w 898363"/>
              <a:gd name="connsiteY18" fmla="*/ 3889120 h 6861227"/>
              <a:gd name="connsiteX19" fmla="*/ 861027 w 898363"/>
              <a:gd name="connsiteY19" fmla="*/ 3889350 h 6861227"/>
              <a:gd name="connsiteX20" fmla="*/ 847776 w 898363"/>
              <a:gd name="connsiteY20" fmla="*/ 3984901 h 6861227"/>
              <a:gd name="connsiteX21" fmla="*/ 812053 w 898363"/>
              <a:gd name="connsiteY21" fmla="*/ 4059129 h 6861227"/>
              <a:gd name="connsiteX22" fmla="*/ 760082 w 898363"/>
              <a:gd name="connsiteY22" fmla="*/ 4114108 h 6861227"/>
              <a:gd name="connsiteX23" fmla="*/ 698548 w 898363"/>
              <a:gd name="connsiteY23" fmla="*/ 4151683 h 6861227"/>
              <a:gd name="connsiteX24" fmla="*/ 633671 w 898363"/>
              <a:gd name="connsiteY24" fmla="*/ 4173006 h 6861227"/>
              <a:gd name="connsiteX25" fmla="*/ 572136 w 898363"/>
              <a:gd name="connsiteY25" fmla="*/ 4179576 h 6861227"/>
              <a:gd name="connsiteX26" fmla="*/ 898363 w 898363"/>
              <a:gd name="connsiteY26" fmla="*/ 4461388 h 6861227"/>
              <a:gd name="connsiteX27" fmla="*/ 656833 w 898363"/>
              <a:gd name="connsiteY27" fmla="*/ 4461388 h 6861227"/>
              <a:gd name="connsiteX28" fmla="*/ 331182 w 898363"/>
              <a:gd name="connsiteY28" fmla="*/ 4179576 h 6861227"/>
              <a:gd name="connsiteX29" fmla="*/ 218829 w 898363"/>
              <a:gd name="connsiteY29" fmla="*/ 4179576 h 6861227"/>
              <a:gd name="connsiteX30" fmla="*/ 218829 w 898363"/>
              <a:gd name="connsiteY30" fmla="*/ 4023283 h 6861227"/>
              <a:gd name="connsiteX31" fmla="*/ 572136 w 898363"/>
              <a:gd name="connsiteY31" fmla="*/ 4023283 h 6861227"/>
              <a:gd name="connsiteX32" fmla="*/ 625950 w 898363"/>
              <a:gd name="connsiteY32" fmla="*/ 4010950 h 6861227"/>
              <a:gd name="connsiteX33" fmla="*/ 668010 w 898363"/>
              <a:gd name="connsiteY33" fmla="*/ 3984210 h 6861227"/>
              <a:gd name="connsiteX34" fmla="*/ 695321 w 898363"/>
              <a:gd name="connsiteY34" fmla="*/ 3943638 h 6861227"/>
              <a:gd name="connsiteX35" fmla="*/ 704885 w 898363"/>
              <a:gd name="connsiteY35" fmla="*/ 3889235 h 6861227"/>
              <a:gd name="connsiteX36" fmla="*/ 704885 w 898363"/>
              <a:gd name="connsiteY36" fmla="*/ 3790687 h 6861227"/>
              <a:gd name="connsiteX37" fmla="*/ 701544 w 898363"/>
              <a:gd name="connsiteY37" fmla="*/ 3770517 h 6861227"/>
              <a:gd name="connsiteX38" fmla="*/ 693132 w 898363"/>
              <a:gd name="connsiteY38" fmla="*/ 3760258 h 6861227"/>
              <a:gd name="connsiteX39" fmla="*/ 682300 w 898363"/>
              <a:gd name="connsiteY39" fmla="*/ 3756339 h 6861227"/>
              <a:gd name="connsiteX40" fmla="*/ 671813 w 898363"/>
              <a:gd name="connsiteY40" fmla="*/ 3755763 h 6861227"/>
              <a:gd name="connsiteX41" fmla="*/ 156257 w 898363"/>
              <a:gd name="connsiteY41" fmla="*/ 3755763 h 6861227"/>
              <a:gd name="connsiteX42" fmla="*/ 156257 w 898363"/>
              <a:gd name="connsiteY42" fmla="*/ 4461273 h 6861227"/>
              <a:gd name="connsiteX43" fmla="*/ 0 w 898363"/>
              <a:gd name="connsiteY43" fmla="*/ 4461273 h 6861227"/>
              <a:gd name="connsiteX44" fmla="*/ 0 w 898363"/>
              <a:gd name="connsiteY44" fmla="*/ 3678193 h 6861227"/>
              <a:gd name="connsiteX45" fmla="*/ 5992 w 898363"/>
              <a:gd name="connsiteY45" fmla="*/ 3647533 h 6861227"/>
              <a:gd name="connsiteX46" fmla="*/ 22471 w 898363"/>
              <a:gd name="connsiteY46" fmla="*/ 3622291 h 6861227"/>
              <a:gd name="connsiteX47" fmla="*/ 47361 w 898363"/>
              <a:gd name="connsiteY47" fmla="*/ 3605463 h 6861227"/>
              <a:gd name="connsiteX48" fmla="*/ 78590 w 898363"/>
              <a:gd name="connsiteY48" fmla="*/ 3599470 h 6861227"/>
              <a:gd name="connsiteX49" fmla="*/ 174810 w 898363"/>
              <a:gd name="connsiteY49" fmla="*/ 2556132 h 6861227"/>
              <a:gd name="connsiteX50" fmla="*/ 174810 w 898363"/>
              <a:gd name="connsiteY50" fmla="*/ 3105464 h 6861227"/>
              <a:gd name="connsiteX51" fmla="*/ 690366 w 898363"/>
              <a:gd name="connsiteY51" fmla="*/ 3105464 h 6861227"/>
              <a:gd name="connsiteX52" fmla="*/ 700622 w 898363"/>
              <a:gd name="connsiteY52" fmla="*/ 3104888 h 6861227"/>
              <a:gd name="connsiteX53" fmla="*/ 711454 w 898363"/>
              <a:gd name="connsiteY53" fmla="*/ 3101314 h 6861227"/>
              <a:gd name="connsiteX54" fmla="*/ 719866 w 898363"/>
              <a:gd name="connsiteY54" fmla="*/ 3091056 h 6861227"/>
              <a:gd name="connsiteX55" fmla="*/ 723438 w 898363"/>
              <a:gd name="connsiteY55" fmla="*/ 3071231 h 6861227"/>
              <a:gd name="connsiteX56" fmla="*/ 723438 w 898363"/>
              <a:gd name="connsiteY56" fmla="*/ 3042416 h 6861227"/>
              <a:gd name="connsiteX57" fmla="*/ 723438 w 898363"/>
              <a:gd name="connsiteY57" fmla="*/ 3042186 h 6861227"/>
              <a:gd name="connsiteX58" fmla="*/ 713873 w 898363"/>
              <a:gd name="connsiteY58" fmla="*/ 2987207 h 6861227"/>
              <a:gd name="connsiteX59" fmla="*/ 686793 w 898363"/>
              <a:gd name="connsiteY59" fmla="*/ 2945482 h 6861227"/>
              <a:gd name="connsiteX60" fmla="*/ 644733 w 898363"/>
              <a:gd name="connsiteY60" fmla="*/ 2918742 h 6861227"/>
              <a:gd name="connsiteX61" fmla="*/ 589421 w 898363"/>
              <a:gd name="connsiteY61" fmla="*/ 2909406 h 6861227"/>
              <a:gd name="connsiteX62" fmla="*/ 237382 w 898363"/>
              <a:gd name="connsiteY62" fmla="*/ 2909406 h 6861227"/>
              <a:gd name="connsiteX63" fmla="*/ 237382 w 898363"/>
              <a:gd name="connsiteY63" fmla="*/ 2751960 h 6861227"/>
              <a:gd name="connsiteX64" fmla="*/ 519128 w 898363"/>
              <a:gd name="connsiteY64" fmla="*/ 2751960 h 6861227"/>
              <a:gd name="connsiteX65" fmla="*/ 574440 w 898363"/>
              <a:gd name="connsiteY65" fmla="*/ 2742624 h 6861227"/>
              <a:gd name="connsiteX66" fmla="*/ 616501 w 898363"/>
              <a:gd name="connsiteY66" fmla="*/ 2715883 h 6861227"/>
              <a:gd name="connsiteX67" fmla="*/ 643235 w 898363"/>
              <a:gd name="connsiteY67" fmla="*/ 2674159 h 6861227"/>
              <a:gd name="connsiteX68" fmla="*/ 652569 w 898363"/>
              <a:gd name="connsiteY68" fmla="*/ 2619181 h 6861227"/>
              <a:gd name="connsiteX69" fmla="*/ 652569 w 898363"/>
              <a:gd name="connsiteY69" fmla="*/ 2589788 h 6861227"/>
              <a:gd name="connsiteX70" fmla="*/ 620073 w 898363"/>
              <a:gd name="connsiteY70" fmla="*/ 2556132 h 6861227"/>
              <a:gd name="connsiteX71" fmla="*/ 97373 w 898363"/>
              <a:gd name="connsiteY71" fmla="*/ 2399839 h 6861227"/>
              <a:gd name="connsiteX72" fmla="*/ 620073 w 898363"/>
              <a:gd name="connsiteY72" fmla="*/ 2399839 h 6861227"/>
              <a:gd name="connsiteX73" fmla="*/ 681954 w 898363"/>
              <a:gd name="connsiteY73" fmla="*/ 2410097 h 6861227"/>
              <a:gd name="connsiteX74" fmla="*/ 743604 w 898363"/>
              <a:gd name="connsiteY74" fmla="*/ 2442831 h 6861227"/>
              <a:gd name="connsiteX75" fmla="*/ 791080 w 898363"/>
              <a:gd name="connsiteY75" fmla="*/ 2501383 h 6861227"/>
              <a:gd name="connsiteX76" fmla="*/ 809978 w 898363"/>
              <a:gd name="connsiteY76" fmla="*/ 2589788 h 6861227"/>
              <a:gd name="connsiteX77" fmla="*/ 809978 w 898363"/>
              <a:gd name="connsiteY77" fmla="*/ 2619181 h 6861227"/>
              <a:gd name="connsiteX78" fmla="*/ 796150 w 898363"/>
              <a:gd name="connsiteY78" fmla="*/ 2708391 h 6861227"/>
              <a:gd name="connsiteX79" fmla="*/ 751670 w 898363"/>
              <a:gd name="connsiteY79" fmla="*/ 2798871 h 6861227"/>
              <a:gd name="connsiteX80" fmla="*/ 801221 w 898363"/>
              <a:gd name="connsiteY80" fmla="*/ 2837944 h 6861227"/>
              <a:gd name="connsiteX81" fmla="*/ 841783 w 898363"/>
              <a:gd name="connsiteY81" fmla="*/ 2890849 h 6861227"/>
              <a:gd name="connsiteX82" fmla="*/ 869439 w 898363"/>
              <a:gd name="connsiteY82" fmla="*/ 2958737 h 6861227"/>
              <a:gd name="connsiteX83" fmla="*/ 879695 w 898363"/>
              <a:gd name="connsiteY83" fmla="*/ 3042301 h 6861227"/>
              <a:gd name="connsiteX84" fmla="*/ 879695 w 898363"/>
              <a:gd name="connsiteY84" fmla="*/ 3072269 h 6861227"/>
              <a:gd name="connsiteX85" fmla="*/ 869785 w 898363"/>
              <a:gd name="connsiteY85" fmla="*/ 3134164 h 6861227"/>
              <a:gd name="connsiteX86" fmla="*/ 837289 w 898363"/>
              <a:gd name="connsiteY86" fmla="*/ 3195482 h 6861227"/>
              <a:gd name="connsiteX87" fmla="*/ 778750 w 898363"/>
              <a:gd name="connsiteY87" fmla="*/ 3242624 h 6861227"/>
              <a:gd name="connsiteX88" fmla="*/ 690366 w 898363"/>
              <a:gd name="connsiteY88" fmla="*/ 3261526 h 6861227"/>
              <a:gd name="connsiteX89" fmla="*/ 97373 w 898363"/>
              <a:gd name="connsiteY89" fmla="*/ 3261526 h 6861227"/>
              <a:gd name="connsiteX90" fmla="*/ 66144 w 898363"/>
              <a:gd name="connsiteY90" fmla="*/ 3255533 h 6861227"/>
              <a:gd name="connsiteX91" fmla="*/ 41254 w 898363"/>
              <a:gd name="connsiteY91" fmla="*/ 3239051 h 6861227"/>
              <a:gd name="connsiteX92" fmla="*/ 24775 w 898363"/>
              <a:gd name="connsiteY92" fmla="*/ 3214154 h 6861227"/>
              <a:gd name="connsiteX93" fmla="*/ 18783 w 898363"/>
              <a:gd name="connsiteY93" fmla="*/ 3182919 h 6861227"/>
              <a:gd name="connsiteX94" fmla="*/ 18783 w 898363"/>
              <a:gd name="connsiteY94" fmla="*/ 2478562 h 6861227"/>
              <a:gd name="connsiteX95" fmla="*/ 24775 w 898363"/>
              <a:gd name="connsiteY95" fmla="*/ 2447903 h 6861227"/>
              <a:gd name="connsiteX96" fmla="*/ 41254 w 898363"/>
              <a:gd name="connsiteY96" fmla="*/ 2422661 h 6861227"/>
              <a:gd name="connsiteX97" fmla="*/ 66144 w 898363"/>
              <a:gd name="connsiteY97" fmla="*/ 2405832 h 6861227"/>
              <a:gd name="connsiteX98" fmla="*/ 97373 w 898363"/>
              <a:gd name="connsiteY98" fmla="*/ 2399839 h 6861227"/>
              <a:gd name="connsiteX99" fmla="*/ 723899 w 898363"/>
              <a:gd name="connsiteY99" fmla="*/ 1199631 h 6861227"/>
              <a:gd name="connsiteX100" fmla="*/ 880156 w 898363"/>
              <a:gd name="connsiteY100" fmla="*/ 1199631 h 6861227"/>
              <a:gd name="connsiteX101" fmla="*/ 880156 w 898363"/>
              <a:gd name="connsiteY101" fmla="*/ 1488128 h 6861227"/>
              <a:gd name="connsiteX102" fmla="*/ 880041 w 898363"/>
              <a:gd name="connsiteY102" fmla="*/ 1488359 h 6861227"/>
              <a:gd name="connsiteX103" fmla="*/ 866559 w 898363"/>
              <a:gd name="connsiteY103" fmla="*/ 1583909 h 6861227"/>
              <a:gd name="connsiteX104" fmla="*/ 830836 w 898363"/>
              <a:gd name="connsiteY104" fmla="*/ 1658137 h 6861227"/>
              <a:gd name="connsiteX105" fmla="*/ 778866 w 898363"/>
              <a:gd name="connsiteY105" fmla="*/ 1713117 h 6861227"/>
              <a:gd name="connsiteX106" fmla="*/ 717331 w 898363"/>
              <a:gd name="connsiteY106" fmla="*/ 1750691 h 6861227"/>
              <a:gd name="connsiteX107" fmla="*/ 652685 w 898363"/>
              <a:gd name="connsiteY107" fmla="*/ 1772015 h 6861227"/>
              <a:gd name="connsiteX108" fmla="*/ 591150 w 898363"/>
              <a:gd name="connsiteY108" fmla="*/ 1778584 h 6861227"/>
              <a:gd name="connsiteX109" fmla="*/ 528002 w 898363"/>
              <a:gd name="connsiteY109" fmla="*/ 1778584 h 6861227"/>
              <a:gd name="connsiteX110" fmla="*/ 528002 w 898363"/>
              <a:gd name="connsiteY110" fmla="*/ 2061664 h 6861227"/>
              <a:gd name="connsiteX111" fmla="*/ 370592 w 898363"/>
              <a:gd name="connsiteY111" fmla="*/ 2061664 h 6861227"/>
              <a:gd name="connsiteX112" fmla="*/ 370592 w 898363"/>
              <a:gd name="connsiteY112" fmla="*/ 1778584 h 6861227"/>
              <a:gd name="connsiteX113" fmla="*/ 308136 w 898363"/>
              <a:gd name="connsiteY113" fmla="*/ 1778584 h 6861227"/>
              <a:gd name="connsiteX114" fmla="*/ 246601 w 898363"/>
              <a:gd name="connsiteY114" fmla="*/ 1772015 h 6861227"/>
              <a:gd name="connsiteX115" fmla="*/ 181724 w 898363"/>
              <a:gd name="connsiteY115" fmla="*/ 1750691 h 6861227"/>
              <a:gd name="connsiteX116" fmla="*/ 120074 w 898363"/>
              <a:gd name="connsiteY116" fmla="*/ 1713117 h 6861227"/>
              <a:gd name="connsiteX117" fmla="*/ 68103 w 898363"/>
              <a:gd name="connsiteY117" fmla="*/ 1658137 h 6861227"/>
              <a:gd name="connsiteX118" fmla="*/ 32035 w 898363"/>
              <a:gd name="connsiteY118" fmla="*/ 1583564 h 6861227"/>
              <a:gd name="connsiteX119" fmla="*/ 18553 w 898363"/>
              <a:gd name="connsiteY119" fmla="*/ 1488244 h 6861227"/>
              <a:gd name="connsiteX120" fmla="*/ 18553 w 898363"/>
              <a:gd name="connsiteY120" fmla="*/ 1199746 h 6861227"/>
              <a:gd name="connsiteX121" fmla="*/ 174810 w 898363"/>
              <a:gd name="connsiteY121" fmla="*/ 1199746 h 6861227"/>
              <a:gd name="connsiteX122" fmla="*/ 174810 w 898363"/>
              <a:gd name="connsiteY122" fmla="*/ 1488244 h 6861227"/>
              <a:gd name="connsiteX123" fmla="*/ 184374 w 898363"/>
              <a:gd name="connsiteY123" fmla="*/ 1543223 h 6861227"/>
              <a:gd name="connsiteX124" fmla="*/ 211454 w 898363"/>
              <a:gd name="connsiteY124" fmla="*/ 1584947 h 6861227"/>
              <a:gd name="connsiteX125" fmla="*/ 253860 w 898363"/>
              <a:gd name="connsiteY125" fmla="*/ 1611687 h 6861227"/>
              <a:gd name="connsiteX126" fmla="*/ 309403 w 898363"/>
              <a:gd name="connsiteY126" fmla="*/ 1621023 h 6861227"/>
              <a:gd name="connsiteX127" fmla="*/ 591265 w 898363"/>
              <a:gd name="connsiteY127" fmla="*/ 1621023 h 6861227"/>
              <a:gd name="connsiteX128" fmla="*/ 636898 w 898363"/>
              <a:gd name="connsiteY128" fmla="*/ 1611687 h 6861227"/>
              <a:gd name="connsiteX129" fmla="*/ 679534 w 898363"/>
              <a:gd name="connsiteY129" fmla="*/ 1592093 h 6861227"/>
              <a:gd name="connsiteX130" fmla="*/ 711339 w 898363"/>
              <a:gd name="connsiteY130" fmla="*/ 1553596 h 6861227"/>
              <a:gd name="connsiteX131" fmla="*/ 723899 w 898363"/>
              <a:gd name="connsiteY131" fmla="*/ 1488128 h 6861227"/>
              <a:gd name="connsiteX132" fmla="*/ 18668 w 898363"/>
              <a:gd name="connsiteY132" fmla="*/ 0 h 6861227"/>
              <a:gd name="connsiteX133" fmla="*/ 174925 w 898363"/>
              <a:gd name="connsiteY133" fmla="*/ 0 h 6861227"/>
              <a:gd name="connsiteX134" fmla="*/ 174925 w 898363"/>
              <a:gd name="connsiteY134" fmla="*/ 352121 h 6861227"/>
              <a:gd name="connsiteX135" fmla="*/ 723438 w 898363"/>
              <a:gd name="connsiteY135" fmla="*/ 352121 h 6861227"/>
              <a:gd name="connsiteX136" fmla="*/ 723438 w 898363"/>
              <a:gd name="connsiteY136" fmla="*/ 0 h 6861227"/>
              <a:gd name="connsiteX137" fmla="*/ 879695 w 898363"/>
              <a:gd name="connsiteY137" fmla="*/ 0 h 6861227"/>
              <a:gd name="connsiteX138" fmla="*/ 879695 w 898363"/>
              <a:gd name="connsiteY138" fmla="*/ 861803 h 6861227"/>
              <a:gd name="connsiteX139" fmla="*/ 723438 w 898363"/>
              <a:gd name="connsiteY139" fmla="*/ 861803 h 6861227"/>
              <a:gd name="connsiteX140" fmla="*/ 723438 w 898363"/>
              <a:gd name="connsiteY140" fmla="*/ 509682 h 6861227"/>
              <a:gd name="connsiteX141" fmla="*/ 174925 w 898363"/>
              <a:gd name="connsiteY141" fmla="*/ 509682 h 6861227"/>
              <a:gd name="connsiteX142" fmla="*/ 174925 w 898363"/>
              <a:gd name="connsiteY142" fmla="*/ 861803 h 6861227"/>
              <a:gd name="connsiteX143" fmla="*/ 18668 w 898363"/>
              <a:gd name="connsiteY143" fmla="*/ 861803 h 686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98363" h="6861227">
                <a:moveTo>
                  <a:pt x="26504" y="5999309"/>
                </a:moveTo>
                <a:lnTo>
                  <a:pt x="871859" y="5999309"/>
                </a:lnTo>
                <a:lnTo>
                  <a:pt x="871859" y="6155602"/>
                </a:lnTo>
                <a:lnTo>
                  <a:pt x="526964" y="6155602"/>
                </a:lnTo>
                <a:lnTo>
                  <a:pt x="526964" y="6861227"/>
                </a:lnTo>
                <a:lnTo>
                  <a:pt x="370707" y="6861227"/>
                </a:lnTo>
                <a:lnTo>
                  <a:pt x="370707" y="6155602"/>
                </a:lnTo>
                <a:lnTo>
                  <a:pt x="26504" y="6155602"/>
                </a:lnTo>
                <a:close/>
                <a:moveTo>
                  <a:pt x="371053" y="4799447"/>
                </a:moveTo>
                <a:lnTo>
                  <a:pt x="527310" y="4799447"/>
                </a:lnTo>
                <a:lnTo>
                  <a:pt x="527310" y="5661250"/>
                </a:lnTo>
                <a:lnTo>
                  <a:pt x="371053" y="5661250"/>
                </a:lnTo>
                <a:close/>
                <a:moveTo>
                  <a:pt x="78590" y="3599470"/>
                </a:moveTo>
                <a:lnTo>
                  <a:pt x="671583" y="3599470"/>
                </a:lnTo>
                <a:cubicBezTo>
                  <a:pt x="706499" y="3599470"/>
                  <a:pt x="735883" y="3605809"/>
                  <a:pt x="759968" y="3618373"/>
                </a:cubicBezTo>
                <a:cubicBezTo>
                  <a:pt x="784051" y="3631051"/>
                  <a:pt x="803526" y="3646842"/>
                  <a:pt x="818506" y="3665860"/>
                </a:cubicBezTo>
                <a:cubicBezTo>
                  <a:pt x="833486" y="3684878"/>
                  <a:pt x="844318" y="3705394"/>
                  <a:pt x="851002" y="3727524"/>
                </a:cubicBezTo>
                <a:cubicBezTo>
                  <a:pt x="857570" y="3749539"/>
                  <a:pt x="860912" y="3770171"/>
                  <a:pt x="860912" y="3789419"/>
                </a:cubicBezTo>
                <a:lnTo>
                  <a:pt x="860912" y="3889120"/>
                </a:lnTo>
                <a:lnTo>
                  <a:pt x="861027" y="3889350"/>
                </a:lnTo>
                <a:cubicBezTo>
                  <a:pt x="861027" y="3924966"/>
                  <a:pt x="856648" y="3956893"/>
                  <a:pt x="847776" y="3984901"/>
                </a:cubicBezTo>
                <a:cubicBezTo>
                  <a:pt x="838902" y="4012909"/>
                  <a:pt x="827033" y="4037690"/>
                  <a:pt x="812053" y="4059129"/>
                </a:cubicBezTo>
                <a:cubicBezTo>
                  <a:pt x="797072" y="4080567"/>
                  <a:pt x="779672" y="4098894"/>
                  <a:pt x="760082" y="4114108"/>
                </a:cubicBezTo>
                <a:cubicBezTo>
                  <a:pt x="740493" y="4129323"/>
                  <a:pt x="719981" y="4141886"/>
                  <a:pt x="698548" y="4151683"/>
                </a:cubicBezTo>
                <a:cubicBezTo>
                  <a:pt x="677114" y="4161480"/>
                  <a:pt x="655450" y="4168626"/>
                  <a:pt x="633671" y="4173006"/>
                </a:cubicBezTo>
                <a:cubicBezTo>
                  <a:pt x="611892" y="4177386"/>
                  <a:pt x="591265" y="4179576"/>
                  <a:pt x="572136" y="4179576"/>
                </a:cubicBezTo>
                <a:lnTo>
                  <a:pt x="898363" y="4461388"/>
                </a:lnTo>
                <a:lnTo>
                  <a:pt x="656833" y="4461388"/>
                </a:lnTo>
                <a:lnTo>
                  <a:pt x="331182" y="4179576"/>
                </a:lnTo>
                <a:lnTo>
                  <a:pt x="218829" y="4179576"/>
                </a:lnTo>
                <a:lnTo>
                  <a:pt x="218829" y="4023283"/>
                </a:lnTo>
                <a:lnTo>
                  <a:pt x="572136" y="4023283"/>
                </a:lnTo>
                <a:cubicBezTo>
                  <a:pt x="591726" y="4021669"/>
                  <a:pt x="609702" y="4017520"/>
                  <a:pt x="625950" y="4010950"/>
                </a:cubicBezTo>
                <a:cubicBezTo>
                  <a:pt x="642198" y="4004380"/>
                  <a:pt x="656141" y="3995390"/>
                  <a:pt x="668010" y="3984210"/>
                </a:cubicBezTo>
                <a:cubicBezTo>
                  <a:pt x="679765" y="3972914"/>
                  <a:pt x="688983" y="3959428"/>
                  <a:pt x="695321" y="3943638"/>
                </a:cubicBezTo>
                <a:cubicBezTo>
                  <a:pt x="701774" y="3927847"/>
                  <a:pt x="704885" y="3909636"/>
                  <a:pt x="704885" y="3889235"/>
                </a:cubicBezTo>
                <a:lnTo>
                  <a:pt x="704885" y="3790687"/>
                </a:lnTo>
                <a:cubicBezTo>
                  <a:pt x="704885" y="3781927"/>
                  <a:pt x="703733" y="3775127"/>
                  <a:pt x="701544" y="3770517"/>
                </a:cubicBezTo>
                <a:cubicBezTo>
                  <a:pt x="699354" y="3765906"/>
                  <a:pt x="696473" y="3762448"/>
                  <a:pt x="693132" y="3760258"/>
                </a:cubicBezTo>
                <a:cubicBezTo>
                  <a:pt x="689674" y="3758068"/>
                  <a:pt x="686102" y="3756801"/>
                  <a:pt x="682300" y="3756339"/>
                </a:cubicBezTo>
                <a:cubicBezTo>
                  <a:pt x="678497" y="3755994"/>
                  <a:pt x="674925" y="3755763"/>
                  <a:pt x="671813" y="3755763"/>
                </a:cubicBezTo>
                <a:lnTo>
                  <a:pt x="156257" y="3755763"/>
                </a:lnTo>
                <a:lnTo>
                  <a:pt x="156257" y="4461273"/>
                </a:lnTo>
                <a:lnTo>
                  <a:pt x="0" y="4461273"/>
                </a:lnTo>
                <a:lnTo>
                  <a:pt x="0" y="3678193"/>
                </a:lnTo>
                <a:cubicBezTo>
                  <a:pt x="0" y="3667358"/>
                  <a:pt x="1959" y="3657215"/>
                  <a:pt x="5992" y="3647533"/>
                </a:cubicBezTo>
                <a:cubicBezTo>
                  <a:pt x="10026" y="3637967"/>
                  <a:pt x="15557" y="3629438"/>
                  <a:pt x="22471" y="3622291"/>
                </a:cubicBezTo>
                <a:cubicBezTo>
                  <a:pt x="29500" y="3615030"/>
                  <a:pt x="37797" y="3609498"/>
                  <a:pt x="47361" y="3605463"/>
                </a:cubicBezTo>
                <a:cubicBezTo>
                  <a:pt x="57041" y="3601429"/>
                  <a:pt x="67412" y="3599470"/>
                  <a:pt x="78590" y="3599470"/>
                </a:cubicBezTo>
                <a:close/>
                <a:moveTo>
                  <a:pt x="174810" y="2556132"/>
                </a:moveTo>
                <a:lnTo>
                  <a:pt x="174810" y="3105464"/>
                </a:lnTo>
                <a:lnTo>
                  <a:pt x="690366" y="3105464"/>
                </a:lnTo>
                <a:cubicBezTo>
                  <a:pt x="693132" y="3105464"/>
                  <a:pt x="696588" y="3105233"/>
                  <a:pt x="700622" y="3104888"/>
                </a:cubicBezTo>
                <a:cubicBezTo>
                  <a:pt x="704655" y="3104542"/>
                  <a:pt x="708227" y="3103274"/>
                  <a:pt x="711454" y="3101314"/>
                </a:cubicBezTo>
                <a:cubicBezTo>
                  <a:pt x="714680" y="3099355"/>
                  <a:pt x="717446" y="3095897"/>
                  <a:pt x="719866" y="3091056"/>
                </a:cubicBezTo>
                <a:cubicBezTo>
                  <a:pt x="722286" y="3086215"/>
                  <a:pt x="723438" y="3079645"/>
                  <a:pt x="723438" y="3071231"/>
                </a:cubicBezTo>
                <a:lnTo>
                  <a:pt x="723438" y="3042416"/>
                </a:lnTo>
                <a:lnTo>
                  <a:pt x="723438" y="3042186"/>
                </a:lnTo>
                <a:cubicBezTo>
                  <a:pt x="723438" y="3021785"/>
                  <a:pt x="720211" y="3003458"/>
                  <a:pt x="713873" y="2987207"/>
                </a:cubicBezTo>
                <a:cubicBezTo>
                  <a:pt x="707536" y="2970955"/>
                  <a:pt x="698432" y="2957123"/>
                  <a:pt x="686793" y="2945482"/>
                </a:cubicBezTo>
                <a:cubicBezTo>
                  <a:pt x="675155" y="2933841"/>
                  <a:pt x="661212" y="2924966"/>
                  <a:pt x="644733" y="2918742"/>
                </a:cubicBezTo>
                <a:cubicBezTo>
                  <a:pt x="628370" y="2912518"/>
                  <a:pt x="609817" y="2909406"/>
                  <a:pt x="589421" y="2909406"/>
                </a:cubicBezTo>
                <a:lnTo>
                  <a:pt x="237382" y="2909406"/>
                </a:lnTo>
                <a:lnTo>
                  <a:pt x="237382" y="2751960"/>
                </a:lnTo>
                <a:lnTo>
                  <a:pt x="519128" y="2751960"/>
                </a:lnTo>
                <a:cubicBezTo>
                  <a:pt x="539525" y="2751960"/>
                  <a:pt x="557962" y="2748848"/>
                  <a:pt x="574440" y="2742624"/>
                </a:cubicBezTo>
                <a:cubicBezTo>
                  <a:pt x="590919" y="2736400"/>
                  <a:pt x="604862" y="2727525"/>
                  <a:pt x="616501" y="2715883"/>
                </a:cubicBezTo>
                <a:cubicBezTo>
                  <a:pt x="628139" y="2704242"/>
                  <a:pt x="637012" y="2690295"/>
                  <a:pt x="643235" y="2674159"/>
                </a:cubicBezTo>
                <a:cubicBezTo>
                  <a:pt x="649458" y="2657907"/>
                  <a:pt x="652569" y="2639581"/>
                  <a:pt x="652569" y="2619181"/>
                </a:cubicBezTo>
                <a:lnTo>
                  <a:pt x="652569" y="2589788"/>
                </a:lnTo>
                <a:cubicBezTo>
                  <a:pt x="652569" y="2567313"/>
                  <a:pt x="641737" y="2556132"/>
                  <a:pt x="620073" y="2556132"/>
                </a:cubicBezTo>
                <a:close/>
                <a:moveTo>
                  <a:pt x="97373" y="2399839"/>
                </a:moveTo>
                <a:lnTo>
                  <a:pt x="620073" y="2399839"/>
                </a:lnTo>
                <a:cubicBezTo>
                  <a:pt x="639317" y="2399839"/>
                  <a:pt x="659944" y="2403181"/>
                  <a:pt x="681954" y="2410097"/>
                </a:cubicBezTo>
                <a:cubicBezTo>
                  <a:pt x="703964" y="2416898"/>
                  <a:pt x="724475" y="2427847"/>
                  <a:pt x="743604" y="2442831"/>
                </a:cubicBezTo>
                <a:cubicBezTo>
                  <a:pt x="762618" y="2457815"/>
                  <a:pt x="778404" y="2477409"/>
                  <a:pt x="791080" y="2501383"/>
                </a:cubicBezTo>
                <a:cubicBezTo>
                  <a:pt x="803756" y="2525473"/>
                  <a:pt x="809978" y="2554864"/>
                  <a:pt x="809978" y="2589788"/>
                </a:cubicBezTo>
                <a:lnTo>
                  <a:pt x="809978" y="2619181"/>
                </a:lnTo>
                <a:cubicBezTo>
                  <a:pt x="809978" y="2646842"/>
                  <a:pt x="805369" y="2676579"/>
                  <a:pt x="796150" y="2708391"/>
                </a:cubicBezTo>
                <a:cubicBezTo>
                  <a:pt x="786932" y="2740203"/>
                  <a:pt x="772182" y="2770401"/>
                  <a:pt x="751670" y="2798871"/>
                </a:cubicBezTo>
                <a:cubicBezTo>
                  <a:pt x="769301" y="2809705"/>
                  <a:pt x="785780" y="2822730"/>
                  <a:pt x="801221" y="2837944"/>
                </a:cubicBezTo>
                <a:cubicBezTo>
                  <a:pt x="816662" y="2853158"/>
                  <a:pt x="830144" y="2870793"/>
                  <a:pt x="841783" y="2890849"/>
                </a:cubicBezTo>
                <a:cubicBezTo>
                  <a:pt x="853422" y="2910904"/>
                  <a:pt x="862640" y="2933495"/>
                  <a:pt x="869439" y="2958737"/>
                </a:cubicBezTo>
                <a:cubicBezTo>
                  <a:pt x="876238" y="2983979"/>
                  <a:pt x="879695" y="3011872"/>
                  <a:pt x="879695" y="3042301"/>
                </a:cubicBezTo>
                <a:lnTo>
                  <a:pt x="879695" y="3072269"/>
                </a:lnTo>
                <a:cubicBezTo>
                  <a:pt x="879695" y="3091517"/>
                  <a:pt x="876353" y="3112149"/>
                  <a:pt x="869785" y="3134164"/>
                </a:cubicBezTo>
                <a:cubicBezTo>
                  <a:pt x="863101" y="3156178"/>
                  <a:pt x="852384" y="3176580"/>
                  <a:pt x="837289" y="3195482"/>
                </a:cubicBezTo>
                <a:cubicBezTo>
                  <a:pt x="822309" y="3214270"/>
                  <a:pt x="802719" y="3230060"/>
                  <a:pt x="778750" y="3242624"/>
                </a:cubicBezTo>
                <a:cubicBezTo>
                  <a:pt x="754666" y="3255302"/>
                  <a:pt x="725282" y="3261526"/>
                  <a:pt x="690366" y="3261526"/>
                </a:cubicBezTo>
                <a:lnTo>
                  <a:pt x="97373" y="3261526"/>
                </a:lnTo>
                <a:cubicBezTo>
                  <a:pt x="86195" y="3261526"/>
                  <a:pt x="75709" y="3259567"/>
                  <a:pt x="66144" y="3255533"/>
                </a:cubicBezTo>
                <a:cubicBezTo>
                  <a:pt x="56580" y="3251499"/>
                  <a:pt x="48168" y="3246082"/>
                  <a:pt x="41254" y="3239051"/>
                </a:cubicBezTo>
                <a:cubicBezTo>
                  <a:pt x="34224" y="3232020"/>
                  <a:pt x="28693" y="3223721"/>
                  <a:pt x="24775" y="3214154"/>
                </a:cubicBezTo>
                <a:cubicBezTo>
                  <a:pt x="20742" y="3204588"/>
                  <a:pt x="18783" y="3194099"/>
                  <a:pt x="18783" y="3182919"/>
                </a:cubicBezTo>
                <a:lnTo>
                  <a:pt x="18783" y="2478562"/>
                </a:lnTo>
                <a:cubicBezTo>
                  <a:pt x="18783" y="2467727"/>
                  <a:pt x="20742" y="2457584"/>
                  <a:pt x="24775" y="2447903"/>
                </a:cubicBezTo>
                <a:cubicBezTo>
                  <a:pt x="28808" y="2438336"/>
                  <a:pt x="34340" y="2429807"/>
                  <a:pt x="41254" y="2422661"/>
                </a:cubicBezTo>
                <a:cubicBezTo>
                  <a:pt x="48283" y="2415399"/>
                  <a:pt x="56580" y="2409867"/>
                  <a:pt x="66144" y="2405832"/>
                </a:cubicBezTo>
                <a:cubicBezTo>
                  <a:pt x="75824" y="2401798"/>
                  <a:pt x="86195" y="2399839"/>
                  <a:pt x="97373" y="2399839"/>
                </a:cubicBezTo>
                <a:close/>
                <a:moveTo>
                  <a:pt x="723899" y="1199631"/>
                </a:moveTo>
                <a:lnTo>
                  <a:pt x="880156" y="1199631"/>
                </a:lnTo>
                <a:lnTo>
                  <a:pt x="880156" y="1488128"/>
                </a:lnTo>
                <a:lnTo>
                  <a:pt x="880041" y="1488359"/>
                </a:lnTo>
                <a:cubicBezTo>
                  <a:pt x="880041" y="1523974"/>
                  <a:pt x="875547" y="1555901"/>
                  <a:pt x="866559" y="1583909"/>
                </a:cubicBezTo>
                <a:cubicBezTo>
                  <a:pt x="857570" y="1611918"/>
                  <a:pt x="845586" y="1636699"/>
                  <a:pt x="830836" y="1658137"/>
                </a:cubicBezTo>
                <a:cubicBezTo>
                  <a:pt x="815971" y="1679576"/>
                  <a:pt x="798686" y="1697902"/>
                  <a:pt x="778866" y="1713117"/>
                </a:cubicBezTo>
                <a:cubicBezTo>
                  <a:pt x="759046" y="1728331"/>
                  <a:pt x="738534" y="1740894"/>
                  <a:pt x="717331" y="1750691"/>
                </a:cubicBezTo>
                <a:cubicBezTo>
                  <a:pt x="696128" y="1760489"/>
                  <a:pt x="674579" y="1767635"/>
                  <a:pt x="652685" y="1772015"/>
                </a:cubicBezTo>
                <a:cubicBezTo>
                  <a:pt x="630905" y="1776395"/>
                  <a:pt x="610394" y="1778584"/>
                  <a:pt x="591150" y="1778584"/>
                </a:cubicBezTo>
                <a:lnTo>
                  <a:pt x="528002" y="1778584"/>
                </a:lnTo>
                <a:lnTo>
                  <a:pt x="528002" y="2061664"/>
                </a:lnTo>
                <a:lnTo>
                  <a:pt x="370592" y="2061664"/>
                </a:lnTo>
                <a:lnTo>
                  <a:pt x="370592" y="1778584"/>
                </a:lnTo>
                <a:lnTo>
                  <a:pt x="308136" y="1778584"/>
                </a:lnTo>
                <a:cubicBezTo>
                  <a:pt x="288891" y="1778584"/>
                  <a:pt x="268380" y="1776395"/>
                  <a:pt x="246601" y="1772015"/>
                </a:cubicBezTo>
                <a:cubicBezTo>
                  <a:pt x="224821" y="1767635"/>
                  <a:pt x="203157" y="1760489"/>
                  <a:pt x="181724" y="1750691"/>
                </a:cubicBezTo>
                <a:cubicBezTo>
                  <a:pt x="160290" y="1740894"/>
                  <a:pt x="139779" y="1728331"/>
                  <a:pt x="120074" y="1713117"/>
                </a:cubicBezTo>
                <a:cubicBezTo>
                  <a:pt x="100484" y="1697902"/>
                  <a:pt x="83084" y="1679576"/>
                  <a:pt x="68103" y="1658137"/>
                </a:cubicBezTo>
                <a:cubicBezTo>
                  <a:pt x="53123" y="1636699"/>
                  <a:pt x="41024" y="1611918"/>
                  <a:pt x="32035" y="1583564"/>
                </a:cubicBezTo>
                <a:cubicBezTo>
                  <a:pt x="23047" y="1555325"/>
                  <a:pt x="18553" y="1523513"/>
                  <a:pt x="18553" y="1488244"/>
                </a:cubicBezTo>
                <a:lnTo>
                  <a:pt x="18553" y="1199746"/>
                </a:lnTo>
                <a:lnTo>
                  <a:pt x="174810" y="1199746"/>
                </a:lnTo>
                <a:lnTo>
                  <a:pt x="174810" y="1488244"/>
                </a:lnTo>
                <a:cubicBezTo>
                  <a:pt x="174810" y="1508644"/>
                  <a:pt x="178037" y="1526971"/>
                  <a:pt x="184374" y="1543223"/>
                </a:cubicBezTo>
                <a:cubicBezTo>
                  <a:pt x="190828" y="1559474"/>
                  <a:pt x="199816" y="1573421"/>
                  <a:pt x="211454" y="1584947"/>
                </a:cubicBezTo>
                <a:cubicBezTo>
                  <a:pt x="223093" y="1596588"/>
                  <a:pt x="237152" y="1605463"/>
                  <a:pt x="253860" y="1611687"/>
                </a:cubicBezTo>
                <a:cubicBezTo>
                  <a:pt x="270454" y="1617911"/>
                  <a:pt x="289007" y="1621023"/>
                  <a:pt x="309403" y="1621023"/>
                </a:cubicBezTo>
                <a:lnTo>
                  <a:pt x="591265" y="1621023"/>
                </a:lnTo>
                <a:cubicBezTo>
                  <a:pt x="606130" y="1618603"/>
                  <a:pt x="621341" y="1615491"/>
                  <a:pt x="636898" y="1611687"/>
                </a:cubicBezTo>
                <a:cubicBezTo>
                  <a:pt x="652569" y="1607884"/>
                  <a:pt x="666743" y="1601429"/>
                  <a:pt x="679534" y="1592093"/>
                </a:cubicBezTo>
                <a:cubicBezTo>
                  <a:pt x="692325" y="1582872"/>
                  <a:pt x="702926" y="1570078"/>
                  <a:pt x="711339" y="1553596"/>
                </a:cubicBezTo>
                <a:cubicBezTo>
                  <a:pt x="719751" y="1537229"/>
                  <a:pt x="723899" y="1515330"/>
                  <a:pt x="723899" y="1488128"/>
                </a:cubicBezTo>
                <a:close/>
                <a:moveTo>
                  <a:pt x="18668" y="0"/>
                </a:moveTo>
                <a:lnTo>
                  <a:pt x="174925" y="0"/>
                </a:lnTo>
                <a:lnTo>
                  <a:pt x="174925" y="352121"/>
                </a:lnTo>
                <a:lnTo>
                  <a:pt x="723438" y="352121"/>
                </a:lnTo>
                <a:lnTo>
                  <a:pt x="723438" y="0"/>
                </a:lnTo>
                <a:lnTo>
                  <a:pt x="879695" y="0"/>
                </a:lnTo>
                <a:lnTo>
                  <a:pt x="879695" y="861803"/>
                </a:lnTo>
                <a:lnTo>
                  <a:pt x="723438" y="861803"/>
                </a:lnTo>
                <a:lnTo>
                  <a:pt x="723438" y="509682"/>
                </a:lnTo>
                <a:lnTo>
                  <a:pt x="174925" y="509682"/>
                </a:lnTo>
                <a:lnTo>
                  <a:pt x="174925" y="861803"/>
                </a:lnTo>
                <a:lnTo>
                  <a:pt x="18668" y="861803"/>
                </a:lnTo>
                <a:close/>
              </a:path>
            </a:pathLst>
          </a:custGeom>
          <a:solidFill>
            <a:srgbClr val="FFFFFF"/>
          </a:solidFill>
          <a:ln w="0" cap="flat">
            <a:noFill/>
            <a:prstDash val="solid"/>
            <a:miter/>
          </a:ln>
        </p:spPr>
        <p:txBody>
          <a:bodyPr rtlCol="0" anchor="ctr"/>
          <a:lstStyle/>
          <a:p>
            <a:endParaRPr lang="en-GB" dirty="0"/>
          </a:p>
        </p:txBody>
      </p:sp>
      <p:sp>
        <p:nvSpPr>
          <p:cNvPr id="8" name="!!Jointventure">
            <a:extLst>
              <a:ext uri="{FF2B5EF4-FFF2-40B4-BE49-F238E27FC236}">
                <a16:creationId xmlns:a16="http://schemas.microsoft.com/office/drawing/2014/main" id="{027440A4-E062-114A-CD75-53EB5770E9CA}"/>
              </a:ext>
            </a:extLst>
          </p:cNvPr>
          <p:cNvSpPr/>
          <p:nvPr/>
        </p:nvSpPr>
        <p:spPr>
          <a:xfrm rot="16200000">
            <a:off x="8485097" y="3165565"/>
            <a:ext cx="6872470" cy="541336"/>
          </a:xfrm>
          <a:prstGeom prst="rect">
            <a:avLst/>
          </a:prstGeom>
          <a:solidFill>
            <a:srgbClr val="F4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spc="200" dirty="0">
                <a:solidFill>
                  <a:schemeClr val="tx2"/>
                </a:solidFill>
                <a:latin typeface="Aptos Light" panose="020B0004020202020204" pitchFamily="34" charset="0"/>
              </a:rPr>
              <a:t>ETT BOLAG SAMÄGT AV SSAB, LKAB AND VATTENFALL</a:t>
            </a:r>
          </a:p>
        </p:txBody>
      </p:sp>
      <p:sp>
        <p:nvSpPr>
          <p:cNvPr id="5" name="TextBox 4">
            <a:extLst>
              <a:ext uri="{FF2B5EF4-FFF2-40B4-BE49-F238E27FC236}">
                <a16:creationId xmlns:a16="http://schemas.microsoft.com/office/drawing/2014/main" id="{B1FCD14F-40E3-A5B9-3D6F-68ABA905625E}"/>
              </a:ext>
            </a:extLst>
          </p:cNvPr>
          <p:cNvSpPr txBox="1"/>
          <p:nvPr/>
        </p:nvSpPr>
        <p:spPr>
          <a:xfrm>
            <a:off x="546101" y="3013501"/>
            <a:ext cx="5937826" cy="553998"/>
          </a:xfrm>
          <a:prstGeom prst="rect">
            <a:avLst/>
          </a:prstGeom>
          <a:noFill/>
        </p:spPr>
        <p:txBody>
          <a:bodyPr wrap="square" lIns="0" tIns="0" rIns="0" bIns="0" rtlCol="0">
            <a:spAutoFit/>
          </a:bodyPr>
          <a:lstStyle/>
          <a:p>
            <a:r>
              <a:rPr lang="sv-SE" dirty="0">
                <a:solidFill>
                  <a:schemeClr val="bg1"/>
                </a:solidFill>
              </a:rPr>
              <a:t>Nu finns tekniken som skapar mer flexibilitet och lönsamhet vid industriell produktion och användning av vätgas</a:t>
            </a:r>
          </a:p>
        </p:txBody>
      </p:sp>
      <p:sp>
        <p:nvSpPr>
          <p:cNvPr id="58" name="Title 57">
            <a:extLst>
              <a:ext uri="{FF2B5EF4-FFF2-40B4-BE49-F238E27FC236}">
                <a16:creationId xmlns:a16="http://schemas.microsoft.com/office/drawing/2014/main" id="{5B023FC4-3164-ED5C-5377-56517C0791F0}"/>
              </a:ext>
            </a:extLst>
          </p:cNvPr>
          <p:cNvSpPr>
            <a:spLocks noGrp="1"/>
          </p:cNvSpPr>
          <p:nvPr>
            <p:ph type="title"/>
          </p:nvPr>
        </p:nvSpPr>
        <p:spPr>
          <a:xfrm>
            <a:off x="546100" y="745200"/>
            <a:ext cx="10080625" cy="1356708"/>
          </a:xfrm>
        </p:spPr>
        <p:txBody>
          <a:bodyPr/>
          <a:lstStyle/>
          <a:p>
            <a:r>
              <a:rPr lang="sv-SE" sz="5000" dirty="0">
                <a:solidFill>
                  <a:schemeClr val="bg1"/>
                </a:solidFill>
              </a:rPr>
              <a:t>Lagring av fossilfri vätgas </a:t>
            </a:r>
            <a:br>
              <a:rPr lang="sv-SE" sz="5000" dirty="0">
                <a:solidFill>
                  <a:schemeClr val="bg1"/>
                </a:solidFill>
              </a:rPr>
            </a:br>
            <a:r>
              <a:rPr lang="sv-SE" sz="5000" dirty="0">
                <a:solidFill>
                  <a:schemeClr val="bg1"/>
                </a:solidFill>
              </a:rPr>
              <a:t>i inklädda bergrum redo </a:t>
            </a:r>
            <a:br>
              <a:rPr lang="sv-SE" sz="5000" dirty="0">
                <a:solidFill>
                  <a:schemeClr val="bg1"/>
                </a:solidFill>
              </a:rPr>
            </a:br>
            <a:r>
              <a:rPr lang="sv-SE" sz="5000" dirty="0">
                <a:solidFill>
                  <a:schemeClr val="bg1"/>
                </a:solidFill>
              </a:rPr>
              <a:t>för industrialisering</a:t>
            </a:r>
          </a:p>
        </p:txBody>
      </p:sp>
      <p:sp>
        <p:nvSpPr>
          <p:cNvPr id="12" name="!!Mask">
            <a:extLst>
              <a:ext uri="{FF2B5EF4-FFF2-40B4-BE49-F238E27FC236}">
                <a16:creationId xmlns:a16="http://schemas.microsoft.com/office/drawing/2014/main" id="{960A2C5C-9274-9AFA-F157-F4924861D199}"/>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731260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5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1+#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decel="5000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1+#ppt_w/2"/>
                                          </p:val>
                                        </p:tav>
                                        <p:tav tm="100000">
                                          <p:val>
                                            <p:strVal val="#ppt_x"/>
                                          </p:val>
                                        </p:tav>
                                      </p:tavLst>
                                    </p:anim>
                                    <p:anim calcmode="lin" valueType="num">
                                      <p:cBhvr additive="base">
                                        <p:cTn id="16" dur="500" fill="hold"/>
                                        <p:tgtEl>
                                          <p:spTgt spid="18"/>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8" grpId="0" animBg="1"/>
      <p:bldP spid="8" grpId="0" animBg="1"/>
      <p:bldP spid="5" grpId="0"/>
      <p:bldP spid="58" grpId="0"/>
    </p:bldLst>
  </p:timing>
</p:sld>
</file>

<file path=ppt/slides/slide10.xml><?xml version="1.0" encoding="utf-8"?>
<p:sld xmlns:a="http://schemas.openxmlformats.org/drawingml/2006/main" xmlns:r="http://schemas.openxmlformats.org/officeDocument/2006/relationships" xmlns:p="http://schemas.openxmlformats.org/presentationml/2006/main" showMasterSp="0" show="0">
  <p:cSld>
    <p:bg>
      <p:bgPr>
        <a:solidFill>
          <a:schemeClr val="accent5"/>
        </a:solidFill>
        <a:effectLst/>
      </p:bgPr>
    </p:bg>
    <p:spTree>
      <p:nvGrpSpPr>
        <p:cNvPr id="1" name="">
          <a:extLst>
            <a:ext uri="{FF2B5EF4-FFF2-40B4-BE49-F238E27FC236}">
              <a16:creationId xmlns:a16="http://schemas.microsoft.com/office/drawing/2014/main" id="{68DC7B9B-1448-98CB-10EA-AE8B20ECF21C}"/>
            </a:ext>
          </a:extLst>
        </p:cNvPr>
        <p:cNvGrpSpPr/>
        <p:nvPr/>
      </p:nvGrpSpPr>
      <p:grpSpPr>
        <a:xfrm>
          <a:off x="0" y="0"/>
          <a:ext cx="0" cy="0"/>
          <a:chOff x="0" y="0"/>
          <a:chExt cx="0" cy="0"/>
        </a:xfrm>
      </p:grpSpPr>
      <p:sp>
        <p:nvSpPr>
          <p:cNvPr id="12" name="Freeform 11">
            <a:extLst>
              <a:ext uri="{FF2B5EF4-FFF2-40B4-BE49-F238E27FC236}">
                <a16:creationId xmlns:a16="http://schemas.microsoft.com/office/drawing/2014/main" id="{3CD5ED3F-76E6-EE47-E18A-57ADCFC30146}"/>
              </a:ext>
            </a:extLst>
          </p:cNvPr>
          <p:cNvSpPr/>
          <p:nvPr/>
        </p:nvSpPr>
        <p:spPr>
          <a:xfrm>
            <a:off x="2419925" y="3678703"/>
            <a:ext cx="6843076" cy="2479156"/>
          </a:xfrm>
          <a:custGeom>
            <a:avLst/>
            <a:gdLst>
              <a:gd name="connsiteX0" fmla="*/ 4114343 w 6843076"/>
              <a:gd name="connsiteY0" fmla="*/ 0 h 2479156"/>
              <a:gd name="connsiteX1" fmla="*/ 4114343 w 6843076"/>
              <a:gd name="connsiteY1" fmla="*/ 166139 h 2479156"/>
              <a:gd name="connsiteX2" fmla="*/ 6638877 w 6843076"/>
              <a:gd name="connsiteY2" fmla="*/ 166139 h 2479156"/>
              <a:gd name="connsiteX3" fmla="*/ 6843077 w 6843076"/>
              <a:gd name="connsiteY3" fmla="*/ 290928 h 2479156"/>
              <a:gd name="connsiteX4" fmla="*/ 393538 w 6843076"/>
              <a:gd name="connsiteY4" fmla="*/ 290928 h 2479156"/>
              <a:gd name="connsiteX5" fmla="*/ 324451 w 6843076"/>
              <a:gd name="connsiteY5" fmla="*/ 360016 h 2479156"/>
              <a:gd name="connsiteX6" fmla="*/ 324451 w 6843076"/>
              <a:gd name="connsiteY6" fmla="*/ 1430931 h 2479156"/>
              <a:gd name="connsiteX7" fmla="*/ 406698 w 6843076"/>
              <a:gd name="connsiteY7" fmla="*/ 1430931 h 2479156"/>
              <a:gd name="connsiteX8" fmla="*/ 524113 w 6843076"/>
              <a:gd name="connsiteY8" fmla="*/ 1548345 h 2479156"/>
              <a:gd name="connsiteX9" fmla="*/ 524113 w 6843076"/>
              <a:gd name="connsiteY9" fmla="*/ 2361741 h 2479156"/>
              <a:gd name="connsiteX10" fmla="*/ 406698 w 6843076"/>
              <a:gd name="connsiteY10" fmla="*/ 2479156 h 2479156"/>
              <a:gd name="connsiteX11" fmla="*/ 117415 w 6843076"/>
              <a:gd name="connsiteY11" fmla="*/ 2479156 h 2479156"/>
              <a:gd name="connsiteX12" fmla="*/ 0 w 6843076"/>
              <a:gd name="connsiteY12" fmla="*/ 2361741 h 2479156"/>
              <a:gd name="connsiteX13" fmla="*/ 0 w 6843076"/>
              <a:gd name="connsiteY13" fmla="*/ 1548345 h 2479156"/>
              <a:gd name="connsiteX14" fmla="*/ 117415 w 6843076"/>
              <a:gd name="connsiteY14" fmla="*/ 1430931 h 2479156"/>
              <a:gd name="connsiteX15" fmla="*/ 199662 w 6843076"/>
              <a:gd name="connsiteY15" fmla="*/ 1430931 h 2479156"/>
              <a:gd name="connsiteX16" fmla="*/ 199662 w 6843076"/>
              <a:gd name="connsiteY16" fmla="*/ 334207 h 2479156"/>
              <a:gd name="connsiteX17" fmla="*/ 199662 w 6843076"/>
              <a:gd name="connsiteY17" fmla="*/ 308342 h 2479156"/>
              <a:gd name="connsiteX18" fmla="*/ 217927 w 6843076"/>
              <a:gd name="connsiteY18" fmla="*/ 290077 h 2479156"/>
              <a:gd name="connsiteX19" fmla="*/ 323600 w 6843076"/>
              <a:gd name="connsiteY19" fmla="*/ 184404 h 2479156"/>
              <a:gd name="connsiteX20" fmla="*/ 341865 w 6843076"/>
              <a:gd name="connsiteY20" fmla="*/ 166139 h 2479156"/>
              <a:gd name="connsiteX21" fmla="*/ 367730 w 6843076"/>
              <a:gd name="connsiteY21" fmla="*/ 166139 h 2479156"/>
              <a:gd name="connsiteX22" fmla="*/ 3989554 w 6843076"/>
              <a:gd name="connsiteY22" fmla="*/ 166139 h 2479156"/>
              <a:gd name="connsiteX23" fmla="*/ 3989554 w 6843076"/>
              <a:gd name="connsiteY23" fmla="*/ 0 h 247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6" h="2479156">
                <a:moveTo>
                  <a:pt x="4114343" y="0"/>
                </a:moveTo>
                <a:lnTo>
                  <a:pt x="4114343" y="166139"/>
                </a:lnTo>
                <a:lnTo>
                  <a:pt x="6638877" y="166139"/>
                </a:lnTo>
                <a:lnTo>
                  <a:pt x="6843077" y="290928"/>
                </a:lnTo>
                <a:lnTo>
                  <a:pt x="393538" y="290928"/>
                </a:lnTo>
                <a:lnTo>
                  <a:pt x="324451" y="360016"/>
                </a:lnTo>
                <a:lnTo>
                  <a:pt x="324451" y="1430931"/>
                </a:lnTo>
                <a:lnTo>
                  <a:pt x="406698" y="1430931"/>
                </a:lnTo>
                <a:lnTo>
                  <a:pt x="524113" y="1548345"/>
                </a:lnTo>
                <a:lnTo>
                  <a:pt x="524113" y="2361741"/>
                </a:lnTo>
                <a:lnTo>
                  <a:pt x="406698" y="2479156"/>
                </a:lnTo>
                <a:lnTo>
                  <a:pt x="117415" y="2479156"/>
                </a:lnTo>
                <a:lnTo>
                  <a:pt x="0" y="2361741"/>
                </a:lnTo>
                <a:lnTo>
                  <a:pt x="0" y="1548345"/>
                </a:lnTo>
                <a:lnTo>
                  <a:pt x="117415" y="1430931"/>
                </a:lnTo>
                <a:lnTo>
                  <a:pt x="199662" y="1430931"/>
                </a:lnTo>
                <a:lnTo>
                  <a:pt x="199662" y="334207"/>
                </a:lnTo>
                <a:lnTo>
                  <a:pt x="199662" y="308342"/>
                </a:lnTo>
                <a:lnTo>
                  <a:pt x="217927" y="290077"/>
                </a:lnTo>
                <a:lnTo>
                  <a:pt x="323600" y="184404"/>
                </a:lnTo>
                <a:lnTo>
                  <a:pt x="341865" y="166139"/>
                </a:lnTo>
                <a:lnTo>
                  <a:pt x="367730" y="166139"/>
                </a:lnTo>
                <a:lnTo>
                  <a:pt x="3989554" y="166139"/>
                </a:lnTo>
                <a:lnTo>
                  <a:pt x="3989554" y="0"/>
                </a:lnTo>
              </a:path>
            </a:pathLst>
          </a:custGeom>
          <a:solidFill>
            <a:schemeClr val="accent4">
              <a:alpha val="50000"/>
            </a:schemeClr>
          </a:solidFill>
          <a:ln w="9525" cap="flat">
            <a:noFill/>
            <a:prstDash val="solid"/>
            <a:miter/>
          </a:ln>
        </p:spPr>
        <p:txBody>
          <a:bodyPr rtlCol="0" anchor="ctr"/>
          <a:lstStyle/>
          <a:p>
            <a:endParaRPr lang="sv-SE"/>
          </a:p>
        </p:txBody>
      </p:sp>
      <p:sp>
        <p:nvSpPr>
          <p:cNvPr id="2" name="Rectangle 1">
            <a:extLst>
              <a:ext uri="{FF2B5EF4-FFF2-40B4-BE49-F238E27FC236}">
                <a16:creationId xmlns:a16="http://schemas.microsoft.com/office/drawing/2014/main" id="{9D2DCD1F-B36E-232D-81B5-8D3E2417BDAE}"/>
              </a:ext>
            </a:extLst>
          </p:cNvPr>
          <p:cNvSpPr/>
          <p:nvPr/>
        </p:nvSpPr>
        <p:spPr>
          <a:xfrm>
            <a:off x="2182996" y="5087983"/>
            <a:ext cx="980302" cy="1247277"/>
          </a:xfrm>
          <a:prstGeom prst="rect">
            <a:avLst/>
          </a:prstGeom>
          <a:solidFill>
            <a:srgbClr val="FDB316"/>
          </a:solidFill>
          <a:ln>
            <a:noFill/>
          </a:ln>
          <a:effectLst>
            <a:softEdge rad="48993"/>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reeform 16">
            <a:extLst>
              <a:ext uri="{FF2B5EF4-FFF2-40B4-BE49-F238E27FC236}">
                <a16:creationId xmlns:a16="http://schemas.microsoft.com/office/drawing/2014/main" id="{9223F9BF-6575-FE64-2E36-67A48D5C03E6}"/>
              </a:ext>
            </a:extLst>
          </p:cNvPr>
          <p:cNvSpPr/>
          <p:nvPr/>
        </p:nvSpPr>
        <p:spPr>
          <a:xfrm>
            <a:off x="6455366" y="3680651"/>
            <a:ext cx="2572294" cy="240822"/>
          </a:xfrm>
          <a:custGeom>
            <a:avLst/>
            <a:gdLst>
              <a:gd name="connsiteX0" fmla="*/ 2560836 w 2572294"/>
              <a:gd name="connsiteY0" fmla="*/ 212687 h 240822"/>
              <a:gd name="connsiteX1" fmla="*/ 2563502 w 2572294"/>
              <a:gd name="connsiteY1" fmla="*/ 213482 h 240822"/>
              <a:gd name="connsiteX2" fmla="*/ 2565941 w 2572294"/>
              <a:gd name="connsiteY2" fmla="*/ 214786 h 240822"/>
              <a:gd name="connsiteX3" fmla="*/ 2568097 w 2572294"/>
              <a:gd name="connsiteY3" fmla="*/ 216601 h 240822"/>
              <a:gd name="connsiteX4" fmla="*/ 2569855 w 2572294"/>
              <a:gd name="connsiteY4" fmla="*/ 218757 h 240822"/>
              <a:gd name="connsiteX5" fmla="*/ 2571159 w 2572294"/>
              <a:gd name="connsiteY5" fmla="*/ 221196 h 240822"/>
              <a:gd name="connsiteX6" fmla="*/ 2572010 w 2572294"/>
              <a:gd name="connsiteY6" fmla="*/ 223805 h 240822"/>
              <a:gd name="connsiteX7" fmla="*/ 2572294 w 2572294"/>
              <a:gd name="connsiteY7" fmla="*/ 226584 h 240822"/>
              <a:gd name="connsiteX8" fmla="*/ 2572010 w 2572294"/>
              <a:gd name="connsiteY8" fmla="*/ 229364 h 240822"/>
              <a:gd name="connsiteX9" fmla="*/ 2571159 w 2572294"/>
              <a:gd name="connsiteY9" fmla="*/ 232030 h 240822"/>
              <a:gd name="connsiteX10" fmla="*/ 2569855 w 2572294"/>
              <a:gd name="connsiteY10" fmla="*/ 234469 h 240822"/>
              <a:gd name="connsiteX11" fmla="*/ 2568097 w 2572294"/>
              <a:gd name="connsiteY11" fmla="*/ 236624 h 240822"/>
              <a:gd name="connsiteX12" fmla="*/ 2565941 w 2572294"/>
              <a:gd name="connsiteY12" fmla="*/ 238383 h 240822"/>
              <a:gd name="connsiteX13" fmla="*/ 2563502 w 2572294"/>
              <a:gd name="connsiteY13" fmla="*/ 239687 h 240822"/>
              <a:gd name="connsiteX14" fmla="*/ 2560836 w 2572294"/>
              <a:gd name="connsiteY14" fmla="*/ 240538 h 240822"/>
              <a:gd name="connsiteX15" fmla="*/ 2558114 w 2572294"/>
              <a:gd name="connsiteY15" fmla="*/ 240822 h 240822"/>
              <a:gd name="connsiteX16" fmla="*/ 2548074 w 2572294"/>
              <a:gd name="connsiteY16" fmla="*/ 236624 h 240822"/>
              <a:gd name="connsiteX17" fmla="*/ 2546315 w 2572294"/>
              <a:gd name="connsiteY17" fmla="*/ 234469 h 240822"/>
              <a:gd name="connsiteX18" fmla="*/ 2545010 w 2572294"/>
              <a:gd name="connsiteY18" fmla="*/ 232030 h 240822"/>
              <a:gd name="connsiteX19" fmla="*/ 2544159 w 2572294"/>
              <a:gd name="connsiteY19" fmla="*/ 229364 h 240822"/>
              <a:gd name="connsiteX20" fmla="*/ 2543933 w 2572294"/>
              <a:gd name="connsiteY20" fmla="*/ 226584 h 240822"/>
              <a:gd name="connsiteX21" fmla="*/ 2544159 w 2572294"/>
              <a:gd name="connsiteY21" fmla="*/ 223805 h 240822"/>
              <a:gd name="connsiteX22" fmla="*/ 2545010 w 2572294"/>
              <a:gd name="connsiteY22" fmla="*/ 221196 h 240822"/>
              <a:gd name="connsiteX23" fmla="*/ 2546315 w 2572294"/>
              <a:gd name="connsiteY23" fmla="*/ 218757 h 240822"/>
              <a:gd name="connsiteX24" fmla="*/ 2548074 w 2572294"/>
              <a:gd name="connsiteY24" fmla="*/ 216601 h 240822"/>
              <a:gd name="connsiteX25" fmla="*/ 2560836 w 2572294"/>
              <a:gd name="connsiteY25" fmla="*/ 212687 h 240822"/>
              <a:gd name="connsiteX26" fmla="*/ 14202 w 2572294"/>
              <a:gd name="connsiteY26" fmla="*/ 212602 h 240822"/>
              <a:gd name="connsiteX27" fmla="*/ 24220 w 2572294"/>
              <a:gd name="connsiteY27" fmla="*/ 216601 h 240822"/>
              <a:gd name="connsiteX28" fmla="*/ 25979 w 2572294"/>
              <a:gd name="connsiteY28" fmla="*/ 218756 h 240822"/>
              <a:gd name="connsiteX29" fmla="*/ 27283 w 2572294"/>
              <a:gd name="connsiteY29" fmla="*/ 221195 h 240822"/>
              <a:gd name="connsiteX30" fmla="*/ 28078 w 2572294"/>
              <a:gd name="connsiteY30" fmla="*/ 223805 h 240822"/>
              <a:gd name="connsiteX31" fmla="*/ 28361 w 2572294"/>
              <a:gd name="connsiteY31" fmla="*/ 226584 h 240822"/>
              <a:gd name="connsiteX32" fmla="*/ 28078 w 2572294"/>
              <a:gd name="connsiteY32" fmla="*/ 229363 h 240822"/>
              <a:gd name="connsiteX33" fmla="*/ 27283 w 2572294"/>
              <a:gd name="connsiteY33" fmla="*/ 232030 h 240822"/>
              <a:gd name="connsiteX34" fmla="*/ 25979 w 2572294"/>
              <a:gd name="connsiteY34" fmla="*/ 234469 h 240822"/>
              <a:gd name="connsiteX35" fmla="*/ 24220 w 2572294"/>
              <a:gd name="connsiteY35" fmla="*/ 236624 h 240822"/>
              <a:gd name="connsiteX36" fmla="*/ 14181 w 2572294"/>
              <a:gd name="connsiteY36" fmla="*/ 240765 h 240822"/>
              <a:gd name="connsiteX37" fmla="*/ 4141 w 2572294"/>
              <a:gd name="connsiteY37" fmla="*/ 236624 h 240822"/>
              <a:gd name="connsiteX38" fmla="*/ 0 w 2572294"/>
              <a:gd name="connsiteY38" fmla="*/ 226584 h 240822"/>
              <a:gd name="connsiteX39" fmla="*/ 284 w 2572294"/>
              <a:gd name="connsiteY39" fmla="*/ 223805 h 240822"/>
              <a:gd name="connsiteX40" fmla="*/ 1078 w 2572294"/>
              <a:gd name="connsiteY40" fmla="*/ 221195 h 240822"/>
              <a:gd name="connsiteX41" fmla="*/ 2382 w 2572294"/>
              <a:gd name="connsiteY41" fmla="*/ 218756 h 240822"/>
              <a:gd name="connsiteX42" fmla="*/ 4141 w 2572294"/>
              <a:gd name="connsiteY42" fmla="*/ 216601 h 240822"/>
              <a:gd name="connsiteX43" fmla="*/ 14202 w 2572294"/>
              <a:gd name="connsiteY43" fmla="*/ 212602 h 240822"/>
              <a:gd name="connsiteX44" fmla="*/ 2501561 w 2572294"/>
              <a:gd name="connsiteY44" fmla="*/ 212404 h 240822"/>
              <a:gd name="connsiteX45" fmla="*/ 2515741 w 2572294"/>
              <a:gd name="connsiteY45" fmla="*/ 226585 h 240822"/>
              <a:gd name="connsiteX46" fmla="*/ 2501561 w 2572294"/>
              <a:gd name="connsiteY46" fmla="*/ 240765 h 240822"/>
              <a:gd name="connsiteX47" fmla="*/ 2487380 w 2572294"/>
              <a:gd name="connsiteY47" fmla="*/ 226585 h 240822"/>
              <a:gd name="connsiteX48" fmla="*/ 2501561 w 2572294"/>
              <a:gd name="connsiteY48" fmla="*/ 212404 h 240822"/>
              <a:gd name="connsiteX49" fmla="*/ 2445009 w 2572294"/>
              <a:gd name="connsiteY49" fmla="*/ 212404 h 240822"/>
              <a:gd name="connsiteX50" fmla="*/ 2459190 w 2572294"/>
              <a:gd name="connsiteY50" fmla="*/ 226585 h 240822"/>
              <a:gd name="connsiteX51" fmla="*/ 2445009 w 2572294"/>
              <a:gd name="connsiteY51" fmla="*/ 240765 h 240822"/>
              <a:gd name="connsiteX52" fmla="*/ 2430829 w 2572294"/>
              <a:gd name="connsiteY52" fmla="*/ 226585 h 240822"/>
              <a:gd name="connsiteX53" fmla="*/ 2445009 w 2572294"/>
              <a:gd name="connsiteY53" fmla="*/ 212404 h 240822"/>
              <a:gd name="connsiteX54" fmla="*/ 2388514 w 2572294"/>
              <a:gd name="connsiteY54" fmla="*/ 212404 h 240822"/>
              <a:gd name="connsiteX55" fmla="*/ 2402695 w 2572294"/>
              <a:gd name="connsiteY55" fmla="*/ 226585 h 240822"/>
              <a:gd name="connsiteX56" fmla="*/ 2388514 w 2572294"/>
              <a:gd name="connsiteY56" fmla="*/ 240765 h 240822"/>
              <a:gd name="connsiteX57" fmla="*/ 2374333 w 2572294"/>
              <a:gd name="connsiteY57" fmla="*/ 226585 h 240822"/>
              <a:gd name="connsiteX58" fmla="*/ 2388514 w 2572294"/>
              <a:gd name="connsiteY58" fmla="*/ 212404 h 240822"/>
              <a:gd name="connsiteX59" fmla="*/ 2331962 w 2572294"/>
              <a:gd name="connsiteY59" fmla="*/ 212404 h 240822"/>
              <a:gd name="connsiteX60" fmla="*/ 2346143 w 2572294"/>
              <a:gd name="connsiteY60" fmla="*/ 226585 h 240822"/>
              <a:gd name="connsiteX61" fmla="*/ 2331962 w 2572294"/>
              <a:gd name="connsiteY61" fmla="*/ 240765 h 240822"/>
              <a:gd name="connsiteX62" fmla="*/ 2317782 w 2572294"/>
              <a:gd name="connsiteY62" fmla="*/ 226585 h 240822"/>
              <a:gd name="connsiteX63" fmla="*/ 2331962 w 2572294"/>
              <a:gd name="connsiteY63" fmla="*/ 212404 h 240822"/>
              <a:gd name="connsiteX64" fmla="*/ 2275410 w 2572294"/>
              <a:gd name="connsiteY64" fmla="*/ 212404 h 240822"/>
              <a:gd name="connsiteX65" fmla="*/ 2289590 w 2572294"/>
              <a:gd name="connsiteY65" fmla="*/ 226585 h 240822"/>
              <a:gd name="connsiteX66" fmla="*/ 2275410 w 2572294"/>
              <a:gd name="connsiteY66" fmla="*/ 240765 h 240822"/>
              <a:gd name="connsiteX67" fmla="*/ 2261229 w 2572294"/>
              <a:gd name="connsiteY67" fmla="*/ 226585 h 240822"/>
              <a:gd name="connsiteX68" fmla="*/ 2275410 w 2572294"/>
              <a:gd name="connsiteY68" fmla="*/ 212404 h 240822"/>
              <a:gd name="connsiteX69" fmla="*/ 2218915 w 2572294"/>
              <a:gd name="connsiteY69" fmla="*/ 212404 h 240822"/>
              <a:gd name="connsiteX70" fmla="*/ 2233095 w 2572294"/>
              <a:gd name="connsiteY70" fmla="*/ 226585 h 240822"/>
              <a:gd name="connsiteX71" fmla="*/ 2218915 w 2572294"/>
              <a:gd name="connsiteY71" fmla="*/ 240765 h 240822"/>
              <a:gd name="connsiteX72" fmla="*/ 2204734 w 2572294"/>
              <a:gd name="connsiteY72" fmla="*/ 226585 h 240822"/>
              <a:gd name="connsiteX73" fmla="*/ 2218915 w 2572294"/>
              <a:gd name="connsiteY73" fmla="*/ 212404 h 240822"/>
              <a:gd name="connsiteX74" fmla="*/ 2162363 w 2572294"/>
              <a:gd name="connsiteY74" fmla="*/ 212404 h 240822"/>
              <a:gd name="connsiteX75" fmla="*/ 2176543 w 2572294"/>
              <a:gd name="connsiteY75" fmla="*/ 226585 h 240822"/>
              <a:gd name="connsiteX76" fmla="*/ 2162363 w 2572294"/>
              <a:gd name="connsiteY76" fmla="*/ 240765 h 240822"/>
              <a:gd name="connsiteX77" fmla="*/ 2148182 w 2572294"/>
              <a:gd name="connsiteY77" fmla="*/ 226585 h 240822"/>
              <a:gd name="connsiteX78" fmla="*/ 2162363 w 2572294"/>
              <a:gd name="connsiteY78" fmla="*/ 212404 h 240822"/>
              <a:gd name="connsiteX79" fmla="*/ 2105811 w 2572294"/>
              <a:gd name="connsiteY79" fmla="*/ 212404 h 240822"/>
              <a:gd name="connsiteX80" fmla="*/ 2120047 w 2572294"/>
              <a:gd name="connsiteY80" fmla="*/ 226585 h 240822"/>
              <a:gd name="connsiteX81" fmla="*/ 2105811 w 2572294"/>
              <a:gd name="connsiteY81" fmla="*/ 240765 h 240822"/>
              <a:gd name="connsiteX82" fmla="*/ 2091686 w 2572294"/>
              <a:gd name="connsiteY82" fmla="*/ 226585 h 240822"/>
              <a:gd name="connsiteX83" fmla="*/ 2105811 w 2572294"/>
              <a:gd name="connsiteY83" fmla="*/ 212404 h 240822"/>
              <a:gd name="connsiteX84" fmla="*/ 2049315 w 2572294"/>
              <a:gd name="connsiteY84" fmla="*/ 212404 h 240822"/>
              <a:gd name="connsiteX85" fmla="*/ 2063496 w 2572294"/>
              <a:gd name="connsiteY85" fmla="*/ 226585 h 240822"/>
              <a:gd name="connsiteX86" fmla="*/ 2049315 w 2572294"/>
              <a:gd name="connsiteY86" fmla="*/ 240765 h 240822"/>
              <a:gd name="connsiteX87" fmla="*/ 2035135 w 2572294"/>
              <a:gd name="connsiteY87" fmla="*/ 226585 h 240822"/>
              <a:gd name="connsiteX88" fmla="*/ 2049315 w 2572294"/>
              <a:gd name="connsiteY88" fmla="*/ 212404 h 240822"/>
              <a:gd name="connsiteX89" fmla="*/ 1992763 w 2572294"/>
              <a:gd name="connsiteY89" fmla="*/ 212404 h 240822"/>
              <a:gd name="connsiteX90" fmla="*/ 2006944 w 2572294"/>
              <a:gd name="connsiteY90" fmla="*/ 226585 h 240822"/>
              <a:gd name="connsiteX91" fmla="*/ 1992763 w 2572294"/>
              <a:gd name="connsiteY91" fmla="*/ 240765 h 240822"/>
              <a:gd name="connsiteX92" fmla="*/ 1978583 w 2572294"/>
              <a:gd name="connsiteY92" fmla="*/ 226585 h 240822"/>
              <a:gd name="connsiteX93" fmla="*/ 1992763 w 2572294"/>
              <a:gd name="connsiteY93" fmla="*/ 212404 h 240822"/>
              <a:gd name="connsiteX94" fmla="*/ 1936268 w 2572294"/>
              <a:gd name="connsiteY94" fmla="*/ 212404 h 240822"/>
              <a:gd name="connsiteX95" fmla="*/ 1950449 w 2572294"/>
              <a:gd name="connsiteY95" fmla="*/ 226585 h 240822"/>
              <a:gd name="connsiteX96" fmla="*/ 1936268 w 2572294"/>
              <a:gd name="connsiteY96" fmla="*/ 240765 h 240822"/>
              <a:gd name="connsiteX97" fmla="*/ 1922088 w 2572294"/>
              <a:gd name="connsiteY97" fmla="*/ 226585 h 240822"/>
              <a:gd name="connsiteX98" fmla="*/ 1936268 w 2572294"/>
              <a:gd name="connsiteY98" fmla="*/ 212404 h 240822"/>
              <a:gd name="connsiteX99" fmla="*/ 1879716 w 2572294"/>
              <a:gd name="connsiteY99" fmla="*/ 212404 h 240822"/>
              <a:gd name="connsiteX100" fmla="*/ 1893896 w 2572294"/>
              <a:gd name="connsiteY100" fmla="*/ 226585 h 240822"/>
              <a:gd name="connsiteX101" fmla="*/ 1879716 w 2572294"/>
              <a:gd name="connsiteY101" fmla="*/ 240765 h 240822"/>
              <a:gd name="connsiteX102" fmla="*/ 1865535 w 2572294"/>
              <a:gd name="connsiteY102" fmla="*/ 226585 h 240822"/>
              <a:gd name="connsiteX103" fmla="*/ 1879716 w 2572294"/>
              <a:gd name="connsiteY103" fmla="*/ 212404 h 240822"/>
              <a:gd name="connsiteX104" fmla="*/ 1823164 w 2572294"/>
              <a:gd name="connsiteY104" fmla="*/ 212404 h 240822"/>
              <a:gd name="connsiteX105" fmla="*/ 1837344 w 2572294"/>
              <a:gd name="connsiteY105" fmla="*/ 226585 h 240822"/>
              <a:gd name="connsiteX106" fmla="*/ 1823164 w 2572294"/>
              <a:gd name="connsiteY106" fmla="*/ 240765 h 240822"/>
              <a:gd name="connsiteX107" fmla="*/ 1808983 w 2572294"/>
              <a:gd name="connsiteY107" fmla="*/ 226585 h 240822"/>
              <a:gd name="connsiteX108" fmla="*/ 1823164 w 2572294"/>
              <a:gd name="connsiteY108" fmla="*/ 212404 h 240822"/>
              <a:gd name="connsiteX109" fmla="*/ 1766669 w 2572294"/>
              <a:gd name="connsiteY109" fmla="*/ 212404 h 240822"/>
              <a:gd name="connsiteX110" fmla="*/ 1780849 w 2572294"/>
              <a:gd name="connsiteY110" fmla="*/ 226585 h 240822"/>
              <a:gd name="connsiteX111" fmla="*/ 1766669 w 2572294"/>
              <a:gd name="connsiteY111" fmla="*/ 240765 h 240822"/>
              <a:gd name="connsiteX112" fmla="*/ 1752488 w 2572294"/>
              <a:gd name="connsiteY112" fmla="*/ 226585 h 240822"/>
              <a:gd name="connsiteX113" fmla="*/ 1766669 w 2572294"/>
              <a:gd name="connsiteY113" fmla="*/ 212404 h 240822"/>
              <a:gd name="connsiteX114" fmla="*/ 1710117 w 2572294"/>
              <a:gd name="connsiteY114" fmla="*/ 212404 h 240822"/>
              <a:gd name="connsiteX115" fmla="*/ 1724297 w 2572294"/>
              <a:gd name="connsiteY115" fmla="*/ 226585 h 240822"/>
              <a:gd name="connsiteX116" fmla="*/ 1710117 w 2572294"/>
              <a:gd name="connsiteY116" fmla="*/ 240765 h 240822"/>
              <a:gd name="connsiteX117" fmla="*/ 1695936 w 2572294"/>
              <a:gd name="connsiteY117" fmla="*/ 226585 h 240822"/>
              <a:gd name="connsiteX118" fmla="*/ 1710117 w 2572294"/>
              <a:gd name="connsiteY118" fmla="*/ 212404 h 240822"/>
              <a:gd name="connsiteX119" fmla="*/ 1653564 w 2572294"/>
              <a:gd name="connsiteY119" fmla="*/ 212404 h 240822"/>
              <a:gd name="connsiteX120" fmla="*/ 1667745 w 2572294"/>
              <a:gd name="connsiteY120" fmla="*/ 226585 h 240822"/>
              <a:gd name="connsiteX121" fmla="*/ 1653564 w 2572294"/>
              <a:gd name="connsiteY121" fmla="*/ 240765 h 240822"/>
              <a:gd name="connsiteX122" fmla="*/ 1639384 w 2572294"/>
              <a:gd name="connsiteY122" fmla="*/ 226585 h 240822"/>
              <a:gd name="connsiteX123" fmla="*/ 1653564 w 2572294"/>
              <a:gd name="connsiteY123" fmla="*/ 212404 h 240822"/>
              <a:gd name="connsiteX124" fmla="*/ 1597069 w 2572294"/>
              <a:gd name="connsiteY124" fmla="*/ 212404 h 240822"/>
              <a:gd name="connsiteX125" fmla="*/ 1611250 w 2572294"/>
              <a:gd name="connsiteY125" fmla="*/ 226585 h 240822"/>
              <a:gd name="connsiteX126" fmla="*/ 1597069 w 2572294"/>
              <a:gd name="connsiteY126" fmla="*/ 240765 h 240822"/>
              <a:gd name="connsiteX127" fmla="*/ 1582889 w 2572294"/>
              <a:gd name="connsiteY127" fmla="*/ 226585 h 240822"/>
              <a:gd name="connsiteX128" fmla="*/ 1597069 w 2572294"/>
              <a:gd name="connsiteY128" fmla="*/ 212404 h 240822"/>
              <a:gd name="connsiteX129" fmla="*/ 1540517 w 2572294"/>
              <a:gd name="connsiteY129" fmla="*/ 212404 h 240822"/>
              <a:gd name="connsiteX130" fmla="*/ 1554698 w 2572294"/>
              <a:gd name="connsiteY130" fmla="*/ 226585 h 240822"/>
              <a:gd name="connsiteX131" fmla="*/ 1540517 w 2572294"/>
              <a:gd name="connsiteY131" fmla="*/ 240765 h 240822"/>
              <a:gd name="connsiteX132" fmla="*/ 1526337 w 2572294"/>
              <a:gd name="connsiteY132" fmla="*/ 226585 h 240822"/>
              <a:gd name="connsiteX133" fmla="*/ 1540517 w 2572294"/>
              <a:gd name="connsiteY133" fmla="*/ 212404 h 240822"/>
              <a:gd name="connsiteX134" fmla="*/ 1484022 w 2572294"/>
              <a:gd name="connsiteY134" fmla="*/ 212404 h 240822"/>
              <a:gd name="connsiteX135" fmla="*/ 1498202 w 2572294"/>
              <a:gd name="connsiteY135" fmla="*/ 226585 h 240822"/>
              <a:gd name="connsiteX136" fmla="*/ 1484022 w 2572294"/>
              <a:gd name="connsiteY136" fmla="*/ 240765 h 240822"/>
              <a:gd name="connsiteX137" fmla="*/ 1469841 w 2572294"/>
              <a:gd name="connsiteY137" fmla="*/ 226585 h 240822"/>
              <a:gd name="connsiteX138" fmla="*/ 1484022 w 2572294"/>
              <a:gd name="connsiteY138" fmla="*/ 212404 h 240822"/>
              <a:gd name="connsiteX139" fmla="*/ 1427470 w 2572294"/>
              <a:gd name="connsiteY139" fmla="*/ 212404 h 240822"/>
              <a:gd name="connsiteX140" fmla="*/ 1441650 w 2572294"/>
              <a:gd name="connsiteY140" fmla="*/ 226585 h 240822"/>
              <a:gd name="connsiteX141" fmla="*/ 1427470 w 2572294"/>
              <a:gd name="connsiteY141" fmla="*/ 240765 h 240822"/>
              <a:gd name="connsiteX142" fmla="*/ 1413289 w 2572294"/>
              <a:gd name="connsiteY142" fmla="*/ 226585 h 240822"/>
              <a:gd name="connsiteX143" fmla="*/ 1427470 w 2572294"/>
              <a:gd name="connsiteY143" fmla="*/ 212404 h 240822"/>
              <a:gd name="connsiteX144" fmla="*/ 1370918 w 2572294"/>
              <a:gd name="connsiteY144" fmla="*/ 212404 h 240822"/>
              <a:gd name="connsiteX145" fmla="*/ 1385099 w 2572294"/>
              <a:gd name="connsiteY145" fmla="*/ 226585 h 240822"/>
              <a:gd name="connsiteX146" fmla="*/ 1370918 w 2572294"/>
              <a:gd name="connsiteY146" fmla="*/ 240765 h 240822"/>
              <a:gd name="connsiteX147" fmla="*/ 1356738 w 2572294"/>
              <a:gd name="connsiteY147" fmla="*/ 226585 h 240822"/>
              <a:gd name="connsiteX148" fmla="*/ 1370918 w 2572294"/>
              <a:gd name="connsiteY148" fmla="*/ 212404 h 240822"/>
              <a:gd name="connsiteX149" fmla="*/ 1314423 w 2572294"/>
              <a:gd name="connsiteY149" fmla="*/ 212404 h 240822"/>
              <a:gd name="connsiteX150" fmla="*/ 1328604 w 2572294"/>
              <a:gd name="connsiteY150" fmla="*/ 226585 h 240822"/>
              <a:gd name="connsiteX151" fmla="*/ 1314423 w 2572294"/>
              <a:gd name="connsiteY151" fmla="*/ 240765 h 240822"/>
              <a:gd name="connsiteX152" fmla="*/ 1300242 w 2572294"/>
              <a:gd name="connsiteY152" fmla="*/ 226585 h 240822"/>
              <a:gd name="connsiteX153" fmla="*/ 1314423 w 2572294"/>
              <a:gd name="connsiteY153" fmla="*/ 212404 h 240822"/>
              <a:gd name="connsiteX154" fmla="*/ 1257870 w 2572294"/>
              <a:gd name="connsiteY154" fmla="*/ 212404 h 240822"/>
              <a:gd name="connsiteX155" fmla="*/ 1272051 w 2572294"/>
              <a:gd name="connsiteY155" fmla="*/ 226585 h 240822"/>
              <a:gd name="connsiteX156" fmla="*/ 1257870 w 2572294"/>
              <a:gd name="connsiteY156" fmla="*/ 240765 h 240822"/>
              <a:gd name="connsiteX157" fmla="*/ 1243690 w 2572294"/>
              <a:gd name="connsiteY157" fmla="*/ 226585 h 240822"/>
              <a:gd name="connsiteX158" fmla="*/ 1257870 w 2572294"/>
              <a:gd name="connsiteY158" fmla="*/ 212404 h 240822"/>
              <a:gd name="connsiteX159" fmla="*/ 1201319 w 2572294"/>
              <a:gd name="connsiteY159" fmla="*/ 212404 h 240822"/>
              <a:gd name="connsiteX160" fmla="*/ 1215556 w 2572294"/>
              <a:gd name="connsiteY160" fmla="*/ 226585 h 240822"/>
              <a:gd name="connsiteX161" fmla="*/ 1201319 w 2572294"/>
              <a:gd name="connsiteY161" fmla="*/ 240765 h 240822"/>
              <a:gd name="connsiteX162" fmla="*/ 1187138 w 2572294"/>
              <a:gd name="connsiteY162" fmla="*/ 226585 h 240822"/>
              <a:gd name="connsiteX163" fmla="*/ 1201319 w 2572294"/>
              <a:gd name="connsiteY163" fmla="*/ 212404 h 240822"/>
              <a:gd name="connsiteX164" fmla="*/ 1144824 w 2572294"/>
              <a:gd name="connsiteY164" fmla="*/ 212404 h 240822"/>
              <a:gd name="connsiteX165" fmla="*/ 1159004 w 2572294"/>
              <a:gd name="connsiteY165" fmla="*/ 226585 h 240822"/>
              <a:gd name="connsiteX166" fmla="*/ 1144824 w 2572294"/>
              <a:gd name="connsiteY166" fmla="*/ 240765 h 240822"/>
              <a:gd name="connsiteX167" fmla="*/ 1130643 w 2572294"/>
              <a:gd name="connsiteY167" fmla="*/ 226585 h 240822"/>
              <a:gd name="connsiteX168" fmla="*/ 1144824 w 2572294"/>
              <a:gd name="connsiteY168" fmla="*/ 212404 h 240822"/>
              <a:gd name="connsiteX169" fmla="*/ 1088272 w 2572294"/>
              <a:gd name="connsiteY169" fmla="*/ 212404 h 240822"/>
              <a:gd name="connsiteX170" fmla="*/ 1102452 w 2572294"/>
              <a:gd name="connsiteY170" fmla="*/ 226585 h 240822"/>
              <a:gd name="connsiteX171" fmla="*/ 1088272 w 2572294"/>
              <a:gd name="connsiteY171" fmla="*/ 240765 h 240822"/>
              <a:gd name="connsiteX172" fmla="*/ 1074091 w 2572294"/>
              <a:gd name="connsiteY172" fmla="*/ 226585 h 240822"/>
              <a:gd name="connsiteX173" fmla="*/ 1088272 w 2572294"/>
              <a:gd name="connsiteY173" fmla="*/ 212404 h 240822"/>
              <a:gd name="connsiteX174" fmla="*/ 1031776 w 2572294"/>
              <a:gd name="connsiteY174" fmla="*/ 212404 h 240822"/>
              <a:gd name="connsiteX175" fmla="*/ 1045956 w 2572294"/>
              <a:gd name="connsiteY175" fmla="*/ 226585 h 240822"/>
              <a:gd name="connsiteX176" fmla="*/ 1031776 w 2572294"/>
              <a:gd name="connsiteY176" fmla="*/ 240765 h 240822"/>
              <a:gd name="connsiteX177" fmla="*/ 1017539 w 2572294"/>
              <a:gd name="connsiteY177" fmla="*/ 226585 h 240822"/>
              <a:gd name="connsiteX178" fmla="*/ 1031776 w 2572294"/>
              <a:gd name="connsiteY178" fmla="*/ 212404 h 240822"/>
              <a:gd name="connsiteX179" fmla="*/ 975224 w 2572294"/>
              <a:gd name="connsiteY179" fmla="*/ 212404 h 240822"/>
              <a:gd name="connsiteX180" fmla="*/ 989405 w 2572294"/>
              <a:gd name="connsiteY180" fmla="*/ 226585 h 240822"/>
              <a:gd name="connsiteX181" fmla="*/ 975224 w 2572294"/>
              <a:gd name="connsiteY181" fmla="*/ 240765 h 240822"/>
              <a:gd name="connsiteX182" fmla="*/ 961044 w 2572294"/>
              <a:gd name="connsiteY182" fmla="*/ 226585 h 240822"/>
              <a:gd name="connsiteX183" fmla="*/ 975224 w 2572294"/>
              <a:gd name="connsiteY183" fmla="*/ 212404 h 240822"/>
              <a:gd name="connsiteX184" fmla="*/ 918672 w 2572294"/>
              <a:gd name="connsiteY184" fmla="*/ 212404 h 240822"/>
              <a:gd name="connsiteX185" fmla="*/ 932853 w 2572294"/>
              <a:gd name="connsiteY185" fmla="*/ 226585 h 240822"/>
              <a:gd name="connsiteX186" fmla="*/ 918672 w 2572294"/>
              <a:gd name="connsiteY186" fmla="*/ 240765 h 240822"/>
              <a:gd name="connsiteX187" fmla="*/ 904492 w 2572294"/>
              <a:gd name="connsiteY187" fmla="*/ 226585 h 240822"/>
              <a:gd name="connsiteX188" fmla="*/ 918672 w 2572294"/>
              <a:gd name="connsiteY188" fmla="*/ 212404 h 240822"/>
              <a:gd name="connsiteX189" fmla="*/ 862177 w 2572294"/>
              <a:gd name="connsiteY189" fmla="*/ 212404 h 240822"/>
              <a:gd name="connsiteX190" fmla="*/ 876358 w 2572294"/>
              <a:gd name="connsiteY190" fmla="*/ 226585 h 240822"/>
              <a:gd name="connsiteX191" fmla="*/ 862177 w 2572294"/>
              <a:gd name="connsiteY191" fmla="*/ 240765 h 240822"/>
              <a:gd name="connsiteX192" fmla="*/ 847997 w 2572294"/>
              <a:gd name="connsiteY192" fmla="*/ 226585 h 240822"/>
              <a:gd name="connsiteX193" fmla="*/ 862177 w 2572294"/>
              <a:gd name="connsiteY193" fmla="*/ 212404 h 240822"/>
              <a:gd name="connsiteX194" fmla="*/ 805625 w 2572294"/>
              <a:gd name="connsiteY194" fmla="*/ 212404 h 240822"/>
              <a:gd name="connsiteX195" fmla="*/ 819805 w 2572294"/>
              <a:gd name="connsiteY195" fmla="*/ 226585 h 240822"/>
              <a:gd name="connsiteX196" fmla="*/ 805625 w 2572294"/>
              <a:gd name="connsiteY196" fmla="*/ 240765 h 240822"/>
              <a:gd name="connsiteX197" fmla="*/ 791444 w 2572294"/>
              <a:gd name="connsiteY197" fmla="*/ 226585 h 240822"/>
              <a:gd name="connsiteX198" fmla="*/ 805625 w 2572294"/>
              <a:gd name="connsiteY198" fmla="*/ 212404 h 240822"/>
              <a:gd name="connsiteX199" fmla="*/ 749073 w 2572294"/>
              <a:gd name="connsiteY199" fmla="*/ 212404 h 240822"/>
              <a:gd name="connsiteX200" fmla="*/ 763310 w 2572294"/>
              <a:gd name="connsiteY200" fmla="*/ 226585 h 240822"/>
              <a:gd name="connsiteX201" fmla="*/ 749073 w 2572294"/>
              <a:gd name="connsiteY201" fmla="*/ 240765 h 240822"/>
              <a:gd name="connsiteX202" fmla="*/ 734949 w 2572294"/>
              <a:gd name="connsiteY202" fmla="*/ 226585 h 240822"/>
              <a:gd name="connsiteX203" fmla="*/ 749073 w 2572294"/>
              <a:gd name="connsiteY203" fmla="*/ 212404 h 240822"/>
              <a:gd name="connsiteX204" fmla="*/ 692578 w 2572294"/>
              <a:gd name="connsiteY204" fmla="*/ 212404 h 240822"/>
              <a:gd name="connsiteX205" fmla="*/ 706758 w 2572294"/>
              <a:gd name="connsiteY205" fmla="*/ 226585 h 240822"/>
              <a:gd name="connsiteX206" fmla="*/ 692578 w 2572294"/>
              <a:gd name="connsiteY206" fmla="*/ 240765 h 240822"/>
              <a:gd name="connsiteX207" fmla="*/ 678397 w 2572294"/>
              <a:gd name="connsiteY207" fmla="*/ 226585 h 240822"/>
              <a:gd name="connsiteX208" fmla="*/ 692578 w 2572294"/>
              <a:gd name="connsiteY208" fmla="*/ 212404 h 240822"/>
              <a:gd name="connsiteX209" fmla="*/ 636026 w 2572294"/>
              <a:gd name="connsiteY209" fmla="*/ 212404 h 240822"/>
              <a:gd name="connsiteX210" fmla="*/ 650206 w 2572294"/>
              <a:gd name="connsiteY210" fmla="*/ 226585 h 240822"/>
              <a:gd name="connsiteX211" fmla="*/ 636026 w 2572294"/>
              <a:gd name="connsiteY211" fmla="*/ 240765 h 240822"/>
              <a:gd name="connsiteX212" fmla="*/ 621845 w 2572294"/>
              <a:gd name="connsiteY212" fmla="*/ 226585 h 240822"/>
              <a:gd name="connsiteX213" fmla="*/ 636026 w 2572294"/>
              <a:gd name="connsiteY213" fmla="*/ 212404 h 240822"/>
              <a:gd name="connsiteX214" fmla="*/ 579530 w 2572294"/>
              <a:gd name="connsiteY214" fmla="*/ 212404 h 240822"/>
              <a:gd name="connsiteX215" fmla="*/ 593711 w 2572294"/>
              <a:gd name="connsiteY215" fmla="*/ 226585 h 240822"/>
              <a:gd name="connsiteX216" fmla="*/ 579530 w 2572294"/>
              <a:gd name="connsiteY216" fmla="*/ 240765 h 240822"/>
              <a:gd name="connsiteX217" fmla="*/ 565350 w 2572294"/>
              <a:gd name="connsiteY217" fmla="*/ 226585 h 240822"/>
              <a:gd name="connsiteX218" fmla="*/ 579530 w 2572294"/>
              <a:gd name="connsiteY218" fmla="*/ 212404 h 240822"/>
              <a:gd name="connsiteX219" fmla="*/ 522978 w 2572294"/>
              <a:gd name="connsiteY219" fmla="*/ 212404 h 240822"/>
              <a:gd name="connsiteX220" fmla="*/ 537159 w 2572294"/>
              <a:gd name="connsiteY220" fmla="*/ 226585 h 240822"/>
              <a:gd name="connsiteX221" fmla="*/ 522978 w 2572294"/>
              <a:gd name="connsiteY221" fmla="*/ 240765 h 240822"/>
              <a:gd name="connsiteX222" fmla="*/ 508798 w 2572294"/>
              <a:gd name="connsiteY222" fmla="*/ 226585 h 240822"/>
              <a:gd name="connsiteX223" fmla="*/ 522978 w 2572294"/>
              <a:gd name="connsiteY223" fmla="*/ 212404 h 240822"/>
              <a:gd name="connsiteX224" fmla="*/ 466426 w 2572294"/>
              <a:gd name="connsiteY224" fmla="*/ 212404 h 240822"/>
              <a:gd name="connsiteX225" fmla="*/ 480607 w 2572294"/>
              <a:gd name="connsiteY225" fmla="*/ 226585 h 240822"/>
              <a:gd name="connsiteX226" fmla="*/ 466426 w 2572294"/>
              <a:gd name="connsiteY226" fmla="*/ 240765 h 240822"/>
              <a:gd name="connsiteX227" fmla="*/ 452246 w 2572294"/>
              <a:gd name="connsiteY227" fmla="*/ 226585 h 240822"/>
              <a:gd name="connsiteX228" fmla="*/ 466426 w 2572294"/>
              <a:gd name="connsiteY228" fmla="*/ 212404 h 240822"/>
              <a:gd name="connsiteX229" fmla="*/ 409931 w 2572294"/>
              <a:gd name="connsiteY229" fmla="*/ 212404 h 240822"/>
              <a:gd name="connsiteX230" fmla="*/ 424112 w 2572294"/>
              <a:gd name="connsiteY230" fmla="*/ 226585 h 240822"/>
              <a:gd name="connsiteX231" fmla="*/ 409931 w 2572294"/>
              <a:gd name="connsiteY231" fmla="*/ 240765 h 240822"/>
              <a:gd name="connsiteX232" fmla="*/ 395751 w 2572294"/>
              <a:gd name="connsiteY232" fmla="*/ 226585 h 240822"/>
              <a:gd name="connsiteX233" fmla="*/ 409931 w 2572294"/>
              <a:gd name="connsiteY233" fmla="*/ 212404 h 240822"/>
              <a:gd name="connsiteX234" fmla="*/ 353379 w 2572294"/>
              <a:gd name="connsiteY234" fmla="*/ 212404 h 240822"/>
              <a:gd name="connsiteX235" fmla="*/ 367559 w 2572294"/>
              <a:gd name="connsiteY235" fmla="*/ 226585 h 240822"/>
              <a:gd name="connsiteX236" fmla="*/ 353379 w 2572294"/>
              <a:gd name="connsiteY236" fmla="*/ 240765 h 240822"/>
              <a:gd name="connsiteX237" fmla="*/ 339198 w 2572294"/>
              <a:gd name="connsiteY237" fmla="*/ 226585 h 240822"/>
              <a:gd name="connsiteX238" fmla="*/ 353379 w 2572294"/>
              <a:gd name="connsiteY238" fmla="*/ 212404 h 240822"/>
              <a:gd name="connsiteX239" fmla="*/ 296884 w 2572294"/>
              <a:gd name="connsiteY239" fmla="*/ 212404 h 240822"/>
              <a:gd name="connsiteX240" fmla="*/ 311008 w 2572294"/>
              <a:gd name="connsiteY240" fmla="*/ 226585 h 240822"/>
              <a:gd name="connsiteX241" fmla="*/ 296884 w 2572294"/>
              <a:gd name="connsiteY241" fmla="*/ 240765 h 240822"/>
              <a:gd name="connsiteX242" fmla="*/ 282647 w 2572294"/>
              <a:gd name="connsiteY242" fmla="*/ 226585 h 240822"/>
              <a:gd name="connsiteX243" fmla="*/ 296884 w 2572294"/>
              <a:gd name="connsiteY243" fmla="*/ 212404 h 240822"/>
              <a:gd name="connsiteX244" fmla="*/ 240332 w 2572294"/>
              <a:gd name="connsiteY244" fmla="*/ 212404 h 240822"/>
              <a:gd name="connsiteX245" fmla="*/ 254512 w 2572294"/>
              <a:gd name="connsiteY245" fmla="*/ 226585 h 240822"/>
              <a:gd name="connsiteX246" fmla="*/ 240332 w 2572294"/>
              <a:gd name="connsiteY246" fmla="*/ 240765 h 240822"/>
              <a:gd name="connsiteX247" fmla="*/ 226151 w 2572294"/>
              <a:gd name="connsiteY247" fmla="*/ 226585 h 240822"/>
              <a:gd name="connsiteX248" fmla="*/ 240332 w 2572294"/>
              <a:gd name="connsiteY248" fmla="*/ 212404 h 240822"/>
              <a:gd name="connsiteX249" fmla="*/ 183780 w 2572294"/>
              <a:gd name="connsiteY249" fmla="*/ 212404 h 240822"/>
              <a:gd name="connsiteX250" fmla="*/ 197960 w 2572294"/>
              <a:gd name="connsiteY250" fmla="*/ 226585 h 240822"/>
              <a:gd name="connsiteX251" fmla="*/ 183780 w 2572294"/>
              <a:gd name="connsiteY251" fmla="*/ 240765 h 240822"/>
              <a:gd name="connsiteX252" fmla="*/ 169599 w 2572294"/>
              <a:gd name="connsiteY252" fmla="*/ 226585 h 240822"/>
              <a:gd name="connsiteX253" fmla="*/ 183780 w 2572294"/>
              <a:gd name="connsiteY253" fmla="*/ 212404 h 240822"/>
              <a:gd name="connsiteX254" fmla="*/ 127284 w 2572294"/>
              <a:gd name="connsiteY254" fmla="*/ 212404 h 240822"/>
              <a:gd name="connsiteX255" fmla="*/ 141408 w 2572294"/>
              <a:gd name="connsiteY255" fmla="*/ 226585 h 240822"/>
              <a:gd name="connsiteX256" fmla="*/ 127284 w 2572294"/>
              <a:gd name="connsiteY256" fmla="*/ 240765 h 240822"/>
              <a:gd name="connsiteX257" fmla="*/ 113104 w 2572294"/>
              <a:gd name="connsiteY257" fmla="*/ 226585 h 240822"/>
              <a:gd name="connsiteX258" fmla="*/ 127284 w 2572294"/>
              <a:gd name="connsiteY258" fmla="*/ 212404 h 240822"/>
              <a:gd name="connsiteX259" fmla="*/ 70733 w 2572294"/>
              <a:gd name="connsiteY259" fmla="*/ 212404 h 240822"/>
              <a:gd name="connsiteX260" fmla="*/ 84913 w 2572294"/>
              <a:gd name="connsiteY260" fmla="*/ 226585 h 240822"/>
              <a:gd name="connsiteX261" fmla="*/ 70733 w 2572294"/>
              <a:gd name="connsiteY261" fmla="*/ 240765 h 240822"/>
              <a:gd name="connsiteX262" fmla="*/ 56552 w 2572294"/>
              <a:gd name="connsiteY262" fmla="*/ 226585 h 240822"/>
              <a:gd name="connsiteX263" fmla="*/ 70733 w 2572294"/>
              <a:gd name="connsiteY263" fmla="*/ 212404 h 240822"/>
              <a:gd name="connsiteX264" fmla="*/ 14181 w 2572294"/>
              <a:gd name="connsiteY264" fmla="*/ 159312 h 240822"/>
              <a:gd name="connsiteX265" fmla="*/ 28361 w 2572294"/>
              <a:gd name="connsiteY265" fmla="*/ 173492 h 240822"/>
              <a:gd name="connsiteX266" fmla="*/ 14181 w 2572294"/>
              <a:gd name="connsiteY266" fmla="*/ 187673 h 240822"/>
              <a:gd name="connsiteX267" fmla="*/ 0 w 2572294"/>
              <a:gd name="connsiteY267" fmla="*/ 173492 h 240822"/>
              <a:gd name="connsiteX268" fmla="*/ 14181 w 2572294"/>
              <a:gd name="connsiteY268" fmla="*/ 159312 h 240822"/>
              <a:gd name="connsiteX269" fmla="*/ 14181 w 2572294"/>
              <a:gd name="connsiteY269" fmla="*/ 106220 h 240822"/>
              <a:gd name="connsiteX270" fmla="*/ 28361 w 2572294"/>
              <a:gd name="connsiteY270" fmla="*/ 120400 h 240822"/>
              <a:gd name="connsiteX271" fmla="*/ 14181 w 2572294"/>
              <a:gd name="connsiteY271" fmla="*/ 134581 h 240822"/>
              <a:gd name="connsiteX272" fmla="*/ 0 w 2572294"/>
              <a:gd name="connsiteY272" fmla="*/ 120400 h 240822"/>
              <a:gd name="connsiteX273" fmla="*/ 14181 w 2572294"/>
              <a:gd name="connsiteY273" fmla="*/ 106220 h 240822"/>
              <a:gd name="connsiteX274" fmla="*/ 14181 w 2572294"/>
              <a:gd name="connsiteY274" fmla="*/ 53071 h 240822"/>
              <a:gd name="connsiteX275" fmla="*/ 28361 w 2572294"/>
              <a:gd name="connsiteY275" fmla="*/ 67252 h 240822"/>
              <a:gd name="connsiteX276" fmla="*/ 14181 w 2572294"/>
              <a:gd name="connsiteY276" fmla="*/ 81432 h 240822"/>
              <a:gd name="connsiteX277" fmla="*/ 0 w 2572294"/>
              <a:gd name="connsiteY277" fmla="*/ 67252 h 240822"/>
              <a:gd name="connsiteX278" fmla="*/ 14181 w 2572294"/>
              <a:gd name="connsiteY278" fmla="*/ 53071 h 240822"/>
              <a:gd name="connsiteX279" fmla="*/ 11401 w 2572294"/>
              <a:gd name="connsiteY279" fmla="*/ 263 h 240822"/>
              <a:gd name="connsiteX280" fmla="*/ 24220 w 2572294"/>
              <a:gd name="connsiteY280" fmla="*/ 4121 h 240822"/>
              <a:gd name="connsiteX281" fmla="*/ 28361 w 2572294"/>
              <a:gd name="connsiteY281" fmla="*/ 14160 h 240822"/>
              <a:gd name="connsiteX282" fmla="*/ 24220 w 2572294"/>
              <a:gd name="connsiteY282" fmla="*/ 24200 h 240822"/>
              <a:gd name="connsiteX283" fmla="*/ 14181 w 2572294"/>
              <a:gd name="connsiteY283" fmla="*/ 28341 h 240822"/>
              <a:gd name="connsiteX284" fmla="*/ 11401 w 2572294"/>
              <a:gd name="connsiteY284" fmla="*/ 28057 h 240822"/>
              <a:gd name="connsiteX285" fmla="*/ 8792 w 2572294"/>
              <a:gd name="connsiteY285" fmla="*/ 27263 h 240822"/>
              <a:gd name="connsiteX286" fmla="*/ 6353 w 2572294"/>
              <a:gd name="connsiteY286" fmla="*/ 25958 h 240822"/>
              <a:gd name="connsiteX287" fmla="*/ 4197 w 2572294"/>
              <a:gd name="connsiteY287" fmla="*/ 24200 h 240822"/>
              <a:gd name="connsiteX288" fmla="*/ 0 w 2572294"/>
              <a:gd name="connsiteY288" fmla="*/ 14160 h 240822"/>
              <a:gd name="connsiteX289" fmla="*/ 4197 w 2572294"/>
              <a:gd name="connsiteY289" fmla="*/ 4121 h 240822"/>
              <a:gd name="connsiteX290" fmla="*/ 6353 w 2572294"/>
              <a:gd name="connsiteY290" fmla="*/ 2362 h 240822"/>
              <a:gd name="connsiteX291" fmla="*/ 8792 w 2572294"/>
              <a:gd name="connsiteY291" fmla="*/ 1057 h 240822"/>
              <a:gd name="connsiteX292" fmla="*/ 11401 w 2572294"/>
              <a:gd name="connsiteY292" fmla="*/ 263 h 2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2572294" h="240822">
                <a:moveTo>
                  <a:pt x="2560836" y="212687"/>
                </a:moveTo>
                <a:cubicBezTo>
                  <a:pt x="2561743" y="212858"/>
                  <a:pt x="2562651" y="213141"/>
                  <a:pt x="2563502" y="213482"/>
                </a:cubicBezTo>
                <a:cubicBezTo>
                  <a:pt x="2564353" y="213879"/>
                  <a:pt x="2565204" y="214276"/>
                  <a:pt x="2565941" y="214786"/>
                </a:cubicBezTo>
                <a:cubicBezTo>
                  <a:pt x="2566735" y="215297"/>
                  <a:pt x="2567472" y="215921"/>
                  <a:pt x="2568097" y="216601"/>
                </a:cubicBezTo>
                <a:cubicBezTo>
                  <a:pt x="2568777" y="217226"/>
                  <a:pt x="2569344" y="217963"/>
                  <a:pt x="2569855" y="218757"/>
                </a:cubicBezTo>
                <a:cubicBezTo>
                  <a:pt x="2570365" y="219494"/>
                  <a:pt x="2570819" y="220345"/>
                  <a:pt x="2571159" y="221196"/>
                </a:cubicBezTo>
                <a:cubicBezTo>
                  <a:pt x="2571557" y="222047"/>
                  <a:pt x="2571783" y="222898"/>
                  <a:pt x="2572010" y="223805"/>
                </a:cubicBezTo>
                <a:cubicBezTo>
                  <a:pt x="2572181" y="224769"/>
                  <a:pt x="2572294" y="225677"/>
                  <a:pt x="2572294" y="226584"/>
                </a:cubicBezTo>
                <a:cubicBezTo>
                  <a:pt x="2572294" y="227549"/>
                  <a:pt x="2572181" y="228456"/>
                  <a:pt x="2572010" y="229364"/>
                </a:cubicBezTo>
                <a:cubicBezTo>
                  <a:pt x="2571783" y="230272"/>
                  <a:pt x="2571557" y="231179"/>
                  <a:pt x="2571159" y="232030"/>
                </a:cubicBezTo>
                <a:cubicBezTo>
                  <a:pt x="2570819" y="232881"/>
                  <a:pt x="2570365" y="233732"/>
                  <a:pt x="2569855" y="234469"/>
                </a:cubicBezTo>
                <a:cubicBezTo>
                  <a:pt x="2569344" y="235263"/>
                  <a:pt x="2568777" y="236001"/>
                  <a:pt x="2568097" y="236624"/>
                </a:cubicBezTo>
                <a:cubicBezTo>
                  <a:pt x="2567472" y="237305"/>
                  <a:pt x="2566735" y="237872"/>
                  <a:pt x="2565941" y="238383"/>
                </a:cubicBezTo>
                <a:cubicBezTo>
                  <a:pt x="2565204" y="238893"/>
                  <a:pt x="2564353" y="239347"/>
                  <a:pt x="2563502" y="239687"/>
                </a:cubicBezTo>
                <a:cubicBezTo>
                  <a:pt x="2562651" y="240084"/>
                  <a:pt x="2561743" y="240311"/>
                  <a:pt x="2560836" y="240538"/>
                </a:cubicBezTo>
                <a:cubicBezTo>
                  <a:pt x="2559928" y="240708"/>
                  <a:pt x="2559021" y="240822"/>
                  <a:pt x="2558114" y="240822"/>
                </a:cubicBezTo>
                <a:cubicBezTo>
                  <a:pt x="2554370" y="240822"/>
                  <a:pt x="2550683" y="239290"/>
                  <a:pt x="2548074" y="236624"/>
                </a:cubicBezTo>
                <a:cubicBezTo>
                  <a:pt x="2547393" y="236001"/>
                  <a:pt x="2546826" y="235263"/>
                  <a:pt x="2546315" y="234469"/>
                </a:cubicBezTo>
                <a:cubicBezTo>
                  <a:pt x="2545805" y="233732"/>
                  <a:pt x="2545351" y="232881"/>
                  <a:pt x="2545010" y="232030"/>
                </a:cubicBezTo>
                <a:cubicBezTo>
                  <a:pt x="2544614" y="231179"/>
                  <a:pt x="2544387" y="230272"/>
                  <a:pt x="2544159" y="229364"/>
                </a:cubicBezTo>
                <a:cubicBezTo>
                  <a:pt x="2543990" y="228456"/>
                  <a:pt x="2543933" y="227549"/>
                  <a:pt x="2543933" y="226584"/>
                </a:cubicBezTo>
                <a:cubicBezTo>
                  <a:pt x="2543933" y="225677"/>
                  <a:pt x="2543933" y="224769"/>
                  <a:pt x="2544159" y="223805"/>
                </a:cubicBezTo>
                <a:cubicBezTo>
                  <a:pt x="2544387" y="222898"/>
                  <a:pt x="2544614" y="222047"/>
                  <a:pt x="2545010" y="221196"/>
                </a:cubicBezTo>
                <a:cubicBezTo>
                  <a:pt x="2545351" y="220345"/>
                  <a:pt x="2545805" y="219494"/>
                  <a:pt x="2546315" y="218757"/>
                </a:cubicBezTo>
                <a:cubicBezTo>
                  <a:pt x="2546826" y="217963"/>
                  <a:pt x="2547393" y="217226"/>
                  <a:pt x="2548074" y="216601"/>
                </a:cubicBezTo>
                <a:cubicBezTo>
                  <a:pt x="2551363" y="213255"/>
                  <a:pt x="2556298" y="211723"/>
                  <a:pt x="2560836" y="212687"/>
                </a:cubicBezTo>
                <a:close/>
                <a:moveTo>
                  <a:pt x="14202" y="212602"/>
                </a:moveTo>
                <a:cubicBezTo>
                  <a:pt x="17896" y="212602"/>
                  <a:pt x="21583" y="213935"/>
                  <a:pt x="24220" y="216601"/>
                </a:cubicBezTo>
                <a:cubicBezTo>
                  <a:pt x="24901" y="217225"/>
                  <a:pt x="25468" y="217963"/>
                  <a:pt x="25979" y="218756"/>
                </a:cubicBezTo>
                <a:cubicBezTo>
                  <a:pt x="26489" y="219494"/>
                  <a:pt x="26943" y="220345"/>
                  <a:pt x="27283" y="221195"/>
                </a:cubicBezTo>
                <a:cubicBezTo>
                  <a:pt x="27624" y="222046"/>
                  <a:pt x="27907" y="222897"/>
                  <a:pt x="28078" y="223805"/>
                </a:cubicBezTo>
                <a:cubicBezTo>
                  <a:pt x="28304" y="224769"/>
                  <a:pt x="28361" y="225677"/>
                  <a:pt x="28361" y="226584"/>
                </a:cubicBezTo>
                <a:cubicBezTo>
                  <a:pt x="28361" y="227548"/>
                  <a:pt x="28304" y="228456"/>
                  <a:pt x="28078" y="229363"/>
                </a:cubicBezTo>
                <a:cubicBezTo>
                  <a:pt x="27907" y="230271"/>
                  <a:pt x="27624" y="231179"/>
                  <a:pt x="27283" y="232030"/>
                </a:cubicBezTo>
                <a:cubicBezTo>
                  <a:pt x="26943" y="232880"/>
                  <a:pt x="26489" y="233731"/>
                  <a:pt x="25979" y="234469"/>
                </a:cubicBezTo>
                <a:cubicBezTo>
                  <a:pt x="25468" y="235263"/>
                  <a:pt x="24901" y="235943"/>
                  <a:pt x="24220" y="236624"/>
                </a:cubicBezTo>
                <a:cubicBezTo>
                  <a:pt x="21611" y="239290"/>
                  <a:pt x="17924" y="240765"/>
                  <a:pt x="14181" y="240765"/>
                </a:cubicBezTo>
                <a:cubicBezTo>
                  <a:pt x="10493" y="240765"/>
                  <a:pt x="6807" y="239290"/>
                  <a:pt x="4141" y="236624"/>
                </a:cubicBezTo>
                <a:cubicBezTo>
                  <a:pt x="1532" y="233958"/>
                  <a:pt x="0" y="230328"/>
                  <a:pt x="0" y="226584"/>
                </a:cubicBezTo>
                <a:cubicBezTo>
                  <a:pt x="0" y="225677"/>
                  <a:pt x="114" y="224769"/>
                  <a:pt x="284" y="223805"/>
                </a:cubicBezTo>
                <a:cubicBezTo>
                  <a:pt x="454" y="222954"/>
                  <a:pt x="737" y="222046"/>
                  <a:pt x="1078" y="221195"/>
                </a:cubicBezTo>
                <a:cubicBezTo>
                  <a:pt x="1475" y="220345"/>
                  <a:pt x="1929" y="219494"/>
                  <a:pt x="2382" y="218756"/>
                </a:cubicBezTo>
                <a:cubicBezTo>
                  <a:pt x="2950" y="217963"/>
                  <a:pt x="3517" y="217225"/>
                  <a:pt x="4141" y="216601"/>
                </a:cubicBezTo>
                <a:cubicBezTo>
                  <a:pt x="6807" y="213935"/>
                  <a:pt x="10508" y="212602"/>
                  <a:pt x="14202" y="212602"/>
                </a:cubicBezTo>
                <a:close/>
                <a:moveTo>
                  <a:pt x="2501561" y="212404"/>
                </a:moveTo>
                <a:cubicBezTo>
                  <a:pt x="2509389" y="212404"/>
                  <a:pt x="2515741" y="218757"/>
                  <a:pt x="2515741" y="226585"/>
                </a:cubicBezTo>
                <a:cubicBezTo>
                  <a:pt x="2515741" y="234412"/>
                  <a:pt x="2509389" y="240765"/>
                  <a:pt x="2501561" y="240765"/>
                </a:cubicBezTo>
                <a:cubicBezTo>
                  <a:pt x="2493733" y="240765"/>
                  <a:pt x="2487380" y="234412"/>
                  <a:pt x="2487380" y="226585"/>
                </a:cubicBezTo>
                <a:cubicBezTo>
                  <a:pt x="2487380" y="218757"/>
                  <a:pt x="2493733" y="212404"/>
                  <a:pt x="2501561" y="212404"/>
                </a:cubicBezTo>
                <a:close/>
                <a:moveTo>
                  <a:pt x="2445009" y="212404"/>
                </a:moveTo>
                <a:cubicBezTo>
                  <a:pt x="2452837" y="212404"/>
                  <a:pt x="2459190" y="218757"/>
                  <a:pt x="2459190" y="226585"/>
                </a:cubicBezTo>
                <a:cubicBezTo>
                  <a:pt x="2459190" y="234412"/>
                  <a:pt x="2452837" y="240765"/>
                  <a:pt x="2445009" y="240765"/>
                </a:cubicBezTo>
                <a:cubicBezTo>
                  <a:pt x="2437181" y="240765"/>
                  <a:pt x="2430829" y="234412"/>
                  <a:pt x="2430829" y="226585"/>
                </a:cubicBezTo>
                <a:cubicBezTo>
                  <a:pt x="2430829" y="218757"/>
                  <a:pt x="2437181" y="212404"/>
                  <a:pt x="2445009" y="212404"/>
                </a:cubicBezTo>
                <a:close/>
                <a:moveTo>
                  <a:pt x="2388514" y="212404"/>
                </a:moveTo>
                <a:cubicBezTo>
                  <a:pt x="2396342" y="212404"/>
                  <a:pt x="2402695" y="218757"/>
                  <a:pt x="2402695" y="226585"/>
                </a:cubicBezTo>
                <a:cubicBezTo>
                  <a:pt x="2402695" y="234412"/>
                  <a:pt x="2396342" y="240765"/>
                  <a:pt x="2388514" y="240765"/>
                </a:cubicBezTo>
                <a:cubicBezTo>
                  <a:pt x="2380686" y="240765"/>
                  <a:pt x="2374333" y="234412"/>
                  <a:pt x="2374333" y="226585"/>
                </a:cubicBezTo>
                <a:cubicBezTo>
                  <a:pt x="2374333" y="218757"/>
                  <a:pt x="2380686" y="212404"/>
                  <a:pt x="2388514" y="212404"/>
                </a:cubicBezTo>
                <a:close/>
                <a:moveTo>
                  <a:pt x="2331962" y="212404"/>
                </a:moveTo>
                <a:cubicBezTo>
                  <a:pt x="2339790" y="212404"/>
                  <a:pt x="2346143" y="218757"/>
                  <a:pt x="2346143" y="226585"/>
                </a:cubicBezTo>
                <a:cubicBezTo>
                  <a:pt x="2346143" y="234412"/>
                  <a:pt x="2339790" y="240765"/>
                  <a:pt x="2331962" y="240765"/>
                </a:cubicBezTo>
                <a:cubicBezTo>
                  <a:pt x="2324135" y="240765"/>
                  <a:pt x="2317782" y="234412"/>
                  <a:pt x="2317782" y="226585"/>
                </a:cubicBezTo>
                <a:cubicBezTo>
                  <a:pt x="2317782" y="218757"/>
                  <a:pt x="2324135" y="212404"/>
                  <a:pt x="2331962" y="212404"/>
                </a:cubicBezTo>
                <a:close/>
                <a:moveTo>
                  <a:pt x="2275410" y="212404"/>
                </a:moveTo>
                <a:cubicBezTo>
                  <a:pt x="2283294" y="212404"/>
                  <a:pt x="2289590" y="218757"/>
                  <a:pt x="2289590" y="226585"/>
                </a:cubicBezTo>
                <a:cubicBezTo>
                  <a:pt x="2289590" y="234412"/>
                  <a:pt x="2283294" y="240765"/>
                  <a:pt x="2275410" y="240765"/>
                </a:cubicBezTo>
                <a:cubicBezTo>
                  <a:pt x="2267582" y="240765"/>
                  <a:pt x="2261229" y="234412"/>
                  <a:pt x="2261229" y="226585"/>
                </a:cubicBezTo>
                <a:cubicBezTo>
                  <a:pt x="2261229" y="218757"/>
                  <a:pt x="2267582" y="212404"/>
                  <a:pt x="2275410" y="212404"/>
                </a:cubicBezTo>
                <a:close/>
                <a:moveTo>
                  <a:pt x="2218915" y="212404"/>
                </a:moveTo>
                <a:cubicBezTo>
                  <a:pt x="2226742" y="212404"/>
                  <a:pt x="2233095" y="218757"/>
                  <a:pt x="2233095" y="226585"/>
                </a:cubicBezTo>
                <a:cubicBezTo>
                  <a:pt x="2233095" y="234412"/>
                  <a:pt x="2226742" y="240765"/>
                  <a:pt x="2218915" y="240765"/>
                </a:cubicBezTo>
                <a:cubicBezTo>
                  <a:pt x="2211087" y="240765"/>
                  <a:pt x="2204734" y="234412"/>
                  <a:pt x="2204734" y="226585"/>
                </a:cubicBezTo>
                <a:cubicBezTo>
                  <a:pt x="2204734" y="218757"/>
                  <a:pt x="2211087" y="212404"/>
                  <a:pt x="2218915" y="212404"/>
                </a:cubicBezTo>
                <a:close/>
                <a:moveTo>
                  <a:pt x="2162363" y="212404"/>
                </a:moveTo>
                <a:cubicBezTo>
                  <a:pt x="2170190" y="212404"/>
                  <a:pt x="2176543" y="218757"/>
                  <a:pt x="2176543" y="226585"/>
                </a:cubicBezTo>
                <a:cubicBezTo>
                  <a:pt x="2176543" y="234412"/>
                  <a:pt x="2170190" y="240765"/>
                  <a:pt x="2162363" y="240765"/>
                </a:cubicBezTo>
                <a:cubicBezTo>
                  <a:pt x="2154535" y="240765"/>
                  <a:pt x="2148182" y="234412"/>
                  <a:pt x="2148182" y="226585"/>
                </a:cubicBezTo>
                <a:cubicBezTo>
                  <a:pt x="2148182" y="218757"/>
                  <a:pt x="2154535" y="212404"/>
                  <a:pt x="2162363" y="212404"/>
                </a:cubicBezTo>
                <a:close/>
                <a:moveTo>
                  <a:pt x="2105811" y="212404"/>
                </a:moveTo>
                <a:cubicBezTo>
                  <a:pt x="2113695" y="212404"/>
                  <a:pt x="2120047" y="218757"/>
                  <a:pt x="2120047" y="226585"/>
                </a:cubicBezTo>
                <a:cubicBezTo>
                  <a:pt x="2120047" y="234412"/>
                  <a:pt x="2113695" y="240765"/>
                  <a:pt x="2105811" y="240765"/>
                </a:cubicBezTo>
                <a:cubicBezTo>
                  <a:pt x="2097983" y="240765"/>
                  <a:pt x="2091686" y="234412"/>
                  <a:pt x="2091686" y="226585"/>
                </a:cubicBezTo>
                <a:cubicBezTo>
                  <a:pt x="2091686" y="218757"/>
                  <a:pt x="2097983" y="212404"/>
                  <a:pt x="2105811" y="212404"/>
                </a:cubicBezTo>
                <a:close/>
                <a:moveTo>
                  <a:pt x="2049315" y="212404"/>
                </a:moveTo>
                <a:cubicBezTo>
                  <a:pt x="2057143" y="212404"/>
                  <a:pt x="2063496" y="218757"/>
                  <a:pt x="2063496" y="226585"/>
                </a:cubicBezTo>
                <a:cubicBezTo>
                  <a:pt x="2063496" y="234412"/>
                  <a:pt x="2057143" y="240765"/>
                  <a:pt x="2049315" y="240765"/>
                </a:cubicBezTo>
                <a:cubicBezTo>
                  <a:pt x="2041487" y="240765"/>
                  <a:pt x="2035135" y="234412"/>
                  <a:pt x="2035135" y="226585"/>
                </a:cubicBezTo>
                <a:cubicBezTo>
                  <a:pt x="2035135" y="218757"/>
                  <a:pt x="2041487" y="212404"/>
                  <a:pt x="2049315" y="212404"/>
                </a:cubicBezTo>
                <a:close/>
                <a:moveTo>
                  <a:pt x="1992763" y="212404"/>
                </a:moveTo>
                <a:cubicBezTo>
                  <a:pt x="2000591" y="212404"/>
                  <a:pt x="2006944" y="218757"/>
                  <a:pt x="2006944" y="226585"/>
                </a:cubicBezTo>
                <a:cubicBezTo>
                  <a:pt x="2006944" y="234412"/>
                  <a:pt x="2000591" y="240765"/>
                  <a:pt x="1992763" y="240765"/>
                </a:cubicBezTo>
                <a:cubicBezTo>
                  <a:pt x="1984936" y="240765"/>
                  <a:pt x="1978583" y="234412"/>
                  <a:pt x="1978583" y="226585"/>
                </a:cubicBezTo>
                <a:cubicBezTo>
                  <a:pt x="1978583" y="218757"/>
                  <a:pt x="1984936" y="212404"/>
                  <a:pt x="1992763" y="212404"/>
                </a:cubicBezTo>
                <a:close/>
                <a:moveTo>
                  <a:pt x="1936268" y="212404"/>
                </a:moveTo>
                <a:cubicBezTo>
                  <a:pt x="1944096" y="212404"/>
                  <a:pt x="1950449" y="218757"/>
                  <a:pt x="1950449" y="226585"/>
                </a:cubicBezTo>
                <a:cubicBezTo>
                  <a:pt x="1950449" y="234412"/>
                  <a:pt x="1944096" y="240765"/>
                  <a:pt x="1936268" y="240765"/>
                </a:cubicBezTo>
                <a:cubicBezTo>
                  <a:pt x="1928441" y="240765"/>
                  <a:pt x="1922088" y="234412"/>
                  <a:pt x="1922088" y="226585"/>
                </a:cubicBezTo>
                <a:cubicBezTo>
                  <a:pt x="1922088" y="218757"/>
                  <a:pt x="1928441" y="212404"/>
                  <a:pt x="1936268" y="212404"/>
                </a:cubicBezTo>
                <a:close/>
                <a:moveTo>
                  <a:pt x="1879716" y="212404"/>
                </a:moveTo>
                <a:cubicBezTo>
                  <a:pt x="1887543" y="212404"/>
                  <a:pt x="1893896" y="218757"/>
                  <a:pt x="1893896" y="226585"/>
                </a:cubicBezTo>
                <a:cubicBezTo>
                  <a:pt x="1893896" y="234412"/>
                  <a:pt x="1887543" y="240765"/>
                  <a:pt x="1879716" y="240765"/>
                </a:cubicBezTo>
                <a:cubicBezTo>
                  <a:pt x="1871888" y="240765"/>
                  <a:pt x="1865535" y="234412"/>
                  <a:pt x="1865535" y="226585"/>
                </a:cubicBezTo>
                <a:cubicBezTo>
                  <a:pt x="1865535" y="218757"/>
                  <a:pt x="1871888" y="212404"/>
                  <a:pt x="1879716" y="212404"/>
                </a:cubicBezTo>
                <a:close/>
                <a:moveTo>
                  <a:pt x="1823164" y="212404"/>
                </a:moveTo>
                <a:cubicBezTo>
                  <a:pt x="1830992" y="212404"/>
                  <a:pt x="1837344" y="218757"/>
                  <a:pt x="1837344" y="226585"/>
                </a:cubicBezTo>
                <a:cubicBezTo>
                  <a:pt x="1837344" y="234412"/>
                  <a:pt x="1830992" y="240765"/>
                  <a:pt x="1823164" y="240765"/>
                </a:cubicBezTo>
                <a:cubicBezTo>
                  <a:pt x="1815336" y="240765"/>
                  <a:pt x="1808983" y="234412"/>
                  <a:pt x="1808983" y="226585"/>
                </a:cubicBezTo>
                <a:cubicBezTo>
                  <a:pt x="1808983" y="218757"/>
                  <a:pt x="1815336" y="212404"/>
                  <a:pt x="1823164" y="212404"/>
                </a:cubicBezTo>
                <a:close/>
                <a:moveTo>
                  <a:pt x="1766669" y="212404"/>
                </a:moveTo>
                <a:cubicBezTo>
                  <a:pt x="1774496" y="212404"/>
                  <a:pt x="1780849" y="218757"/>
                  <a:pt x="1780849" y="226585"/>
                </a:cubicBezTo>
                <a:cubicBezTo>
                  <a:pt x="1780849" y="234412"/>
                  <a:pt x="1774496" y="240765"/>
                  <a:pt x="1766669" y="240765"/>
                </a:cubicBezTo>
                <a:cubicBezTo>
                  <a:pt x="1758841" y="240765"/>
                  <a:pt x="1752488" y="234412"/>
                  <a:pt x="1752488" y="226585"/>
                </a:cubicBezTo>
                <a:cubicBezTo>
                  <a:pt x="1752488" y="218757"/>
                  <a:pt x="1758841" y="212404"/>
                  <a:pt x="1766669" y="212404"/>
                </a:cubicBezTo>
                <a:close/>
                <a:moveTo>
                  <a:pt x="1710117" y="212404"/>
                </a:moveTo>
                <a:cubicBezTo>
                  <a:pt x="1717945" y="212404"/>
                  <a:pt x="1724297" y="218757"/>
                  <a:pt x="1724297" y="226585"/>
                </a:cubicBezTo>
                <a:cubicBezTo>
                  <a:pt x="1724297" y="234412"/>
                  <a:pt x="1717945" y="240765"/>
                  <a:pt x="1710117" y="240765"/>
                </a:cubicBezTo>
                <a:cubicBezTo>
                  <a:pt x="1702289" y="240765"/>
                  <a:pt x="1695936" y="234412"/>
                  <a:pt x="1695936" y="226585"/>
                </a:cubicBezTo>
                <a:cubicBezTo>
                  <a:pt x="1695936" y="218757"/>
                  <a:pt x="1702289" y="212404"/>
                  <a:pt x="1710117" y="212404"/>
                </a:cubicBezTo>
                <a:close/>
                <a:moveTo>
                  <a:pt x="1653564" y="212404"/>
                </a:moveTo>
                <a:cubicBezTo>
                  <a:pt x="1661392" y="212404"/>
                  <a:pt x="1667745" y="218757"/>
                  <a:pt x="1667745" y="226585"/>
                </a:cubicBezTo>
                <a:cubicBezTo>
                  <a:pt x="1667745" y="234412"/>
                  <a:pt x="1661392" y="240765"/>
                  <a:pt x="1653564" y="240765"/>
                </a:cubicBezTo>
                <a:cubicBezTo>
                  <a:pt x="1645737" y="240765"/>
                  <a:pt x="1639384" y="234412"/>
                  <a:pt x="1639384" y="226585"/>
                </a:cubicBezTo>
                <a:cubicBezTo>
                  <a:pt x="1639384" y="218757"/>
                  <a:pt x="1645737" y="212404"/>
                  <a:pt x="1653564" y="212404"/>
                </a:cubicBezTo>
                <a:close/>
                <a:moveTo>
                  <a:pt x="1597069" y="212404"/>
                </a:moveTo>
                <a:cubicBezTo>
                  <a:pt x="1604897" y="212404"/>
                  <a:pt x="1611250" y="218757"/>
                  <a:pt x="1611250" y="226585"/>
                </a:cubicBezTo>
                <a:cubicBezTo>
                  <a:pt x="1611250" y="234412"/>
                  <a:pt x="1604897" y="240765"/>
                  <a:pt x="1597069" y="240765"/>
                </a:cubicBezTo>
                <a:cubicBezTo>
                  <a:pt x="1589242" y="240765"/>
                  <a:pt x="1582889" y="234412"/>
                  <a:pt x="1582889" y="226585"/>
                </a:cubicBezTo>
                <a:cubicBezTo>
                  <a:pt x="1582889" y="218757"/>
                  <a:pt x="1589242" y="212404"/>
                  <a:pt x="1597069" y="212404"/>
                </a:cubicBezTo>
                <a:close/>
                <a:moveTo>
                  <a:pt x="1540517" y="212404"/>
                </a:moveTo>
                <a:cubicBezTo>
                  <a:pt x="1548345" y="212404"/>
                  <a:pt x="1554698" y="218757"/>
                  <a:pt x="1554698" y="226585"/>
                </a:cubicBezTo>
                <a:cubicBezTo>
                  <a:pt x="1554698" y="234412"/>
                  <a:pt x="1548345" y="240765"/>
                  <a:pt x="1540517" y="240765"/>
                </a:cubicBezTo>
                <a:cubicBezTo>
                  <a:pt x="1532690" y="240765"/>
                  <a:pt x="1526337" y="234412"/>
                  <a:pt x="1526337" y="226585"/>
                </a:cubicBezTo>
                <a:cubicBezTo>
                  <a:pt x="1526337" y="218757"/>
                  <a:pt x="1532690" y="212404"/>
                  <a:pt x="1540517" y="212404"/>
                </a:cubicBezTo>
                <a:close/>
                <a:moveTo>
                  <a:pt x="1484022" y="212404"/>
                </a:moveTo>
                <a:cubicBezTo>
                  <a:pt x="1491849" y="212404"/>
                  <a:pt x="1498202" y="218757"/>
                  <a:pt x="1498202" y="226585"/>
                </a:cubicBezTo>
                <a:cubicBezTo>
                  <a:pt x="1498202" y="234412"/>
                  <a:pt x="1491849" y="240765"/>
                  <a:pt x="1484022" y="240765"/>
                </a:cubicBezTo>
                <a:cubicBezTo>
                  <a:pt x="1476195" y="240765"/>
                  <a:pt x="1469841" y="234412"/>
                  <a:pt x="1469841" y="226585"/>
                </a:cubicBezTo>
                <a:cubicBezTo>
                  <a:pt x="1469841" y="218757"/>
                  <a:pt x="1476195" y="212404"/>
                  <a:pt x="1484022" y="212404"/>
                </a:cubicBezTo>
                <a:close/>
                <a:moveTo>
                  <a:pt x="1427470" y="212404"/>
                </a:moveTo>
                <a:cubicBezTo>
                  <a:pt x="1435298" y="212404"/>
                  <a:pt x="1441650" y="218757"/>
                  <a:pt x="1441650" y="226585"/>
                </a:cubicBezTo>
                <a:cubicBezTo>
                  <a:pt x="1441650" y="234412"/>
                  <a:pt x="1435298" y="240765"/>
                  <a:pt x="1427470" y="240765"/>
                </a:cubicBezTo>
                <a:cubicBezTo>
                  <a:pt x="1419642" y="240765"/>
                  <a:pt x="1413289" y="234412"/>
                  <a:pt x="1413289" y="226585"/>
                </a:cubicBezTo>
                <a:cubicBezTo>
                  <a:pt x="1413289" y="218757"/>
                  <a:pt x="1419642" y="212404"/>
                  <a:pt x="1427470" y="212404"/>
                </a:cubicBezTo>
                <a:close/>
                <a:moveTo>
                  <a:pt x="1370918" y="212404"/>
                </a:moveTo>
                <a:cubicBezTo>
                  <a:pt x="1378803" y="212404"/>
                  <a:pt x="1385099" y="218757"/>
                  <a:pt x="1385099" y="226585"/>
                </a:cubicBezTo>
                <a:cubicBezTo>
                  <a:pt x="1385099" y="234412"/>
                  <a:pt x="1378803" y="240765"/>
                  <a:pt x="1370918" y="240765"/>
                </a:cubicBezTo>
                <a:cubicBezTo>
                  <a:pt x="1363090" y="240765"/>
                  <a:pt x="1356738" y="234412"/>
                  <a:pt x="1356738" y="226585"/>
                </a:cubicBezTo>
                <a:cubicBezTo>
                  <a:pt x="1356738" y="218757"/>
                  <a:pt x="1363090" y="212404"/>
                  <a:pt x="1370918" y="212404"/>
                </a:cubicBezTo>
                <a:close/>
                <a:moveTo>
                  <a:pt x="1314423" y="212404"/>
                </a:moveTo>
                <a:cubicBezTo>
                  <a:pt x="1322251" y="212404"/>
                  <a:pt x="1328604" y="218757"/>
                  <a:pt x="1328604" y="226585"/>
                </a:cubicBezTo>
                <a:cubicBezTo>
                  <a:pt x="1328604" y="234412"/>
                  <a:pt x="1322251" y="240765"/>
                  <a:pt x="1314423" y="240765"/>
                </a:cubicBezTo>
                <a:cubicBezTo>
                  <a:pt x="1306595" y="240765"/>
                  <a:pt x="1300242" y="234412"/>
                  <a:pt x="1300242" y="226585"/>
                </a:cubicBezTo>
                <a:cubicBezTo>
                  <a:pt x="1300242" y="218757"/>
                  <a:pt x="1306595" y="212404"/>
                  <a:pt x="1314423" y="212404"/>
                </a:cubicBezTo>
                <a:close/>
                <a:moveTo>
                  <a:pt x="1257870" y="212404"/>
                </a:moveTo>
                <a:cubicBezTo>
                  <a:pt x="1265698" y="212404"/>
                  <a:pt x="1272051" y="218757"/>
                  <a:pt x="1272051" y="226585"/>
                </a:cubicBezTo>
                <a:cubicBezTo>
                  <a:pt x="1272051" y="234412"/>
                  <a:pt x="1265698" y="240765"/>
                  <a:pt x="1257870" y="240765"/>
                </a:cubicBezTo>
                <a:cubicBezTo>
                  <a:pt x="1250043" y="240765"/>
                  <a:pt x="1243690" y="234412"/>
                  <a:pt x="1243690" y="226585"/>
                </a:cubicBezTo>
                <a:cubicBezTo>
                  <a:pt x="1243690" y="218757"/>
                  <a:pt x="1250043" y="212404"/>
                  <a:pt x="1257870" y="212404"/>
                </a:cubicBezTo>
                <a:close/>
                <a:moveTo>
                  <a:pt x="1201319" y="212404"/>
                </a:moveTo>
                <a:cubicBezTo>
                  <a:pt x="1209203" y="212404"/>
                  <a:pt x="1215556" y="218757"/>
                  <a:pt x="1215556" y="226585"/>
                </a:cubicBezTo>
                <a:cubicBezTo>
                  <a:pt x="1215556" y="234412"/>
                  <a:pt x="1209203" y="240765"/>
                  <a:pt x="1201319" y="240765"/>
                </a:cubicBezTo>
                <a:cubicBezTo>
                  <a:pt x="1193491" y="240765"/>
                  <a:pt x="1187138" y="234412"/>
                  <a:pt x="1187138" y="226585"/>
                </a:cubicBezTo>
                <a:cubicBezTo>
                  <a:pt x="1187138" y="218757"/>
                  <a:pt x="1193491" y="212404"/>
                  <a:pt x="1201319" y="212404"/>
                </a:cubicBezTo>
                <a:close/>
                <a:moveTo>
                  <a:pt x="1144824" y="212404"/>
                </a:moveTo>
                <a:cubicBezTo>
                  <a:pt x="1152651" y="212404"/>
                  <a:pt x="1159004" y="218757"/>
                  <a:pt x="1159004" y="226585"/>
                </a:cubicBezTo>
                <a:cubicBezTo>
                  <a:pt x="1159004" y="234412"/>
                  <a:pt x="1152651" y="240765"/>
                  <a:pt x="1144824" y="240765"/>
                </a:cubicBezTo>
                <a:cubicBezTo>
                  <a:pt x="1136996" y="240765"/>
                  <a:pt x="1130643" y="234412"/>
                  <a:pt x="1130643" y="226585"/>
                </a:cubicBezTo>
                <a:cubicBezTo>
                  <a:pt x="1130643" y="218757"/>
                  <a:pt x="1136996" y="212404"/>
                  <a:pt x="1144824" y="212404"/>
                </a:cubicBezTo>
                <a:close/>
                <a:moveTo>
                  <a:pt x="1088272" y="212404"/>
                </a:moveTo>
                <a:cubicBezTo>
                  <a:pt x="1096099" y="212404"/>
                  <a:pt x="1102452" y="218757"/>
                  <a:pt x="1102452" y="226585"/>
                </a:cubicBezTo>
                <a:cubicBezTo>
                  <a:pt x="1102452" y="234412"/>
                  <a:pt x="1096099" y="240765"/>
                  <a:pt x="1088272" y="240765"/>
                </a:cubicBezTo>
                <a:cubicBezTo>
                  <a:pt x="1080444" y="240765"/>
                  <a:pt x="1074091" y="234412"/>
                  <a:pt x="1074091" y="226585"/>
                </a:cubicBezTo>
                <a:cubicBezTo>
                  <a:pt x="1074091" y="218757"/>
                  <a:pt x="1080444" y="212404"/>
                  <a:pt x="1088272" y="212404"/>
                </a:cubicBezTo>
                <a:close/>
                <a:moveTo>
                  <a:pt x="1031776" y="212404"/>
                </a:moveTo>
                <a:cubicBezTo>
                  <a:pt x="1039604" y="212404"/>
                  <a:pt x="1045956" y="218757"/>
                  <a:pt x="1045956" y="226585"/>
                </a:cubicBezTo>
                <a:cubicBezTo>
                  <a:pt x="1045956" y="234412"/>
                  <a:pt x="1039604" y="240765"/>
                  <a:pt x="1031776" y="240765"/>
                </a:cubicBezTo>
                <a:cubicBezTo>
                  <a:pt x="1023891" y="240765"/>
                  <a:pt x="1017539" y="234412"/>
                  <a:pt x="1017539" y="226585"/>
                </a:cubicBezTo>
                <a:cubicBezTo>
                  <a:pt x="1017539" y="218757"/>
                  <a:pt x="1023891" y="212404"/>
                  <a:pt x="1031776" y="212404"/>
                </a:cubicBezTo>
                <a:close/>
                <a:moveTo>
                  <a:pt x="975224" y="212404"/>
                </a:moveTo>
                <a:cubicBezTo>
                  <a:pt x="983052" y="212404"/>
                  <a:pt x="989405" y="218757"/>
                  <a:pt x="989405" y="226585"/>
                </a:cubicBezTo>
                <a:cubicBezTo>
                  <a:pt x="989405" y="234412"/>
                  <a:pt x="983052" y="240765"/>
                  <a:pt x="975224" y="240765"/>
                </a:cubicBezTo>
                <a:cubicBezTo>
                  <a:pt x="967396" y="240765"/>
                  <a:pt x="961044" y="234412"/>
                  <a:pt x="961044" y="226585"/>
                </a:cubicBezTo>
                <a:cubicBezTo>
                  <a:pt x="961044" y="218757"/>
                  <a:pt x="967396" y="212404"/>
                  <a:pt x="975224" y="212404"/>
                </a:cubicBezTo>
                <a:close/>
                <a:moveTo>
                  <a:pt x="918672" y="212404"/>
                </a:moveTo>
                <a:cubicBezTo>
                  <a:pt x="926500" y="212404"/>
                  <a:pt x="932853" y="218757"/>
                  <a:pt x="932853" y="226585"/>
                </a:cubicBezTo>
                <a:cubicBezTo>
                  <a:pt x="932853" y="234412"/>
                  <a:pt x="926500" y="240765"/>
                  <a:pt x="918672" y="240765"/>
                </a:cubicBezTo>
                <a:cubicBezTo>
                  <a:pt x="910845" y="240765"/>
                  <a:pt x="904492" y="234412"/>
                  <a:pt x="904492" y="226585"/>
                </a:cubicBezTo>
                <a:cubicBezTo>
                  <a:pt x="904492" y="218757"/>
                  <a:pt x="910845" y="212404"/>
                  <a:pt x="918672" y="212404"/>
                </a:cubicBezTo>
                <a:close/>
                <a:moveTo>
                  <a:pt x="862177" y="212404"/>
                </a:moveTo>
                <a:cubicBezTo>
                  <a:pt x="870004" y="212404"/>
                  <a:pt x="876358" y="218757"/>
                  <a:pt x="876358" y="226585"/>
                </a:cubicBezTo>
                <a:cubicBezTo>
                  <a:pt x="876358" y="234412"/>
                  <a:pt x="870004" y="240765"/>
                  <a:pt x="862177" y="240765"/>
                </a:cubicBezTo>
                <a:cubicBezTo>
                  <a:pt x="854350" y="240765"/>
                  <a:pt x="847997" y="234412"/>
                  <a:pt x="847997" y="226585"/>
                </a:cubicBezTo>
                <a:cubicBezTo>
                  <a:pt x="847997" y="218757"/>
                  <a:pt x="854350" y="212404"/>
                  <a:pt x="862177" y="212404"/>
                </a:cubicBezTo>
                <a:close/>
                <a:moveTo>
                  <a:pt x="805625" y="212404"/>
                </a:moveTo>
                <a:cubicBezTo>
                  <a:pt x="813452" y="212404"/>
                  <a:pt x="819805" y="218757"/>
                  <a:pt x="819805" y="226585"/>
                </a:cubicBezTo>
                <a:cubicBezTo>
                  <a:pt x="819805" y="234412"/>
                  <a:pt x="813452" y="240765"/>
                  <a:pt x="805625" y="240765"/>
                </a:cubicBezTo>
                <a:cubicBezTo>
                  <a:pt x="797797" y="240765"/>
                  <a:pt x="791444" y="234412"/>
                  <a:pt x="791444" y="226585"/>
                </a:cubicBezTo>
                <a:cubicBezTo>
                  <a:pt x="791444" y="218757"/>
                  <a:pt x="797797" y="212404"/>
                  <a:pt x="805625" y="212404"/>
                </a:cubicBezTo>
                <a:close/>
                <a:moveTo>
                  <a:pt x="749073" y="212404"/>
                </a:moveTo>
                <a:cubicBezTo>
                  <a:pt x="756957" y="212404"/>
                  <a:pt x="763310" y="218757"/>
                  <a:pt x="763310" y="226585"/>
                </a:cubicBezTo>
                <a:cubicBezTo>
                  <a:pt x="763310" y="234412"/>
                  <a:pt x="756957" y="240765"/>
                  <a:pt x="749073" y="240765"/>
                </a:cubicBezTo>
                <a:cubicBezTo>
                  <a:pt x="741245" y="240765"/>
                  <a:pt x="734949" y="234412"/>
                  <a:pt x="734949" y="226585"/>
                </a:cubicBezTo>
                <a:cubicBezTo>
                  <a:pt x="734949" y="218757"/>
                  <a:pt x="741245" y="212404"/>
                  <a:pt x="749073" y="212404"/>
                </a:cubicBezTo>
                <a:close/>
                <a:moveTo>
                  <a:pt x="692578" y="212404"/>
                </a:moveTo>
                <a:cubicBezTo>
                  <a:pt x="700405" y="212404"/>
                  <a:pt x="706758" y="218757"/>
                  <a:pt x="706758" y="226585"/>
                </a:cubicBezTo>
                <a:cubicBezTo>
                  <a:pt x="706758" y="234412"/>
                  <a:pt x="700405" y="240765"/>
                  <a:pt x="692578" y="240765"/>
                </a:cubicBezTo>
                <a:cubicBezTo>
                  <a:pt x="684750" y="240765"/>
                  <a:pt x="678397" y="234412"/>
                  <a:pt x="678397" y="226585"/>
                </a:cubicBezTo>
                <a:cubicBezTo>
                  <a:pt x="678397" y="218757"/>
                  <a:pt x="684750" y="212404"/>
                  <a:pt x="692578" y="212404"/>
                </a:cubicBezTo>
                <a:close/>
                <a:moveTo>
                  <a:pt x="636026" y="212404"/>
                </a:moveTo>
                <a:cubicBezTo>
                  <a:pt x="643853" y="212404"/>
                  <a:pt x="650206" y="218757"/>
                  <a:pt x="650206" y="226585"/>
                </a:cubicBezTo>
                <a:cubicBezTo>
                  <a:pt x="650206" y="234412"/>
                  <a:pt x="643853" y="240765"/>
                  <a:pt x="636026" y="240765"/>
                </a:cubicBezTo>
                <a:cubicBezTo>
                  <a:pt x="628198" y="240765"/>
                  <a:pt x="621845" y="234412"/>
                  <a:pt x="621845" y="226585"/>
                </a:cubicBezTo>
                <a:cubicBezTo>
                  <a:pt x="621845" y="218757"/>
                  <a:pt x="628198" y="212404"/>
                  <a:pt x="636026" y="212404"/>
                </a:cubicBezTo>
                <a:close/>
                <a:moveTo>
                  <a:pt x="579530" y="212404"/>
                </a:moveTo>
                <a:cubicBezTo>
                  <a:pt x="587358" y="212404"/>
                  <a:pt x="593711" y="218757"/>
                  <a:pt x="593711" y="226585"/>
                </a:cubicBezTo>
                <a:cubicBezTo>
                  <a:pt x="593711" y="234412"/>
                  <a:pt x="587358" y="240765"/>
                  <a:pt x="579530" y="240765"/>
                </a:cubicBezTo>
                <a:cubicBezTo>
                  <a:pt x="571702" y="240765"/>
                  <a:pt x="565350" y="234412"/>
                  <a:pt x="565350" y="226585"/>
                </a:cubicBezTo>
                <a:cubicBezTo>
                  <a:pt x="565350" y="218757"/>
                  <a:pt x="571702" y="212404"/>
                  <a:pt x="579530" y="212404"/>
                </a:cubicBezTo>
                <a:close/>
                <a:moveTo>
                  <a:pt x="522978" y="212404"/>
                </a:moveTo>
                <a:cubicBezTo>
                  <a:pt x="530806" y="212404"/>
                  <a:pt x="537159" y="218757"/>
                  <a:pt x="537159" y="226585"/>
                </a:cubicBezTo>
                <a:cubicBezTo>
                  <a:pt x="537159" y="234412"/>
                  <a:pt x="530806" y="240765"/>
                  <a:pt x="522978" y="240765"/>
                </a:cubicBezTo>
                <a:cubicBezTo>
                  <a:pt x="515151" y="240765"/>
                  <a:pt x="508798" y="234412"/>
                  <a:pt x="508798" y="226585"/>
                </a:cubicBezTo>
                <a:cubicBezTo>
                  <a:pt x="508798" y="218757"/>
                  <a:pt x="515151" y="212404"/>
                  <a:pt x="522978" y="212404"/>
                </a:cubicBezTo>
                <a:close/>
                <a:moveTo>
                  <a:pt x="466426" y="212404"/>
                </a:moveTo>
                <a:cubicBezTo>
                  <a:pt x="474254" y="212404"/>
                  <a:pt x="480607" y="218757"/>
                  <a:pt x="480607" y="226585"/>
                </a:cubicBezTo>
                <a:cubicBezTo>
                  <a:pt x="480607" y="234412"/>
                  <a:pt x="474254" y="240765"/>
                  <a:pt x="466426" y="240765"/>
                </a:cubicBezTo>
                <a:cubicBezTo>
                  <a:pt x="458598" y="240765"/>
                  <a:pt x="452246" y="234412"/>
                  <a:pt x="452246" y="226585"/>
                </a:cubicBezTo>
                <a:cubicBezTo>
                  <a:pt x="452246" y="218757"/>
                  <a:pt x="458598" y="212404"/>
                  <a:pt x="466426" y="212404"/>
                </a:cubicBezTo>
                <a:close/>
                <a:moveTo>
                  <a:pt x="409931" y="212404"/>
                </a:moveTo>
                <a:cubicBezTo>
                  <a:pt x="417759" y="212404"/>
                  <a:pt x="424112" y="218757"/>
                  <a:pt x="424112" y="226585"/>
                </a:cubicBezTo>
                <a:cubicBezTo>
                  <a:pt x="424112" y="234412"/>
                  <a:pt x="417759" y="240765"/>
                  <a:pt x="409931" y="240765"/>
                </a:cubicBezTo>
                <a:cubicBezTo>
                  <a:pt x="402103" y="240765"/>
                  <a:pt x="395751" y="234412"/>
                  <a:pt x="395751" y="226585"/>
                </a:cubicBezTo>
                <a:cubicBezTo>
                  <a:pt x="395751" y="218757"/>
                  <a:pt x="402103" y="212404"/>
                  <a:pt x="409931" y="212404"/>
                </a:cubicBezTo>
                <a:close/>
                <a:moveTo>
                  <a:pt x="353379" y="212404"/>
                </a:moveTo>
                <a:cubicBezTo>
                  <a:pt x="361207" y="212404"/>
                  <a:pt x="367559" y="218757"/>
                  <a:pt x="367559" y="226585"/>
                </a:cubicBezTo>
                <a:cubicBezTo>
                  <a:pt x="367559" y="234412"/>
                  <a:pt x="361207" y="240765"/>
                  <a:pt x="353379" y="240765"/>
                </a:cubicBezTo>
                <a:cubicBezTo>
                  <a:pt x="345551" y="240765"/>
                  <a:pt x="339198" y="234412"/>
                  <a:pt x="339198" y="226585"/>
                </a:cubicBezTo>
                <a:cubicBezTo>
                  <a:pt x="339198" y="218757"/>
                  <a:pt x="345551" y="212404"/>
                  <a:pt x="353379" y="212404"/>
                </a:cubicBezTo>
                <a:close/>
                <a:moveTo>
                  <a:pt x="296884" y="212404"/>
                </a:moveTo>
                <a:cubicBezTo>
                  <a:pt x="304712" y="212404"/>
                  <a:pt x="311008" y="218757"/>
                  <a:pt x="311008" y="226585"/>
                </a:cubicBezTo>
                <a:cubicBezTo>
                  <a:pt x="311008" y="234412"/>
                  <a:pt x="304712" y="240765"/>
                  <a:pt x="296884" y="240765"/>
                </a:cubicBezTo>
                <a:cubicBezTo>
                  <a:pt x="288999" y="240765"/>
                  <a:pt x="282647" y="234412"/>
                  <a:pt x="282647" y="226585"/>
                </a:cubicBezTo>
                <a:cubicBezTo>
                  <a:pt x="282647" y="218757"/>
                  <a:pt x="288999" y="212404"/>
                  <a:pt x="296884" y="212404"/>
                </a:cubicBezTo>
                <a:close/>
                <a:moveTo>
                  <a:pt x="240332" y="212404"/>
                </a:moveTo>
                <a:cubicBezTo>
                  <a:pt x="248159" y="212404"/>
                  <a:pt x="254512" y="218757"/>
                  <a:pt x="254512" y="226585"/>
                </a:cubicBezTo>
                <a:cubicBezTo>
                  <a:pt x="254512" y="234412"/>
                  <a:pt x="248159" y="240765"/>
                  <a:pt x="240332" y="240765"/>
                </a:cubicBezTo>
                <a:cubicBezTo>
                  <a:pt x="232504" y="240765"/>
                  <a:pt x="226151" y="234412"/>
                  <a:pt x="226151" y="226585"/>
                </a:cubicBezTo>
                <a:cubicBezTo>
                  <a:pt x="226151" y="218757"/>
                  <a:pt x="232504" y="212404"/>
                  <a:pt x="240332" y="212404"/>
                </a:cubicBezTo>
                <a:close/>
                <a:moveTo>
                  <a:pt x="183780" y="212404"/>
                </a:moveTo>
                <a:cubicBezTo>
                  <a:pt x="191607" y="212404"/>
                  <a:pt x="197960" y="218757"/>
                  <a:pt x="197960" y="226585"/>
                </a:cubicBezTo>
                <a:cubicBezTo>
                  <a:pt x="197960" y="234412"/>
                  <a:pt x="191607" y="240765"/>
                  <a:pt x="183780" y="240765"/>
                </a:cubicBezTo>
                <a:cubicBezTo>
                  <a:pt x="175952" y="240765"/>
                  <a:pt x="169599" y="234412"/>
                  <a:pt x="169599" y="226585"/>
                </a:cubicBezTo>
                <a:cubicBezTo>
                  <a:pt x="169599" y="218757"/>
                  <a:pt x="175952" y="212404"/>
                  <a:pt x="183780" y="212404"/>
                </a:cubicBezTo>
                <a:close/>
                <a:moveTo>
                  <a:pt x="127284" y="212404"/>
                </a:moveTo>
                <a:cubicBezTo>
                  <a:pt x="135112" y="212404"/>
                  <a:pt x="141408" y="218757"/>
                  <a:pt x="141408" y="226585"/>
                </a:cubicBezTo>
                <a:cubicBezTo>
                  <a:pt x="141408" y="234412"/>
                  <a:pt x="135112" y="240765"/>
                  <a:pt x="127284" y="240765"/>
                </a:cubicBezTo>
                <a:cubicBezTo>
                  <a:pt x="119457" y="240765"/>
                  <a:pt x="113104" y="234412"/>
                  <a:pt x="113104" y="226585"/>
                </a:cubicBezTo>
                <a:cubicBezTo>
                  <a:pt x="113104" y="218757"/>
                  <a:pt x="119457" y="212404"/>
                  <a:pt x="127284" y="212404"/>
                </a:cubicBezTo>
                <a:close/>
                <a:moveTo>
                  <a:pt x="70733" y="212404"/>
                </a:moveTo>
                <a:cubicBezTo>
                  <a:pt x="78560" y="212404"/>
                  <a:pt x="84913" y="218757"/>
                  <a:pt x="84913" y="226585"/>
                </a:cubicBezTo>
                <a:cubicBezTo>
                  <a:pt x="84913" y="234412"/>
                  <a:pt x="78560" y="240765"/>
                  <a:pt x="70733" y="240765"/>
                </a:cubicBezTo>
                <a:cubicBezTo>
                  <a:pt x="62905" y="240765"/>
                  <a:pt x="56552" y="234412"/>
                  <a:pt x="56552" y="226585"/>
                </a:cubicBezTo>
                <a:cubicBezTo>
                  <a:pt x="56552" y="218757"/>
                  <a:pt x="62905" y="212404"/>
                  <a:pt x="70733" y="212404"/>
                </a:cubicBezTo>
                <a:close/>
                <a:moveTo>
                  <a:pt x="14181" y="159312"/>
                </a:moveTo>
                <a:cubicBezTo>
                  <a:pt x="22065" y="159312"/>
                  <a:pt x="28361" y="165664"/>
                  <a:pt x="28361" y="173492"/>
                </a:cubicBezTo>
                <a:cubicBezTo>
                  <a:pt x="28361" y="181320"/>
                  <a:pt x="22065" y="187673"/>
                  <a:pt x="14181" y="187673"/>
                </a:cubicBezTo>
                <a:cubicBezTo>
                  <a:pt x="6353" y="187673"/>
                  <a:pt x="0" y="181320"/>
                  <a:pt x="0" y="173492"/>
                </a:cubicBezTo>
                <a:cubicBezTo>
                  <a:pt x="0" y="165664"/>
                  <a:pt x="6353" y="159312"/>
                  <a:pt x="14181" y="159312"/>
                </a:cubicBezTo>
                <a:close/>
                <a:moveTo>
                  <a:pt x="14181" y="106220"/>
                </a:moveTo>
                <a:cubicBezTo>
                  <a:pt x="22065" y="106220"/>
                  <a:pt x="28361" y="112573"/>
                  <a:pt x="28361" y="120400"/>
                </a:cubicBezTo>
                <a:cubicBezTo>
                  <a:pt x="28361" y="128228"/>
                  <a:pt x="22065" y="134581"/>
                  <a:pt x="14181" y="134581"/>
                </a:cubicBezTo>
                <a:cubicBezTo>
                  <a:pt x="6353" y="134581"/>
                  <a:pt x="0" y="128228"/>
                  <a:pt x="0" y="120400"/>
                </a:cubicBezTo>
                <a:cubicBezTo>
                  <a:pt x="0" y="112573"/>
                  <a:pt x="6353" y="106220"/>
                  <a:pt x="14181" y="106220"/>
                </a:cubicBezTo>
                <a:close/>
                <a:moveTo>
                  <a:pt x="14181" y="53071"/>
                </a:moveTo>
                <a:cubicBezTo>
                  <a:pt x="22065" y="53071"/>
                  <a:pt x="28361" y="59424"/>
                  <a:pt x="28361" y="67252"/>
                </a:cubicBezTo>
                <a:cubicBezTo>
                  <a:pt x="28361" y="75079"/>
                  <a:pt x="22065" y="81432"/>
                  <a:pt x="14181" y="81432"/>
                </a:cubicBezTo>
                <a:cubicBezTo>
                  <a:pt x="6353" y="81432"/>
                  <a:pt x="0" y="75079"/>
                  <a:pt x="0" y="67252"/>
                </a:cubicBezTo>
                <a:cubicBezTo>
                  <a:pt x="0" y="59424"/>
                  <a:pt x="6353" y="53071"/>
                  <a:pt x="14181" y="53071"/>
                </a:cubicBezTo>
                <a:close/>
                <a:moveTo>
                  <a:pt x="11401" y="263"/>
                </a:moveTo>
                <a:cubicBezTo>
                  <a:pt x="16052" y="-644"/>
                  <a:pt x="20930" y="831"/>
                  <a:pt x="24220" y="4121"/>
                </a:cubicBezTo>
                <a:cubicBezTo>
                  <a:pt x="26886" y="6786"/>
                  <a:pt x="28361" y="10417"/>
                  <a:pt x="28361" y="14160"/>
                </a:cubicBezTo>
                <a:cubicBezTo>
                  <a:pt x="28361" y="17904"/>
                  <a:pt x="26886" y="21534"/>
                  <a:pt x="24220" y="24200"/>
                </a:cubicBezTo>
                <a:cubicBezTo>
                  <a:pt x="21611" y="26809"/>
                  <a:pt x="17924" y="28341"/>
                  <a:pt x="14181" y="28341"/>
                </a:cubicBezTo>
                <a:cubicBezTo>
                  <a:pt x="13273" y="28341"/>
                  <a:pt x="12365" y="28227"/>
                  <a:pt x="11401" y="28057"/>
                </a:cubicBezTo>
                <a:cubicBezTo>
                  <a:pt x="10550" y="27887"/>
                  <a:pt x="9643" y="27603"/>
                  <a:pt x="8792" y="27263"/>
                </a:cubicBezTo>
                <a:cubicBezTo>
                  <a:pt x="7941" y="26923"/>
                  <a:pt x="7090" y="26469"/>
                  <a:pt x="6353" y="25958"/>
                </a:cubicBezTo>
                <a:cubicBezTo>
                  <a:pt x="5559" y="25448"/>
                  <a:pt x="4821" y="24824"/>
                  <a:pt x="4197" y="24200"/>
                </a:cubicBezTo>
                <a:cubicBezTo>
                  <a:pt x="1532" y="21534"/>
                  <a:pt x="0" y="17904"/>
                  <a:pt x="0" y="14160"/>
                </a:cubicBezTo>
                <a:cubicBezTo>
                  <a:pt x="0" y="10417"/>
                  <a:pt x="1532" y="6786"/>
                  <a:pt x="4197" y="4121"/>
                </a:cubicBezTo>
                <a:cubicBezTo>
                  <a:pt x="4821" y="3496"/>
                  <a:pt x="5559" y="2872"/>
                  <a:pt x="6353" y="2362"/>
                </a:cubicBezTo>
                <a:cubicBezTo>
                  <a:pt x="7090" y="1851"/>
                  <a:pt x="7941" y="1398"/>
                  <a:pt x="8792" y="1057"/>
                </a:cubicBezTo>
                <a:cubicBezTo>
                  <a:pt x="9643" y="717"/>
                  <a:pt x="10550" y="433"/>
                  <a:pt x="11401" y="263"/>
                </a:cubicBezTo>
                <a:close/>
              </a:path>
            </a:pathLst>
          </a:custGeom>
          <a:solidFill>
            <a:schemeClr val="accent4"/>
          </a:solidFill>
          <a:ln w="0" cap="flat">
            <a:noFill/>
            <a:prstDash val="solid"/>
            <a:miter/>
          </a:ln>
        </p:spPr>
        <p:txBody>
          <a:bodyPr rtlCol="0" anchor="ctr"/>
          <a:lstStyle/>
          <a:p>
            <a:endParaRPr lang="sv-SE"/>
          </a:p>
        </p:txBody>
      </p:sp>
      <p:sp>
        <p:nvSpPr>
          <p:cNvPr id="16" name="Freeform 15">
            <a:extLst>
              <a:ext uri="{FF2B5EF4-FFF2-40B4-BE49-F238E27FC236}">
                <a16:creationId xmlns:a16="http://schemas.microsoft.com/office/drawing/2014/main" id="{679E4027-37A3-21AD-291D-E42A2D438D99}"/>
              </a:ext>
            </a:extLst>
          </p:cNvPr>
          <p:cNvSpPr/>
          <p:nvPr/>
        </p:nvSpPr>
        <p:spPr>
          <a:xfrm>
            <a:off x="2667801" y="3680651"/>
            <a:ext cx="3815927" cy="1746228"/>
          </a:xfrm>
          <a:custGeom>
            <a:avLst/>
            <a:gdLst>
              <a:gd name="connsiteX0" fmla="*/ 16960 w 3815927"/>
              <a:gd name="connsiteY0" fmla="*/ 1718151 h 1746228"/>
              <a:gd name="connsiteX1" fmla="*/ 19626 w 3815927"/>
              <a:gd name="connsiteY1" fmla="*/ 1718945 h 1746228"/>
              <a:gd name="connsiteX2" fmla="*/ 22065 w 3815927"/>
              <a:gd name="connsiteY2" fmla="*/ 1720250 h 1746228"/>
              <a:gd name="connsiteX3" fmla="*/ 24220 w 3815927"/>
              <a:gd name="connsiteY3" fmla="*/ 1722065 h 1746228"/>
              <a:gd name="connsiteX4" fmla="*/ 25979 w 3815927"/>
              <a:gd name="connsiteY4" fmla="*/ 1724220 h 1746228"/>
              <a:gd name="connsiteX5" fmla="*/ 27283 w 3815927"/>
              <a:gd name="connsiteY5" fmla="*/ 1726659 h 1746228"/>
              <a:gd name="connsiteX6" fmla="*/ 28077 w 3815927"/>
              <a:gd name="connsiteY6" fmla="*/ 1729268 h 1746228"/>
              <a:gd name="connsiteX7" fmla="*/ 28361 w 3815927"/>
              <a:gd name="connsiteY7" fmla="*/ 1732048 h 1746228"/>
              <a:gd name="connsiteX8" fmla="*/ 24220 w 3815927"/>
              <a:gd name="connsiteY8" fmla="*/ 1742088 h 1746228"/>
              <a:gd name="connsiteX9" fmla="*/ 22065 w 3815927"/>
              <a:gd name="connsiteY9" fmla="*/ 1743846 h 1746228"/>
              <a:gd name="connsiteX10" fmla="*/ 19626 w 3815927"/>
              <a:gd name="connsiteY10" fmla="*/ 1745151 h 1746228"/>
              <a:gd name="connsiteX11" fmla="*/ 16960 w 3815927"/>
              <a:gd name="connsiteY11" fmla="*/ 1745945 h 1746228"/>
              <a:gd name="connsiteX12" fmla="*/ 14181 w 3815927"/>
              <a:gd name="connsiteY12" fmla="*/ 1746228 h 1746228"/>
              <a:gd name="connsiteX13" fmla="*/ 4141 w 3815927"/>
              <a:gd name="connsiteY13" fmla="*/ 1742088 h 1746228"/>
              <a:gd name="connsiteX14" fmla="*/ 0 w 3815927"/>
              <a:gd name="connsiteY14" fmla="*/ 1732048 h 1746228"/>
              <a:gd name="connsiteX15" fmla="*/ 284 w 3815927"/>
              <a:gd name="connsiteY15" fmla="*/ 1729268 h 1746228"/>
              <a:gd name="connsiteX16" fmla="*/ 1078 w 3815927"/>
              <a:gd name="connsiteY16" fmla="*/ 1726659 h 1746228"/>
              <a:gd name="connsiteX17" fmla="*/ 2382 w 3815927"/>
              <a:gd name="connsiteY17" fmla="*/ 1724220 h 1746228"/>
              <a:gd name="connsiteX18" fmla="*/ 4141 w 3815927"/>
              <a:gd name="connsiteY18" fmla="*/ 1722065 h 1746228"/>
              <a:gd name="connsiteX19" fmla="*/ 16960 w 3815927"/>
              <a:gd name="connsiteY19" fmla="*/ 1718151 h 1746228"/>
              <a:gd name="connsiteX20" fmla="*/ 14181 w 3815927"/>
              <a:gd name="connsiteY20" fmla="*/ 1660521 h 1746228"/>
              <a:gd name="connsiteX21" fmla="*/ 28361 w 3815927"/>
              <a:gd name="connsiteY21" fmla="*/ 1674702 h 1746228"/>
              <a:gd name="connsiteX22" fmla="*/ 14181 w 3815927"/>
              <a:gd name="connsiteY22" fmla="*/ 1688882 h 1746228"/>
              <a:gd name="connsiteX23" fmla="*/ 0 w 3815927"/>
              <a:gd name="connsiteY23" fmla="*/ 1674702 h 1746228"/>
              <a:gd name="connsiteX24" fmla="*/ 14181 w 3815927"/>
              <a:gd name="connsiteY24" fmla="*/ 1660521 h 1746228"/>
              <a:gd name="connsiteX25" fmla="*/ 14181 w 3815927"/>
              <a:gd name="connsiteY25" fmla="*/ 1603118 h 1746228"/>
              <a:gd name="connsiteX26" fmla="*/ 28361 w 3815927"/>
              <a:gd name="connsiteY26" fmla="*/ 1617299 h 1746228"/>
              <a:gd name="connsiteX27" fmla="*/ 14181 w 3815927"/>
              <a:gd name="connsiteY27" fmla="*/ 1631480 h 1746228"/>
              <a:gd name="connsiteX28" fmla="*/ 0 w 3815927"/>
              <a:gd name="connsiteY28" fmla="*/ 1617299 h 1746228"/>
              <a:gd name="connsiteX29" fmla="*/ 14181 w 3815927"/>
              <a:gd name="connsiteY29" fmla="*/ 1603118 h 1746228"/>
              <a:gd name="connsiteX30" fmla="*/ 14181 w 3815927"/>
              <a:gd name="connsiteY30" fmla="*/ 1545716 h 1746228"/>
              <a:gd name="connsiteX31" fmla="*/ 28361 w 3815927"/>
              <a:gd name="connsiteY31" fmla="*/ 1559953 h 1746228"/>
              <a:gd name="connsiteX32" fmla="*/ 14181 w 3815927"/>
              <a:gd name="connsiteY32" fmla="*/ 1574133 h 1746228"/>
              <a:gd name="connsiteX33" fmla="*/ 0 w 3815927"/>
              <a:gd name="connsiteY33" fmla="*/ 1559953 h 1746228"/>
              <a:gd name="connsiteX34" fmla="*/ 14181 w 3815927"/>
              <a:gd name="connsiteY34" fmla="*/ 1545716 h 1746228"/>
              <a:gd name="connsiteX35" fmla="*/ 14181 w 3815927"/>
              <a:gd name="connsiteY35" fmla="*/ 1488370 h 1746228"/>
              <a:gd name="connsiteX36" fmla="*/ 28361 w 3815927"/>
              <a:gd name="connsiteY36" fmla="*/ 1502550 h 1746228"/>
              <a:gd name="connsiteX37" fmla="*/ 14181 w 3815927"/>
              <a:gd name="connsiteY37" fmla="*/ 1516731 h 1746228"/>
              <a:gd name="connsiteX38" fmla="*/ 0 w 3815927"/>
              <a:gd name="connsiteY38" fmla="*/ 1502550 h 1746228"/>
              <a:gd name="connsiteX39" fmla="*/ 14181 w 3815927"/>
              <a:gd name="connsiteY39" fmla="*/ 1488370 h 1746228"/>
              <a:gd name="connsiteX40" fmla="*/ 14181 w 3815927"/>
              <a:gd name="connsiteY40" fmla="*/ 1430967 h 1746228"/>
              <a:gd name="connsiteX41" fmla="*/ 28361 w 3815927"/>
              <a:gd name="connsiteY41" fmla="*/ 1445204 h 1746228"/>
              <a:gd name="connsiteX42" fmla="*/ 14181 w 3815927"/>
              <a:gd name="connsiteY42" fmla="*/ 1459328 h 1746228"/>
              <a:gd name="connsiteX43" fmla="*/ 0 w 3815927"/>
              <a:gd name="connsiteY43" fmla="*/ 1445204 h 1746228"/>
              <a:gd name="connsiteX44" fmla="*/ 14181 w 3815927"/>
              <a:gd name="connsiteY44" fmla="*/ 1430967 h 1746228"/>
              <a:gd name="connsiteX45" fmla="*/ 14181 w 3815927"/>
              <a:gd name="connsiteY45" fmla="*/ 1373621 h 1746228"/>
              <a:gd name="connsiteX46" fmla="*/ 28361 w 3815927"/>
              <a:gd name="connsiteY46" fmla="*/ 1387801 h 1746228"/>
              <a:gd name="connsiteX47" fmla="*/ 14181 w 3815927"/>
              <a:gd name="connsiteY47" fmla="*/ 1401982 h 1746228"/>
              <a:gd name="connsiteX48" fmla="*/ 0 w 3815927"/>
              <a:gd name="connsiteY48" fmla="*/ 1387801 h 1746228"/>
              <a:gd name="connsiteX49" fmla="*/ 14181 w 3815927"/>
              <a:gd name="connsiteY49" fmla="*/ 1373621 h 1746228"/>
              <a:gd name="connsiteX50" fmla="*/ 14181 w 3815927"/>
              <a:gd name="connsiteY50" fmla="*/ 1316218 h 1746228"/>
              <a:gd name="connsiteX51" fmla="*/ 28361 w 3815927"/>
              <a:gd name="connsiteY51" fmla="*/ 1330398 h 1746228"/>
              <a:gd name="connsiteX52" fmla="*/ 14181 w 3815927"/>
              <a:gd name="connsiteY52" fmla="*/ 1344579 h 1746228"/>
              <a:gd name="connsiteX53" fmla="*/ 0 w 3815927"/>
              <a:gd name="connsiteY53" fmla="*/ 1330398 h 1746228"/>
              <a:gd name="connsiteX54" fmla="*/ 14181 w 3815927"/>
              <a:gd name="connsiteY54" fmla="*/ 1316218 h 1746228"/>
              <a:gd name="connsiteX55" fmla="*/ 14181 w 3815927"/>
              <a:gd name="connsiteY55" fmla="*/ 1258872 h 1746228"/>
              <a:gd name="connsiteX56" fmla="*/ 28361 w 3815927"/>
              <a:gd name="connsiteY56" fmla="*/ 1273052 h 1746228"/>
              <a:gd name="connsiteX57" fmla="*/ 14181 w 3815927"/>
              <a:gd name="connsiteY57" fmla="*/ 1287233 h 1746228"/>
              <a:gd name="connsiteX58" fmla="*/ 0 w 3815927"/>
              <a:gd name="connsiteY58" fmla="*/ 1273052 h 1746228"/>
              <a:gd name="connsiteX59" fmla="*/ 14181 w 3815927"/>
              <a:gd name="connsiteY59" fmla="*/ 1258872 h 1746228"/>
              <a:gd name="connsiteX60" fmla="*/ 14181 w 3815927"/>
              <a:gd name="connsiteY60" fmla="*/ 1201469 h 1746228"/>
              <a:gd name="connsiteX61" fmla="*/ 28361 w 3815927"/>
              <a:gd name="connsiteY61" fmla="*/ 1215649 h 1746228"/>
              <a:gd name="connsiteX62" fmla="*/ 14181 w 3815927"/>
              <a:gd name="connsiteY62" fmla="*/ 1229830 h 1746228"/>
              <a:gd name="connsiteX63" fmla="*/ 0 w 3815927"/>
              <a:gd name="connsiteY63" fmla="*/ 1215649 h 1746228"/>
              <a:gd name="connsiteX64" fmla="*/ 14181 w 3815927"/>
              <a:gd name="connsiteY64" fmla="*/ 1201469 h 1746228"/>
              <a:gd name="connsiteX65" fmla="*/ 14181 w 3815927"/>
              <a:gd name="connsiteY65" fmla="*/ 1144123 h 1746228"/>
              <a:gd name="connsiteX66" fmla="*/ 28361 w 3815927"/>
              <a:gd name="connsiteY66" fmla="*/ 1158303 h 1746228"/>
              <a:gd name="connsiteX67" fmla="*/ 14181 w 3815927"/>
              <a:gd name="connsiteY67" fmla="*/ 1172484 h 1746228"/>
              <a:gd name="connsiteX68" fmla="*/ 0 w 3815927"/>
              <a:gd name="connsiteY68" fmla="*/ 1158303 h 1746228"/>
              <a:gd name="connsiteX69" fmla="*/ 14181 w 3815927"/>
              <a:gd name="connsiteY69" fmla="*/ 1144123 h 1746228"/>
              <a:gd name="connsiteX70" fmla="*/ 14181 w 3815927"/>
              <a:gd name="connsiteY70" fmla="*/ 1086720 h 1746228"/>
              <a:gd name="connsiteX71" fmla="*/ 28361 w 3815927"/>
              <a:gd name="connsiteY71" fmla="*/ 1100900 h 1746228"/>
              <a:gd name="connsiteX72" fmla="*/ 14181 w 3815927"/>
              <a:gd name="connsiteY72" fmla="*/ 1115081 h 1746228"/>
              <a:gd name="connsiteX73" fmla="*/ 0 w 3815927"/>
              <a:gd name="connsiteY73" fmla="*/ 1100900 h 1746228"/>
              <a:gd name="connsiteX74" fmla="*/ 14181 w 3815927"/>
              <a:gd name="connsiteY74" fmla="*/ 1086720 h 1746228"/>
              <a:gd name="connsiteX75" fmla="*/ 14181 w 3815927"/>
              <a:gd name="connsiteY75" fmla="*/ 1029317 h 1746228"/>
              <a:gd name="connsiteX76" fmla="*/ 28361 w 3815927"/>
              <a:gd name="connsiteY76" fmla="*/ 1043498 h 1746228"/>
              <a:gd name="connsiteX77" fmla="*/ 14181 w 3815927"/>
              <a:gd name="connsiteY77" fmla="*/ 1057678 h 1746228"/>
              <a:gd name="connsiteX78" fmla="*/ 0 w 3815927"/>
              <a:gd name="connsiteY78" fmla="*/ 1043498 h 1746228"/>
              <a:gd name="connsiteX79" fmla="*/ 14181 w 3815927"/>
              <a:gd name="connsiteY79" fmla="*/ 1029317 h 1746228"/>
              <a:gd name="connsiteX80" fmla="*/ 14181 w 3815927"/>
              <a:gd name="connsiteY80" fmla="*/ 971971 h 1746228"/>
              <a:gd name="connsiteX81" fmla="*/ 28361 w 3815927"/>
              <a:gd name="connsiteY81" fmla="*/ 986152 h 1746228"/>
              <a:gd name="connsiteX82" fmla="*/ 14181 w 3815927"/>
              <a:gd name="connsiteY82" fmla="*/ 1000332 h 1746228"/>
              <a:gd name="connsiteX83" fmla="*/ 0 w 3815927"/>
              <a:gd name="connsiteY83" fmla="*/ 986152 h 1746228"/>
              <a:gd name="connsiteX84" fmla="*/ 14181 w 3815927"/>
              <a:gd name="connsiteY84" fmla="*/ 971971 h 1746228"/>
              <a:gd name="connsiteX85" fmla="*/ 14181 w 3815927"/>
              <a:gd name="connsiteY85" fmla="*/ 914568 h 1746228"/>
              <a:gd name="connsiteX86" fmla="*/ 28361 w 3815927"/>
              <a:gd name="connsiteY86" fmla="*/ 928749 h 1746228"/>
              <a:gd name="connsiteX87" fmla="*/ 14181 w 3815927"/>
              <a:gd name="connsiteY87" fmla="*/ 942929 h 1746228"/>
              <a:gd name="connsiteX88" fmla="*/ 0 w 3815927"/>
              <a:gd name="connsiteY88" fmla="*/ 928749 h 1746228"/>
              <a:gd name="connsiteX89" fmla="*/ 14181 w 3815927"/>
              <a:gd name="connsiteY89" fmla="*/ 914568 h 1746228"/>
              <a:gd name="connsiteX90" fmla="*/ 14181 w 3815927"/>
              <a:gd name="connsiteY90" fmla="*/ 857222 h 1746228"/>
              <a:gd name="connsiteX91" fmla="*/ 28361 w 3815927"/>
              <a:gd name="connsiteY91" fmla="*/ 871402 h 1746228"/>
              <a:gd name="connsiteX92" fmla="*/ 14181 w 3815927"/>
              <a:gd name="connsiteY92" fmla="*/ 885583 h 1746228"/>
              <a:gd name="connsiteX93" fmla="*/ 0 w 3815927"/>
              <a:gd name="connsiteY93" fmla="*/ 871402 h 1746228"/>
              <a:gd name="connsiteX94" fmla="*/ 14181 w 3815927"/>
              <a:gd name="connsiteY94" fmla="*/ 857222 h 1746228"/>
              <a:gd name="connsiteX95" fmla="*/ 14181 w 3815927"/>
              <a:gd name="connsiteY95" fmla="*/ 799819 h 1746228"/>
              <a:gd name="connsiteX96" fmla="*/ 28361 w 3815927"/>
              <a:gd name="connsiteY96" fmla="*/ 814000 h 1746228"/>
              <a:gd name="connsiteX97" fmla="*/ 14181 w 3815927"/>
              <a:gd name="connsiteY97" fmla="*/ 828180 h 1746228"/>
              <a:gd name="connsiteX98" fmla="*/ 0 w 3815927"/>
              <a:gd name="connsiteY98" fmla="*/ 814000 h 1746228"/>
              <a:gd name="connsiteX99" fmla="*/ 14181 w 3815927"/>
              <a:gd name="connsiteY99" fmla="*/ 799819 h 1746228"/>
              <a:gd name="connsiteX100" fmla="*/ 14181 w 3815927"/>
              <a:gd name="connsiteY100" fmla="*/ 742416 h 1746228"/>
              <a:gd name="connsiteX101" fmla="*/ 28361 w 3815927"/>
              <a:gd name="connsiteY101" fmla="*/ 756653 h 1746228"/>
              <a:gd name="connsiteX102" fmla="*/ 14181 w 3815927"/>
              <a:gd name="connsiteY102" fmla="*/ 770834 h 1746228"/>
              <a:gd name="connsiteX103" fmla="*/ 0 w 3815927"/>
              <a:gd name="connsiteY103" fmla="*/ 756653 h 1746228"/>
              <a:gd name="connsiteX104" fmla="*/ 14181 w 3815927"/>
              <a:gd name="connsiteY104" fmla="*/ 742416 h 1746228"/>
              <a:gd name="connsiteX105" fmla="*/ 14181 w 3815927"/>
              <a:gd name="connsiteY105" fmla="*/ 685070 h 1746228"/>
              <a:gd name="connsiteX106" fmla="*/ 28361 w 3815927"/>
              <a:gd name="connsiteY106" fmla="*/ 699251 h 1746228"/>
              <a:gd name="connsiteX107" fmla="*/ 14181 w 3815927"/>
              <a:gd name="connsiteY107" fmla="*/ 713431 h 1746228"/>
              <a:gd name="connsiteX108" fmla="*/ 0 w 3815927"/>
              <a:gd name="connsiteY108" fmla="*/ 699251 h 1746228"/>
              <a:gd name="connsiteX109" fmla="*/ 14181 w 3815927"/>
              <a:gd name="connsiteY109" fmla="*/ 685070 h 1746228"/>
              <a:gd name="connsiteX110" fmla="*/ 14181 w 3815927"/>
              <a:gd name="connsiteY110" fmla="*/ 627667 h 1746228"/>
              <a:gd name="connsiteX111" fmla="*/ 28361 w 3815927"/>
              <a:gd name="connsiteY111" fmla="*/ 641905 h 1746228"/>
              <a:gd name="connsiteX112" fmla="*/ 14181 w 3815927"/>
              <a:gd name="connsiteY112" fmla="*/ 656028 h 1746228"/>
              <a:gd name="connsiteX113" fmla="*/ 0 w 3815927"/>
              <a:gd name="connsiteY113" fmla="*/ 641905 h 1746228"/>
              <a:gd name="connsiteX114" fmla="*/ 14181 w 3815927"/>
              <a:gd name="connsiteY114" fmla="*/ 627667 h 1746228"/>
              <a:gd name="connsiteX115" fmla="*/ 14181 w 3815927"/>
              <a:gd name="connsiteY115" fmla="*/ 570321 h 1746228"/>
              <a:gd name="connsiteX116" fmla="*/ 28361 w 3815927"/>
              <a:gd name="connsiteY116" fmla="*/ 584502 h 1746228"/>
              <a:gd name="connsiteX117" fmla="*/ 14181 w 3815927"/>
              <a:gd name="connsiteY117" fmla="*/ 598682 h 1746228"/>
              <a:gd name="connsiteX118" fmla="*/ 0 w 3815927"/>
              <a:gd name="connsiteY118" fmla="*/ 584502 h 1746228"/>
              <a:gd name="connsiteX119" fmla="*/ 14181 w 3815927"/>
              <a:gd name="connsiteY119" fmla="*/ 570321 h 1746228"/>
              <a:gd name="connsiteX120" fmla="*/ 14181 w 3815927"/>
              <a:gd name="connsiteY120" fmla="*/ 512918 h 1746228"/>
              <a:gd name="connsiteX121" fmla="*/ 28361 w 3815927"/>
              <a:gd name="connsiteY121" fmla="*/ 527099 h 1746228"/>
              <a:gd name="connsiteX122" fmla="*/ 14181 w 3815927"/>
              <a:gd name="connsiteY122" fmla="*/ 541280 h 1746228"/>
              <a:gd name="connsiteX123" fmla="*/ 0 w 3815927"/>
              <a:gd name="connsiteY123" fmla="*/ 527099 h 1746228"/>
              <a:gd name="connsiteX124" fmla="*/ 14181 w 3815927"/>
              <a:gd name="connsiteY124" fmla="*/ 512918 h 1746228"/>
              <a:gd name="connsiteX125" fmla="*/ 14181 w 3815927"/>
              <a:gd name="connsiteY125" fmla="*/ 455572 h 1746228"/>
              <a:gd name="connsiteX126" fmla="*/ 28361 w 3815927"/>
              <a:gd name="connsiteY126" fmla="*/ 469753 h 1746228"/>
              <a:gd name="connsiteX127" fmla="*/ 14181 w 3815927"/>
              <a:gd name="connsiteY127" fmla="*/ 483933 h 1746228"/>
              <a:gd name="connsiteX128" fmla="*/ 0 w 3815927"/>
              <a:gd name="connsiteY128" fmla="*/ 469753 h 1746228"/>
              <a:gd name="connsiteX129" fmla="*/ 14181 w 3815927"/>
              <a:gd name="connsiteY129" fmla="*/ 455572 h 1746228"/>
              <a:gd name="connsiteX130" fmla="*/ 14181 w 3815927"/>
              <a:gd name="connsiteY130" fmla="*/ 398169 h 1746228"/>
              <a:gd name="connsiteX131" fmla="*/ 28361 w 3815927"/>
              <a:gd name="connsiteY131" fmla="*/ 412350 h 1746228"/>
              <a:gd name="connsiteX132" fmla="*/ 14181 w 3815927"/>
              <a:gd name="connsiteY132" fmla="*/ 426530 h 1746228"/>
              <a:gd name="connsiteX133" fmla="*/ 0 w 3815927"/>
              <a:gd name="connsiteY133" fmla="*/ 412350 h 1746228"/>
              <a:gd name="connsiteX134" fmla="*/ 14181 w 3815927"/>
              <a:gd name="connsiteY134" fmla="*/ 398169 h 1746228"/>
              <a:gd name="connsiteX135" fmla="*/ 14181 w 3815927"/>
              <a:gd name="connsiteY135" fmla="*/ 340766 h 1746228"/>
              <a:gd name="connsiteX136" fmla="*/ 28361 w 3815927"/>
              <a:gd name="connsiteY136" fmla="*/ 355004 h 1746228"/>
              <a:gd name="connsiteX137" fmla="*/ 14181 w 3815927"/>
              <a:gd name="connsiteY137" fmla="*/ 369128 h 1746228"/>
              <a:gd name="connsiteX138" fmla="*/ 0 w 3815927"/>
              <a:gd name="connsiteY138" fmla="*/ 355004 h 1746228"/>
              <a:gd name="connsiteX139" fmla="*/ 14181 w 3815927"/>
              <a:gd name="connsiteY139" fmla="*/ 340766 h 1746228"/>
              <a:gd name="connsiteX140" fmla="*/ 38684 w 3815927"/>
              <a:gd name="connsiteY140" fmla="*/ 293545 h 1746228"/>
              <a:gd name="connsiteX141" fmla="*/ 48724 w 3815927"/>
              <a:gd name="connsiteY141" fmla="*/ 297714 h 1746228"/>
              <a:gd name="connsiteX142" fmla="*/ 48724 w 3815927"/>
              <a:gd name="connsiteY142" fmla="*/ 317794 h 1746228"/>
              <a:gd name="connsiteX143" fmla="*/ 38684 w 3815927"/>
              <a:gd name="connsiteY143" fmla="*/ 321935 h 1746228"/>
              <a:gd name="connsiteX144" fmla="*/ 28645 w 3815927"/>
              <a:gd name="connsiteY144" fmla="*/ 317794 h 1746228"/>
              <a:gd name="connsiteX145" fmla="*/ 28645 w 3815927"/>
              <a:gd name="connsiteY145" fmla="*/ 297714 h 1746228"/>
              <a:gd name="connsiteX146" fmla="*/ 38684 w 3815927"/>
              <a:gd name="connsiteY146" fmla="*/ 293545 h 1746228"/>
              <a:gd name="connsiteX147" fmla="*/ 79270 w 3815927"/>
              <a:gd name="connsiteY147" fmla="*/ 252989 h 1746228"/>
              <a:gd name="connsiteX148" fmla="*/ 89281 w 3815927"/>
              <a:gd name="connsiteY148" fmla="*/ 257158 h 1746228"/>
              <a:gd name="connsiteX149" fmla="*/ 89281 w 3815927"/>
              <a:gd name="connsiteY149" fmla="*/ 277181 h 1746228"/>
              <a:gd name="connsiteX150" fmla="*/ 79298 w 3815927"/>
              <a:gd name="connsiteY150" fmla="*/ 281378 h 1746228"/>
              <a:gd name="connsiteX151" fmla="*/ 69258 w 3815927"/>
              <a:gd name="connsiteY151" fmla="*/ 277181 h 1746228"/>
              <a:gd name="connsiteX152" fmla="*/ 69258 w 3815927"/>
              <a:gd name="connsiteY152" fmla="*/ 257158 h 1746228"/>
              <a:gd name="connsiteX153" fmla="*/ 79270 w 3815927"/>
              <a:gd name="connsiteY153" fmla="*/ 252989 h 1746228"/>
              <a:gd name="connsiteX154" fmla="*/ 3743323 w 3815927"/>
              <a:gd name="connsiteY154" fmla="*/ 212688 h 1746228"/>
              <a:gd name="connsiteX155" fmla="*/ 3748882 w 3815927"/>
              <a:gd name="connsiteY155" fmla="*/ 212688 h 1746228"/>
              <a:gd name="connsiteX156" fmla="*/ 3751548 w 3815927"/>
              <a:gd name="connsiteY156" fmla="*/ 213482 h 1746228"/>
              <a:gd name="connsiteX157" fmla="*/ 3753987 w 3815927"/>
              <a:gd name="connsiteY157" fmla="*/ 214786 h 1746228"/>
              <a:gd name="connsiteX158" fmla="*/ 3756142 w 3815927"/>
              <a:gd name="connsiteY158" fmla="*/ 216601 h 1746228"/>
              <a:gd name="connsiteX159" fmla="*/ 3757901 w 3815927"/>
              <a:gd name="connsiteY159" fmla="*/ 218757 h 1746228"/>
              <a:gd name="connsiteX160" fmla="*/ 3759205 w 3815927"/>
              <a:gd name="connsiteY160" fmla="*/ 221196 h 1746228"/>
              <a:gd name="connsiteX161" fmla="*/ 3760000 w 3815927"/>
              <a:gd name="connsiteY161" fmla="*/ 223805 h 1746228"/>
              <a:gd name="connsiteX162" fmla="*/ 3760283 w 3815927"/>
              <a:gd name="connsiteY162" fmla="*/ 226585 h 1746228"/>
              <a:gd name="connsiteX163" fmla="*/ 3760000 w 3815927"/>
              <a:gd name="connsiteY163" fmla="*/ 229364 h 1746228"/>
              <a:gd name="connsiteX164" fmla="*/ 3759205 w 3815927"/>
              <a:gd name="connsiteY164" fmla="*/ 232030 h 1746228"/>
              <a:gd name="connsiteX165" fmla="*/ 3757901 w 3815927"/>
              <a:gd name="connsiteY165" fmla="*/ 234469 h 1746228"/>
              <a:gd name="connsiteX166" fmla="*/ 3756142 w 3815927"/>
              <a:gd name="connsiteY166" fmla="*/ 236625 h 1746228"/>
              <a:gd name="connsiteX167" fmla="*/ 3753987 w 3815927"/>
              <a:gd name="connsiteY167" fmla="*/ 238383 h 1746228"/>
              <a:gd name="connsiteX168" fmla="*/ 3751548 w 3815927"/>
              <a:gd name="connsiteY168" fmla="*/ 239687 h 1746228"/>
              <a:gd name="connsiteX169" fmla="*/ 3748882 w 3815927"/>
              <a:gd name="connsiteY169" fmla="*/ 240482 h 1746228"/>
              <a:gd name="connsiteX170" fmla="*/ 3746103 w 3815927"/>
              <a:gd name="connsiteY170" fmla="*/ 240765 h 1746228"/>
              <a:gd name="connsiteX171" fmla="*/ 3743323 w 3815927"/>
              <a:gd name="connsiteY171" fmla="*/ 240482 h 1746228"/>
              <a:gd name="connsiteX172" fmla="*/ 3740657 w 3815927"/>
              <a:gd name="connsiteY172" fmla="*/ 239687 h 1746228"/>
              <a:gd name="connsiteX173" fmla="*/ 3738218 w 3815927"/>
              <a:gd name="connsiteY173" fmla="*/ 238383 h 1746228"/>
              <a:gd name="connsiteX174" fmla="*/ 3736063 w 3815927"/>
              <a:gd name="connsiteY174" fmla="*/ 236625 h 1746228"/>
              <a:gd name="connsiteX175" fmla="*/ 3734304 w 3815927"/>
              <a:gd name="connsiteY175" fmla="*/ 234469 h 1746228"/>
              <a:gd name="connsiteX176" fmla="*/ 3733000 w 3815927"/>
              <a:gd name="connsiteY176" fmla="*/ 232030 h 1746228"/>
              <a:gd name="connsiteX177" fmla="*/ 3732206 w 3815927"/>
              <a:gd name="connsiteY177" fmla="*/ 229364 h 1746228"/>
              <a:gd name="connsiteX178" fmla="*/ 3731922 w 3815927"/>
              <a:gd name="connsiteY178" fmla="*/ 226585 h 1746228"/>
              <a:gd name="connsiteX179" fmla="*/ 3732206 w 3815927"/>
              <a:gd name="connsiteY179" fmla="*/ 223805 h 1746228"/>
              <a:gd name="connsiteX180" fmla="*/ 3733000 w 3815927"/>
              <a:gd name="connsiteY180" fmla="*/ 221196 h 1746228"/>
              <a:gd name="connsiteX181" fmla="*/ 3734304 w 3815927"/>
              <a:gd name="connsiteY181" fmla="*/ 218757 h 1746228"/>
              <a:gd name="connsiteX182" fmla="*/ 3736063 w 3815927"/>
              <a:gd name="connsiteY182" fmla="*/ 216601 h 1746228"/>
              <a:gd name="connsiteX183" fmla="*/ 3738218 w 3815927"/>
              <a:gd name="connsiteY183" fmla="*/ 214786 h 1746228"/>
              <a:gd name="connsiteX184" fmla="*/ 3740657 w 3815927"/>
              <a:gd name="connsiteY184" fmla="*/ 213482 h 1746228"/>
              <a:gd name="connsiteX185" fmla="*/ 3743323 w 3815927"/>
              <a:gd name="connsiteY185" fmla="*/ 212688 h 1746228"/>
              <a:gd name="connsiteX186" fmla="*/ 117074 w 3815927"/>
              <a:gd name="connsiteY186" fmla="*/ 212688 h 1746228"/>
              <a:gd name="connsiteX187" fmla="*/ 122633 w 3815927"/>
              <a:gd name="connsiteY187" fmla="*/ 212688 h 1746228"/>
              <a:gd name="connsiteX188" fmla="*/ 125242 w 3815927"/>
              <a:gd name="connsiteY188" fmla="*/ 213482 h 1746228"/>
              <a:gd name="connsiteX189" fmla="*/ 127738 w 3815927"/>
              <a:gd name="connsiteY189" fmla="*/ 214786 h 1746228"/>
              <a:gd name="connsiteX190" fmla="*/ 129893 w 3815927"/>
              <a:gd name="connsiteY190" fmla="*/ 216601 h 1746228"/>
              <a:gd name="connsiteX191" fmla="*/ 131652 w 3815927"/>
              <a:gd name="connsiteY191" fmla="*/ 218757 h 1746228"/>
              <a:gd name="connsiteX192" fmla="*/ 132956 w 3815927"/>
              <a:gd name="connsiteY192" fmla="*/ 221196 h 1746228"/>
              <a:gd name="connsiteX193" fmla="*/ 133750 w 3815927"/>
              <a:gd name="connsiteY193" fmla="*/ 223805 h 1746228"/>
              <a:gd name="connsiteX194" fmla="*/ 134034 w 3815927"/>
              <a:gd name="connsiteY194" fmla="*/ 226585 h 1746228"/>
              <a:gd name="connsiteX195" fmla="*/ 129893 w 3815927"/>
              <a:gd name="connsiteY195" fmla="*/ 236625 h 1746228"/>
              <a:gd name="connsiteX196" fmla="*/ 127738 w 3815927"/>
              <a:gd name="connsiteY196" fmla="*/ 238383 h 1746228"/>
              <a:gd name="connsiteX197" fmla="*/ 125242 w 3815927"/>
              <a:gd name="connsiteY197" fmla="*/ 239687 h 1746228"/>
              <a:gd name="connsiteX198" fmla="*/ 122633 w 3815927"/>
              <a:gd name="connsiteY198" fmla="*/ 240482 h 1746228"/>
              <a:gd name="connsiteX199" fmla="*/ 119854 w 3815927"/>
              <a:gd name="connsiteY199" fmla="*/ 240765 h 1746228"/>
              <a:gd name="connsiteX200" fmla="*/ 117074 w 3815927"/>
              <a:gd name="connsiteY200" fmla="*/ 240482 h 1746228"/>
              <a:gd name="connsiteX201" fmla="*/ 114408 w 3815927"/>
              <a:gd name="connsiteY201" fmla="*/ 239687 h 1746228"/>
              <a:gd name="connsiteX202" fmla="*/ 111969 w 3815927"/>
              <a:gd name="connsiteY202" fmla="*/ 238383 h 1746228"/>
              <a:gd name="connsiteX203" fmla="*/ 109814 w 3815927"/>
              <a:gd name="connsiteY203" fmla="*/ 236625 h 1746228"/>
              <a:gd name="connsiteX204" fmla="*/ 108055 w 3815927"/>
              <a:gd name="connsiteY204" fmla="*/ 234469 h 1746228"/>
              <a:gd name="connsiteX205" fmla="*/ 106751 w 3815927"/>
              <a:gd name="connsiteY205" fmla="*/ 232030 h 1746228"/>
              <a:gd name="connsiteX206" fmla="*/ 105957 w 3815927"/>
              <a:gd name="connsiteY206" fmla="*/ 229364 h 1746228"/>
              <a:gd name="connsiteX207" fmla="*/ 105673 w 3815927"/>
              <a:gd name="connsiteY207" fmla="*/ 226585 h 1746228"/>
              <a:gd name="connsiteX208" fmla="*/ 105957 w 3815927"/>
              <a:gd name="connsiteY208" fmla="*/ 223805 h 1746228"/>
              <a:gd name="connsiteX209" fmla="*/ 106751 w 3815927"/>
              <a:gd name="connsiteY209" fmla="*/ 221196 h 1746228"/>
              <a:gd name="connsiteX210" fmla="*/ 108055 w 3815927"/>
              <a:gd name="connsiteY210" fmla="*/ 218757 h 1746228"/>
              <a:gd name="connsiteX211" fmla="*/ 109814 w 3815927"/>
              <a:gd name="connsiteY211" fmla="*/ 216601 h 1746228"/>
              <a:gd name="connsiteX212" fmla="*/ 111969 w 3815927"/>
              <a:gd name="connsiteY212" fmla="*/ 214786 h 1746228"/>
              <a:gd name="connsiteX213" fmla="*/ 114408 w 3815927"/>
              <a:gd name="connsiteY213" fmla="*/ 213482 h 1746228"/>
              <a:gd name="connsiteX214" fmla="*/ 117074 w 3815927"/>
              <a:gd name="connsiteY214" fmla="*/ 212688 h 1746228"/>
              <a:gd name="connsiteX215" fmla="*/ 3801768 w 3815927"/>
              <a:gd name="connsiteY215" fmla="*/ 212602 h 1746228"/>
              <a:gd name="connsiteX216" fmla="*/ 3811786 w 3815927"/>
              <a:gd name="connsiteY216" fmla="*/ 216601 h 1746228"/>
              <a:gd name="connsiteX217" fmla="*/ 3813545 w 3815927"/>
              <a:gd name="connsiteY217" fmla="*/ 218756 h 1746228"/>
              <a:gd name="connsiteX218" fmla="*/ 3814849 w 3815927"/>
              <a:gd name="connsiteY218" fmla="*/ 221195 h 1746228"/>
              <a:gd name="connsiteX219" fmla="*/ 3815644 w 3815927"/>
              <a:gd name="connsiteY219" fmla="*/ 223805 h 1746228"/>
              <a:gd name="connsiteX220" fmla="*/ 3815927 w 3815927"/>
              <a:gd name="connsiteY220" fmla="*/ 226584 h 1746228"/>
              <a:gd name="connsiteX221" fmla="*/ 3815644 w 3815927"/>
              <a:gd name="connsiteY221" fmla="*/ 229363 h 1746228"/>
              <a:gd name="connsiteX222" fmla="*/ 3814849 w 3815927"/>
              <a:gd name="connsiteY222" fmla="*/ 232030 h 1746228"/>
              <a:gd name="connsiteX223" fmla="*/ 3813545 w 3815927"/>
              <a:gd name="connsiteY223" fmla="*/ 234469 h 1746228"/>
              <a:gd name="connsiteX224" fmla="*/ 3811786 w 3815927"/>
              <a:gd name="connsiteY224" fmla="*/ 236624 h 1746228"/>
              <a:gd name="connsiteX225" fmla="*/ 3801747 w 3815927"/>
              <a:gd name="connsiteY225" fmla="*/ 240765 h 1746228"/>
              <a:gd name="connsiteX226" fmla="*/ 3791707 w 3815927"/>
              <a:gd name="connsiteY226" fmla="*/ 236624 h 1746228"/>
              <a:gd name="connsiteX227" fmla="*/ 3787566 w 3815927"/>
              <a:gd name="connsiteY227" fmla="*/ 226584 h 1746228"/>
              <a:gd name="connsiteX228" fmla="*/ 3787850 w 3815927"/>
              <a:gd name="connsiteY228" fmla="*/ 223805 h 1746228"/>
              <a:gd name="connsiteX229" fmla="*/ 3788644 w 3815927"/>
              <a:gd name="connsiteY229" fmla="*/ 221195 h 1746228"/>
              <a:gd name="connsiteX230" fmla="*/ 3789948 w 3815927"/>
              <a:gd name="connsiteY230" fmla="*/ 218756 h 1746228"/>
              <a:gd name="connsiteX231" fmla="*/ 3791707 w 3815927"/>
              <a:gd name="connsiteY231" fmla="*/ 216601 h 1746228"/>
              <a:gd name="connsiteX232" fmla="*/ 3801768 w 3815927"/>
              <a:gd name="connsiteY232" fmla="*/ 212602 h 1746228"/>
              <a:gd name="connsiteX233" fmla="*/ 3689437 w 3815927"/>
              <a:gd name="connsiteY233" fmla="*/ 212404 h 1746228"/>
              <a:gd name="connsiteX234" fmla="*/ 3703618 w 3815927"/>
              <a:gd name="connsiteY234" fmla="*/ 226585 h 1746228"/>
              <a:gd name="connsiteX235" fmla="*/ 3689437 w 3815927"/>
              <a:gd name="connsiteY235" fmla="*/ 240765 h 1746228"/>
              <a:gd name="connsiteX236" fmla="*/ 3675257 w 3815927"/>
              <a:gd name="connsiteY236" fmla="*/ 226585 h 1746228"/>
              <a:gd name="connsiteX237" fmla="*/ 3689437 w 3815927"/>
              <a:gd name="connsiteY237" fmla="*/ 212404 h 1746228"/>
              <a:gd name="connsiteX238" fmla="*/ 3632772 w 3815927"/>
              <a:gd name="connsiteY238" fmla="*/ 212404 h 1746228"/>
              <a:gd name="connsiteX239" fmla="*/ 3646952 w 3815927"/>
              <a:gd name="connsiteY239" fmla="*/ 226585 h 1746228"/>
              <a:gd name="connsiteX240" fmla="*/ 3632772 w 3815927"/>
              <a:gd name="connsiteY240" fmla="*/ 240765 h 1746228"/>
              <a:gd name="connsiteX241" fmla="*/ 3618591 w 3815927"/>
              <a:gd name="connsiteY241" fmla="*/ 226585 h 1746228"/>
              <a:gd name="connsiteX242" fmla="*/ 3632772 w 3815927"/>
              <a:gd name="connsiteY242" fmla="*/ 212404 h 1746228"/>
              <a:gd name="connsiteX243" fmla="*/ 3576106 w 3815927"/>
              <a:gd name="connsiteY243" fmla="*/ 212404 h 1746228"/>
              <a:gd name="connsiteX244" fmla="*/ 3590287 w 3815927"/>
              <a:gd name="connsiteY244" fmla="*/ 226585 h 1746228"/>
              <a:gd name="connsiteX245" fmla="*/ 3576106 w 3815927"/>
              <a:gd name="connsiteY245" fmla="*/ 240765 h 1746228"/>
              <a:gd name="connsiteX246" fmla="*/ 3561926 w 3815927"/>
              <a:gd name="connsiteY246" fmla="*/ 226585 h 1746228"/>
              <a:gd name="connsiteX247" fmla="*/ 3576106 w 3815927"/>
              <a:gd name="connsiteY247" fmla="*/ 212404 h 1746228"/>
              <a:gd name="connsiteX248" fmla="*/ 3519441 w 3815927"/>
              <a:gd name="connsiteY248" fmla="*/ 212404 h 1746228"/>
              <a:gd name="connsiteX249" fmla="*/ 3533621 w 3815927"/>
              <a:gd name="connsiteY249" fmla="*/ 226585 h 1746228"/>
              <a:gd name="connsiteX250" fmla="*/ 3519441 w 3815927"/>
              <a:gd name="connsiteY250" fmla="*/ 240765 h 1746228"/>
              <a:gd name="connsiteX251" fmla="*/ 3505260 w 3815927"/>
              <a:gd name="connsiteY251" fmla="*/ 226585 h 1746228"/>
              <a:gd name="connsiteX252" fmla="*/ 3519441 w 3815927"/>
              <a:gd name="connsiteY252" fmla="*/ 212404 h 1746228"/>
              <a:gd name="connsiteX253" fmla="*/ 3462832 w 3815927"/>
              <a:gd name="connsiteY253" fmla="*/ 212404 h 1746228"/>
              <a:gd name="connsiteX254" fmla="*/ 3477013 w 3815927"/>
              <a:gd name="connsiteY254" fmla="*/ 226585 h 1746228"/>
              <a:gd name="connsiteX255" fmla="*/ 3462832 w 3815927"/>
              <a:gd name="connsiteY255" fmla="*/ 240765 h 1746228"/>
              <a:gd name="connsiteX256" fmla="*/ 3448652 w 3815927"/>
              <a:gd name="connsiteY256" fmla="*/ 226585 h 1746228"/>
              <a:gd name="connsiteX257" fmla="*/ 3462832 w 3815927"/>
              <a:gd name="connsiteY257" fmla="*/ 212404 h 1746228"/>
              <a:gd name="connsiteX258" fmla="*/ 3406167 w 3815927"/>
              <a:gd name="connsiteY258" fmla="*/ 212404 h 1746228"/>
              <a:gd name="connsiteX259" fmla="*/ 3420347 w 3815927"/>
              <a:gd name="connsiteY259" fmla="*/ 226585 h 1746228"/>
              <a:gd name="connsiteX260" fmla="*/ 3406167 w 3815927"/>
              <a:gd name="connsiteY260" fmla="*/ 240765 h 1746228"/>
              <a:gd name="connsiteX261" fmla="*/ 3391929 w 3815927"/>
              <a:gd name="connsiteY261" fmla="*/ 226585 h 1746228"/>
              <a:gd name="connsiteX262" fmla="*/ 3406167 w 3815927"/>
              <a:gd name="connsiteY262" fmla="*/ 212404 h 1746228"/>
              <a:gd name="connsiteX263" fmla="*/ 3349501 w 3815927"/>
              <a:gd name="connsiteY263" fmla="*/ 212404 h 1746228"/>
              <a:gd name="connsiteX264" fmla="*/ 3363682 w 3815927"/>
              <a:gd name="connsiteY264" fmla="*/ 226585 h 1746228"/>
              <a:gd name="connsiteX265" fmla="*/ 3349501 w 3815927"/>
              <a:gd name="connsiteY265" fmla="*/ 240765 h 1746228"/>
              <a:gd name="connsiteX266" fmla="*/ 3335321 w 3815927"/>
              <a:gd name="connsiteY266" fmla="*/ 226585 h 1746228"/>
              <a:gd name="connsiteX267" fmla="*/ 3349501 w 3815927"/>
              <a:gd name="connsiteY267" fmla="*/ 212404 h 1746228"/>
              <a:gd name="connsiteX268" fmla="*/ 3292836 w 3815927"/>
              <a:gd name="connsiteY268" fmla="*/ 212404 h 1746228"/>
              <a:gd name="connsiteX269" fmla="*/ 3307016 w 3815927"/>
              <a:gd name="connsiteY269" fmla="*/ 226585 h 1746228"/>
              <a:gd name="connsiteX270" fmla="*/ 3292836 w 3815927"/>
              <a:gd name="connsiteY270" fmla="*/ 240765 h 1746228"/>
              <a:gd name="connsiteX271" fmla="*/ 3278655 w 3815927"/>
              <a:gd name="connsiteY271" fmla="*/ 226585 h 1746228"/>
              <a:gd name="connsiteX272" fmla="*/ 3292836 w 3815927"/>
              <a:gd name="connsiteY272" fmla="*/ 212404 h 1746228"/>
              <a:gd name="connsiteX273" fmla="*/ 3236170 w 3815927"/>
              <a:gd name="connsiteY273" fmla="*/ 212404 h 1746228"/>
              <a:gd name="connsiteX274" fmla="*/ 3250351 w 3815927"/>
              <a:gd name="connsiteY274" fmla="*/ 226585 h 1746228"/>
              <a:gd name="connsiteX275" fmla="*/ 3236170 w 3815927"/>
              <a:gd name="connsiteY275" fmla="*/ 240765 h 1746228"/>
              <a:gd name="connsiteX276" fmla="*/ 3221990 w 3815927"/>
              <a:gd name="connsiteY276" fmla="*/ 226585 h 1746228"/>
              <a:gd name="connsiteX277" fmla="*/ 3236170 w 3815927"/>
              <a:gd name="connsiteY277" fmla="*/ 212404 h 1746228"/>
              <a:gd name="connsiteX278" fmla="*/ 3179505 w 3815927"/>
              <a:gd name="connsiteY278" fmla="*/ 212404 h 1746228"/>
              <a:gd name="connsiteX279" fmla="*/ 3193685 w 3815927"/>
              <a:gd name="connsiteY279" fmla="*/ 226585 h 1746228"/>
              <a:gd name="connsiteX280" fmla="*/ 3179505 w 3815927"/>
              <a:gd name="connsiteY280" fmla="*/ 240765 h 1746228"/>
              <a:gd name="connsiteX281" fmla="*/ 3165324 w 3815927"/>
              <a:gd name="connsiteY281" fmla="*/ 226585 h 1746228"/>
              <a:gd name="connsiteX282" fmla="*/ 3179505 w 3815927"/>
              <a:gd name="connsiteY282" fmla="*/ 212404 h 1746228"/>
              <a:gd name="connsiteX283" fmla="*/ 3122839 w 3815927"/>
              <a:gd name="connsiteY283" fmla="*/ 212404 h 1746228"/>
              <a:gd name="connsiteX284" fmla="*/ 3137020 w 3815927"/>
              <a:gd name="connsiteY284" fmla="*/ 226585 h 1746228"/>
              <a:gd name="connsiteX285" fmla="*/ 3122839 w 3815927"/>
              <a:gd name="connsiteY285" fmla="*/ 240765 h 1746228"/>
              <a:gd name="connsiteX286" fmla="*/ 3108659 w 3815927"/>
              <a:gd name="connsiteY286" fmla="*/ 226585 h 1746228"/>
              <a:gd name="connsiteX287" fmla="*/ 3122839 w 3815927"/>
              <a:gd name="connsiteY287" fmla="*/ 212404 h 1746228"/>
              <a:gd name="connsiteX288" fmla="*/ 3066174 w 3815927"/>
              <a:gd name="connsiteY288" fmla="*/ 212404 h 1746228"/>
              <a:gd name="connsiteX289" fmla="*/ 3080355 w 3815927"/>
              <a:gd name="connsiteY289" fmla="*/ 226585 h 1746228"/>
              <a:gd name="connsiteX290" fmla="*/ 3066174 w 3815927"/>
              <a:gd name="connsiteY290" fmla="*/ 240765 h 1746228"/>
              <a:gd name="connsiteX291" fmla="*/ 3051993 w 3815927"/>
              <a:gd name="connsiteY291" fmla="*/ 226585 h 1746228"/>
              <a:gd name="connsiteX292" fmla="*/ 3066174 w 3815927"/>
              <a:gd name="connsiteY292" fmla="*/ 212404 h 1746228"/>
              <a:gd name="connsiteX293" fmla="*/ 3009509 w 3815927"/>
              <a:gd name="connsiteY293" fmla="*/ 212404 h 1746228"/>
              <a:gd name="connsiteX294" fmla="*/ 3023689 w 3815927"/>
              <a:gd name="connsiteY294" fmla="*/ 226585 h 1746228"/>
              <a:gd name="connsiteX295" fmla="*/ 3009509 w 3815927"/>
              <a:gd name="connsiteY295" fmla="*/ 240765 h 1746228"/>
              <a:gd name="connsiteX296" fmla="*/ 2995328 w 3815927"/>
              <a:gd name="connsiteY296" fmla="*/ 226585 h 1746228"/>
              <a:gd name="connsiteX297" fmla="*/ 3009509 w 3815927"/>
              <a:gd name="connsiteY297" fmla="*/ 212404 h 1746228"/>
              <a:gd name="connsiteX298" fmla="*/ 2952843 w 3815927"/>
              <a:gd name="connsiteY298" fmla="*/ 212404 h 1746228"/>
              <a:gd name="connsiteX299" fmla="*/ 2967024 w 3815927"/>
              <a:gd name="connsiteY299" fmla="*/ 226585 h 1746228"/>
              <a:gd name="connsiteX300" fmla="*/ 2952843 w 3815927"/>
              <a:gd name="connsiteY300" fmla="*/ 240765 h 1746228"/>
              <a:gd name="connsiteX301" fmla="*/ 2938663 w 3815927"/>
              <a:gd name="connsiteY301" fmla="*/ 226585 h 1746228"/>
              <a:gd name="connsiteX302" fmla="*/ 2952843 w 3815927"/>
              <a:gd name="connsiteY302" fmla="*/ 212404 h 1746228"/>
              <a:gd name="connsiteX303" fmla="*/ 2896177 w 3815927"/>
              <a:gd name="connsiteY303" fmla="*/ 212404 h 1746228"/>
              <a:gd name="connsiteX304" fmla="*/ 2910358 w 3815927"/>
              <a:gd name="connsiteY304" fmla="*/ 226585 h 1746228"/>
              <a:gd name="connsiteX305" fmla="*/ 2896177 w 3815927"/>
              <a:gd name="connsiteY305" fmla="*/ 240765 h 1746228"/>
              <a:gd name="connsiteX306" fmla="*/ 2881997 w 3815927"/>
              <a:gd name="connsiteY306" fmla="*/ 226585 h 1746228"/>
              <a:gd name="connsiteX307" fmla="*/ 2896177 w 3815927"/>
              <a:gd name="connsiteY307" fmla="*/ 212404 h 1746228"/>
              <a:gd name="connsiteX308" fmla="*/ 2839569 w 3815927"/>
              <a:gd name="connsiteY308" fmla="*/ 212404 h 1746228"/>
              <a:gd name="connsiteX309" fmla="*/ 2853693 w 3815927"/>
              <a:gd name="connsiteY309" fmla="*/ 226585 h 1746228"/>
              <a:gd name="connsiteX310" fmla="*/ 2839569 w 3815927"/>
              <a:gd name="connsiteY310" fmla="*/ 240765 h 1746228"/>
              <a:gd name="connsiteX311" fmla="*/ 2825388 w 3815927"/>
              <a:gd name="connsiteY311" fmla="*/ 226585 h 1746228"/>
              <a:gd name="connsiteX312" fmla="*/ 2839569 w 3815927"/>
              <a:gd name="connsiteY312" fmla="*/ 212404 h 1746228"/>
              <a:gd name="connsiteX313" fmla="*/ 2782847 w 3815927"/>
              <a:gd name="connsiteY313" fmla="*/ 212404 h 1746228"/>
              <a:gd name="connsiteX314" fmla="*/ 2797084 w 3815927"/>
              <a:gd name="connsiteY314" fmla="*/ 226585 h 1746228"/>
              <a:gd name="connsiteX315" fmla="*/ 2782847 w 3815927"/>
              <a:gd name="connsiteY315" fmla="*/ 240765 h 1746228"/>
              <a:gd name="connsiteX316" fmla="*/ 2768723 w 3815927"/>
              <a:gd name="connsiteY316" fmla="*/ 226585 h 1746228"/>
              <a:gd name="connsiteX317" fmla="*/ 2782847 w 3815927"/>
              <a:gd name="connsiteY317" fmla="*/ 212404 h 1746228"/>
              <a:gd name="connsiteX318" fmla="*/ 2726238 w 3815927"/>
              <a:gd name="connsiteY318" fmla="*/ 212404 h 1746228"/>
              <a:gd name="connsiteX319" fmla="*/ 2740419 w 3815927"/>
              <a:gd name="connsiteY319" fmla="*/ 226585 h 1746228"/>
              <a:gd name="connsiteX320" fmla="*/ 2726238 w 3815927"/>
              <a:gd name="connsiteY320" fmla="*/ 240765 h 1746228"/>
              <a:gd name="connsiteX321" fmla="*/ 2712058 w 3815927"/>
              <a:gd name="connsiteY321" fmla="*/ 226585 h 1746228"/>
              <a:gd name="connsiteX322" fmla="*/ 2726238 w 3815927"/>
              <a:gd name="connsiteY322" fmla="*/ 212404 h 1746228"/>
              <a:gd name="connsiteX323" fmla="*/ 2669573 w 3815927"/>
              <a:gd name="connsiteY323" fmla="*/ 212404 h 1746228"/>
              <a:gd name="connsiteX324" fmla="*/ 2683753 w 3815927"/>
              <a:gd name="connsiteY324" fmla="*/ 226585 h 1746228"/>
              <a:gd name="connsiteX325" fmla="*/ 2669573 w 3815927"/>
              <a:gd name="connsiteY325" fmla="*/ 240765 h 1746228"/>
              <a:gd name="connsiteX326" fmla="*/ 2655392 w 3815927"/>
              <a:gd name="connsiteY326" fmla="*/ 226585 h 1746228"/>
              <a:gd name="connsiteX327" fmla="*/ 2669573 w 3815927"/>
              <a:gd name="connsiteY327" fmla="*/ 212404 h 1746228"/>
              <a:gd name="connsiteX328" fmla="*/ 2612907 w 3815927"/>
              <a:gd name="connsiteY328" fmla="*/ 212404 h 1746228"/>
              <a:gd name="connsiteX329" fmla="*/ 2627087 w 3815927"/>
              <a:gd name="connsiteY329" fmla="*/ 226585 h 1746228"/>
              <a:gd name="connsiteX330" fmla="*/ 2612907 w 3815927"/>
              <a:gd name="connsiteY330" fmla="*/ 240765 h 1746228"/>
              <a:gd name="connsiteX331" fmla="*/ 2598726 w 3815927"/>
              <a:gd name="connsiteY331" fmla="*/ 226585 h 1746228"/>
              <a:gd name="connsiteX332" fmla="*/ 2612907 w 3815927"/>
              <a:gd name="connsiteY332" fmla="*/ 212404 h 1746228"/>
              <a:gd name="connsiteX333" fmla="*/ 2556242 w 3815927"/>
              <a:gd name="connsiteY333" fmla="*/ 212404 h 1746228"/>
              <a:gd name="connsiteX334" fmla="*/ 2570422 w 3815927"/>
              <a:gd name="connsiteY334" fmla="*/ 226585 h 1746228"/>
              <a:gd name="connsiteX335" fmla="*/ 2556242 w 3815927"/>
              <a:gd name="connsiteY335" fmla="*/ 240765 h 1746228"/>
              <a:gd name="connsiteX336" fmla="*/ 2542061 w 3815927"/>
              <a:gd name="connsiteY336" fmla="*/ 226585 h 1746228"/>
              <a:gd name="connsiteX337" fmla="*/ 2556242 w 3815927"/>
              <a:gd name="connsiteY337" fmla="*/ 212404 h 1746228"/>
              <a:gd name="connsiteX338" fmla="*/ 2499576 w 3815927"/>
              <a:gd name="connsiteY338" fmla="*/ 212404 h 1746228"/>
              <a:gd name="connsiteX339" fmla="*/ 2513757 w 3815927"/>
              <a:gd name="connsiteY339" fmla="*/ 226585 h 1746228"/>
              <a:gd name="connsiteX340" fmla="*/ 2499576 w 3815927"/>
              <a:gd name="connsiteY340" fmla="*/ 240765 h 1746228"/>
              <a:gd name="connsiteX341" fmla="*/ 2485396 w 3815927"/>
              <a:gd name="connsiteY341" fmla="*/ 226585 h 1746228"/>
              <a:gd name="connsiteX342" fmla="*/ 2499576 w 3815927"/>
              <a:gd name="connsiteY342" fmla="*/ 212404 h 1746228"/>
              <a:gd name="connsiteX343" fmla="*/ 2442911 w 3815927"/>
              <a:gd name="connsiteY343" fmla="*/ 212404 h 1746228"/>
              <a:gd name="connsiteX344" fmla="*/ 2457091 w 3815927"/>
              <a:gd name="connsiteY344" fmla="*/ 226585 h 1746228"/>
              <a:gd name="connsiteX345" fmla="*/ 2442911 w 3815927"/>
              <a:gd name="connsiteY345" fmla="*/ 240765 h 1746228"/>
              <a:gd name="connsiteX346" fmla="*/ 2428730 w 3815927"/>
              <a:gd name="connsiteY346" fmla="*/ 226585 h 1746228"/>
              <a:gd name="connsiteX347" fmla="*/ 2442911 w 3815927"/>
              <a:gd name="connsiteY347" fmla="*/ 212404 h 1746228"/>
              <a:gd name="connsiteX348" fmla="*/ 2386245 w 3815927"/>
              <a:gd name="connsiteY348" fmla="*/ 212404 h 1746228"/>
              <a:gd name="connsiteX349" fmla="*/ 2400426 w 3815927"/>
              <a:gd name="connsiteY349" fmla="*/ 226585 h 1746228"/>
              <a:gd name="connsiteX350" fmla="*/ 2386245 w 3815927"/>
              <a:gd name="connsiteY350" fmla="*/ 240765 h 1746228"/>
              <a:gd name="connsiteX351" fmla="*/ 2372065 w 3815927"/>
              <a:gd name="connsiteY351" fmla="*/ 226585 h 1746228"/>
              <a:gd name="connsiteX352" fmla="*/ 2386245 w 3815927"/>
              <a:gd name="connsiteY352" fmla="*/ 212404 h 1746228"/>
              <a:gd name="connsiteX353" fmla="*/ 2329580 w 3815927"/>
              <a:gd name="connsiteY353" fmla="*/ 212404 h 1746228"/>
              <a:gd name="connsiteX354" fmla="*/ 2343761 w 3815927"/>
              <a:gd name="connsiteY354" fmla="*/ 226585 h 1746228"/>
              <a:gd name="connsiteX355" fmla="*/ 2329580 w 3815927"/>
              <a:gd name="connsiteY355" fmla="*/ 240765 h 1746228"/>
              <a:gd name="connsiteX356" fmla="*/ 2315399 w 3815927"/>
              <a:gd name="connsiteY356" fmla="*/ 226585 h 1746228"/>
              <a:gd name="connsiteX357" fmla="*/ 2329580 w 3815927"/>
              <a:gd name="connsiteY357" fmla="*/ 212404 h 1746228"/>
              <a:gd name="connsiteX358" fmla="*/ 2272915 w 3815927"/>
              <a:gd name="connsiteY358" fmla="*/ 212404 h 1746228"/>
              <a:gd name="connsiteX359" fmla="*/ 2287095 w 3815927"/>
              <a:gd name="connsiteY359" fmla="*/ 226585 h 1746228"/>
              <a:gd name="connsiteX360" fmla="*/ 2272915 w 3815927"/>
              <a:gd name="connsiteY360" fmla="*/ 240765 h 1746228"/>
              <a:gd name="connsiteX361" fmla="*/ 2258734 w 3815927"/>
              <a:gd name="connsiteY361" fmla="*/ 226585 h 1746228"/>
              <a:gd name="connsiteX362" fmla="*/ 2272915 w 3815927"/>
              <a:gd name="connsiteY362" fmla="*/ 212404 h 1746228"/>
              <a:gd name="connsiteX363" fmla="*/ 2216306 w 3815927"/>
              <a:gd name="connsiteY363" fmla="*/ 212404 h 1746228"/>
              <a:gd name="connsiteX364" fmla="*/ 2230429 w 3815927"/>
              <a:gd name="connsiteY364" fmla="*/ 226585 h 1746228"/>
              <a:gd name="connsiteX365" fmla="*/ 2216306 w 3815927"/>
              <a:gd name="connsiteY365" fmla="*/ 240765 h 1746228"/>
              <a:gd name="connsiteX366" fmla="*/ 2202125 w 3815927"/>
              <a:gd name="connsiteY366" fmla="*/ 226585 h 1746228"/>
              <a:gd name="connsiteX367" fmla="*/ 2216306 w 3815927"/>
              <a:gd name="connsiteY367" fmla="*/ 212404 h 1746228"/>
              <a:gd name="connsiteX368" fmla="*/ 2159640 w 3815927"/>
              <a:gd name="connsiteY368" fmla="*/ 212404 h 1746228"/>
              <a:gd name="connsiteX369" fmla="*/ 2173821 w 3815927"/>
              <a:gd name="connsiteY369" fmla="*/ 226585 h 1746228"/>
              <a:gd name="connsiteX370" fmla="*/ 2159640 w 3815927"/>
              <a:gd name="connsiteY370" fmla="*/ 240765 h 1746228"/>
              <a:gd name="connsiteX371" fmla="*/ 2145403 w 3815927"/>
              <a:gd name="connsiteY371" fmla="*/ 226585 h 1746228"/>
              <a:gd name="connsiteX372" fmla="*/ 2159640 w 3815927"/>
              <a:gd name="connsiteY372" fmla="*/ 212404 h 1746228"/>
              <a:gd name="connsiteX373" fmla="*/ 2102975 w 3815927"/>
              <a:gd name="connsiteY373" fmla="*/ 212404 h 1746228"/>
              <a:gd name="connsiteX374" fmla="*/ 2117155 w 3815927"/>
              <a:gd name="connsiteY374" fmla="*/ 226585 h 1746228"/>
              <a:gd name="connsiteX375" fmla="*/ 2102975 w 3815927"/>
              <a:gd name="connsiteY375" fmla="*/ 240765 h 1746228"/>
              <a:gd name="connsiteX376" fmla="*/ 2088794 w 3815927"/>
              <a:gd name="connsiteY376" fmla="*/ 226585 h 1746228"/>
              <a:gd name="connsiteX377" fmla="*/ 2102975 w 3815927"/>
              <a:gd name="connsiteY377" fmla="*/ 212404 h 1746228"/>
              <a:gd name="connsiteX378" fmla="*/ 2046309 w 3815927"/>
              <a:gd name="connsiteY378" fmla="*/ 212404 h 1746228"/>
              <a:gd name="connsiteX379" fmla="*/ 2060490 w 3815927"/>
              <a:gd name="connsiteY379" fmla="*/ 226585 h 1746228"/>
              <a:gd name="connsiteX380" fmla="*/ 2046309 w 3815927"/>
              <a:gd name="connsiteY380" fmla="*/ 240765 h 1746228"/>
              <a:gd name="connsiteX381" fmla="*/ 2032129 w 3815927"/>
              <a:gd name="connsiteY381" fmla="*/ 226585 h 1746228"/>
              <a:gd name="connsiteX382" fmla="*/ 2046309 w 3815927"/>
              <a:gd name="connsiteY382" fmla="*/ 212404 h 1746228"/>
              <a:gd name="connsiteX383" fmla="*/ 1989644 w 3815927"/>
              <a:gd name="connsiteY383" fmla="*/ 212404 h 1746228"/>
              <a:gd name="connsiteX384" fmla="*/ 2003825 w 3815927"/>
              <a:gd name="connsiteY384" fmla="*/ 226585 h 1746228"/>
              <a:gd name="connsiteX385" fmla="*/ 1989644 w 3815927"/>
              <a:gd name="connsiteY385" fmla="*/ 240765 h 1746228"/>
              <a:gd name="connsiteX386" fmla="*/ 1975463 w 3815927"/>
              <a:gd name="connsiteY386" fmla="*/ 226585 h 1746228"/>
              <a:gd name="connsiteX387" fmla="*/ 1989644 w 3815927"/>
              <a:gd name="connsiteY387" fmla="*/ 212404 h 1746228"/>
              <a:gd name="connsiteX388" fmla="*/ 1932978 w 3815927"/>
              <a:gd name="connsiteY388" fmla="*/ 212404 h 1746228"/>
              <a:gd name="connsiteX389" fmla="*/ 1947159 w 3815927"/>
              <a:gd name="connsiteY389" fmla="*/ 226585 h 1746228"/>
              <a:gd name="connsiteX390" fmla="*/ 1932978 w 3815927"/>
              <a:gd name="connsiteY390" fmla="*/ 240765 h 1746228"/>
              <a:gd name="connsiteX391" fmla="*/ 1918798 w 3815927"/>
              <a:gd name="connsiteY391" fmla="*/ 226585 h 1746228"/>
              <a:gd name="connsiteX392" fmla="*/ 1932978 w 3815927"/>
              <a:gd name="connsiteY392" fmla="*/ 212404 h 1746228"/>
              <a:gd name="connsiteX393" fmla="*/ 1876313 w 3815927"/>
              <a:gd name="connsiteY393" fmla="*/ 212404 h 1746228"/>
              <a:gd name="connsiteX394" fmla="*/ 1890493 w 3815927"/>
              <a:gd name="connsiteY394" fmla="*/ 226585 h 1746228"/>
              <a:gd name="connsiteX395" fmla="*/ 1876313 w 3815927"/>
              <a:gd name="connsiteY395" fmla="*/ 240765 h 1746228"/>
              <a:gd name="connsiteX396" fmla="*/ 1862132 w 3815927"/>
              <a:gd name="connsiteY396" fmla="*/ 226585 h 1746228"/>
              <a:gd name="connsiteX397" fmla="*/ 1876313 w 3815927"/>
              <a:gd name="connsiteY397" fmla="*/ 212404 h 1746228"/>
              <a:gd name="connsiteX398" fmla="*/ 1819647 w 3815927"/>
              <a:gd name="connsiteY398" fmla="*/ 212404 h 1746228"/>
              <a:gd name="connsiteX399" fmla="*/ 1833828 w 3815927"/>
              <a:gd name="connsiteY399" fmla="*/ 226585 h 1746228"/>
              <a:gd name="connsiteX400" fmla="*/ 1819647 w 3815927"/>
              <a:gd name="connsiteY400" fmla="*/ 240765 h 1746228"/>
              <a:gd name="connsiteX401" fmla="*/ 1805467 w 3815927"/>
              <a:gd name="connsiteY401" fmla="*/ 226585 h 1746228"/>
              <a:gd name="connsiteX402" fmla="*/ 1819647 w 3815927"/>
              <a:gd name="connsiteY402" fmla="*/ 212404 h 1746228"/>
              <a:gd name="connsiteX403" fmla="*/ 1762982 w 3815927"/>
              <a:gd name="connsiteY403" fmla="*/ 212404 h 1746228"/>
              <a:gd name="connsiteX404" fmla="*/ 1777163 w 3815927"/>
              <a:gd name="connsiteY404" fmla="*/ 226585 h 1746228"/>
              <a:gd name="connsiteX405" fmla="*/ 1762982 w 3815927"/>
              <a:gd name="connsiteY405" fmla="*/ 240765 h 1746228"/>
              <a:gd name="connsiteX406" fmla="*/ 1748802 w 3815927"/>
              <a:gd name="connsiteY406" fmla="*/ 226585 h 1746228"/>
              <a:gd name="connsiteX407" fmla="*/ 1762982 w 3815927"/>
              <a:gd name="connsiteY407" fmla="*/ 212404 h 1746228"/>
              <a:gd name="connsiteX408" fmla="*/ 1706317 w 3815927"/>
              <a:gd name="connsiteY408" fmla="*/ 212404 h 1746228"/>
              <a:gd name="connsiteX409" fmla="*/ 1720497 w 3815927"/>
              <a:gd name="connsiteY409" fmla="*/ 226585 h 1746228"/>
              <a:gd name="connsiteX410" fmla="*/ 1706317 w 3815927"/>
              <a:gd name="connsiteY410" fmla="*/ 240765 h 1746228"/>
              <a:gd name="connsiteX411" fmla="*/ 1692136 w 3815927"/>
              <a:gd name="connsiteY411" fmla="*/ 226585 h 1746228"/>
              <a:gd name="connsiteX412" fmla="*/ 1706317 w 3815927"/>
              <a:gd name="connsiteY412" fmla="*/ 212404 h 1746228"/>
              <a:gd name="connsiteX413" fmla="*/ 1649651 w 3815927"/>
              <a:gd name="connsiteY413" fmla="*/ 212404 h 1746228"/>
              <a:gd name="connsiteX414" fmla="*/ 1663832 w 3815927"/>
              <a:gd name="connsiteY414" fmla="*/ 226585 h 1746228"/>
              <a:gd name="connsiteX415" fmla="*/ 1649651 w 3815927"/>
              <a:gd name="connsiteY415" fmla="*/ 240765 h 1746228"/>
              <a:gd name="connsiteX416" fmla="*/ 1635471 w 3815927"/>
              <a:gd name="connsiteY416" fmla="*/ 226585 h 1746228"/>
              <a:gd name="connsiteX417" fmla="*/ 1649651 w 3815927"/>
              <a:gd name="connsiteY417" fmla="*/ 212404 h 1746228"/>
              <a:gd name="connsiteX418" fmla="*/ 1593042 w 3815927"/>
              <a:gd name="connsiteY418" fmla="*/ 212404 h 1746228"/>
              <a:gd name="connsiteX419" fmla="*/ 1607223 w 3815927"/>
              <a:gd name="connsiteY419" fmla="*/ 226585 h 1746228"/>
              <a:gd name="connsiteX420" fmla="*/ 1593042 w 3815927"/>
              <a:gd name="connsiteY420" fmla="*/ 240765 h 1746228"/>
              <a:gd name="connsiteX421" fmla="*/ 1578862 w 3815927"/>
              <a:gd name="connsiteY421" fmla="*/ 226585 h 1746228"/>
              <a:gd name="connsiteX422" fmla="*/ 1593042 w 3815927"/>
              <a:gd name="connsiteY422" fmla="*/ 212404 h 1746228"/>
              <a:gd name="connsiteX423" fmla="*/ 1536377 w 3815927"/>
              <a:gd name="connsiteY423" fmla="*/ 212404 h 1746228"/>
              <a:gd name="connsiteX424" fmla="*/ 1550557 w 3815927"/>
              <a:gd name="connsiteY424" fmla="*/ 226585 h 1746228"/>
              <a:gd name="connsiteX425" fmla="*/ 1536377 w 3815927"/>
              <a:gd name="connsiteY425" fmla="*/ 240765 h 1746228"/>
              <a:gd name="connsiteX426" fmla="*/ 1522140 w 3815927"/>
              <a:gd name="connsiteY426" fmla="*/ 226585 h 1746228"/>
              <a:gd name="connsiteX427" fmla="*/ 1536377 w 3815927"/>
              <a:gd name="connsiteY427" fmla="*/ 212404 h 1746228"/>
              <a:gd name="connsiteX428" fmla="*/ 1479712 w 3815927"/>
              <a:gd name="connsiteY428" fmla="*/ 212404 h 1746228"/>
              <a:gd name="connsiteX429" fmla="*/ 1493892 w 3815927"/>
              <a:gd name="connsiteY429" fmla="*/ 226585 h 1746228"/>
              <a:gd name="connsiteX430" fmla="*/ 1479712 w 3815927"/>
              <a:gd name="connsiteY430" fmla="*/ 240765 h 1746228"/>
              <a:gd name="connsiteX431" fmla="*/ 1465531 w 3815927"/>
              <a:gd name="connsiteY431" fmla="*/ 226585 h 1746228"/>
              <a:gd name="connsiteX432" fmla="*/ 1479712 w 3815927"/>
              <a:gd name="connsiteY432" fmla="*/ 212404 h 1746228"/>
              <a:gd name="connsiteX433" fmla="*/ 1423046 w 3815927"/>
              <a:gd name="connsiteY433" fmla="*/ 212404 h 1746228"/>
              <a:gd name="connsiteX434" fmla="*/ 1437227 w 3815927"/>
              <a:gd name="connsiteY434" fmla="*/ 226585 h 1746228"/>
              <a:gd name="connsiteX435" fmla="*/ 1423046 w 3815927"/>
              <a:gd name="connsiteY435" fmla="*/ 240765 h 1746228"/>
              <a:gd name="connsiteX436" fmla="*/ 1408866 w 3815927"/>
              <a:gd name="connsiteY436" fmla="*/ 226585 h 1746228"/>
              <a:gd name="connsiteX437" fmla="*/ 1423046 w 3815927"/>
              <a:gd name="connsiteY437" fmla="*/ 212404 h 1746228"/>
              <a:gd name="connsiteX438" fmla="*/ 1366381 w 3815927"/>
              <a:gd name="connsiteY438" fmla="*/ 212404 h 1746228"/>
              <a:gd name="connsiteX439" fmla="*/ 1380561 w 3815927"/>
              <a:gd name="connsiteY439" fmla="*/ 226585 h 1746228"/>
              <a:gd name="connsiteX440" fmla="*/ 1366381 w 3815927"/>
              <a:gd name="connsiteY440" fmla="*/ 240765 h 1746228"/>
              <a:gd name="connsiteX441" fmla="*/ 1352200 w 3815927"/>
              <a:gd name="connsiteY441" fmla="*/ 226585 h 1746228"/>
              <a:gd name="connsiteX442" fmla="*/ 1366381 w 3815927"/>
              <a:gd name="connsiteY442" fmla="*/ 212404 h 1746228"/>
              <a:gd name="connsiteX443" fmla="*/ 1309715 w 3815927"/>
              <a:gd name="connsiteY443" fmla="*/ 212404 h 1746228"/>
              <a:gd name="connsiteX444" fmla="*/ 1323896 w 3815927"/>
              <a:gd name="connsiteY444" fmla="*/ 226585 h 1746228"/>
              <a:gd name="connsiteX445" fmla="*/ 1309715 w 3815927"/>
              <a:gd name="connsiteY445" fmla="*/ 240765 h 1746228"/>
              <a:gd name="connsiteX446" fmla="*/ 1295535 w 3815927"/>
              <a:gd name="connsiteY446" fmla="*/ 226585 h 1746228"/>
              <a:gd name="connsiteX447" fmla="*/ 1309715 w 3815927"/>
              <a:gd name="connsiteY447" fmla="*/ 212404 h 1746228"/>
              <a:gd name="connsiteX448" fmla="*/ 1253050 w 3815927"/>
              <a:gd name="connsiteY448" fmla="*/ 212404 h 1746228"/>
              <a:gd name="connsiteX449" fmla="*/ 1267230 w 3815927"/>
              <a:gd name="connsiteY449" fmla="*/ 226585 h 1746228"/>
              <a:gd name="connsiteX450" fmla="*/ 1253050 w 3815927"/>
              <a:gd name="connsiteY450" fmla="*/ 240765 h 1746228"/>
              <a:gd name="connsiteX451" fmla="*/ 1238869 w 3815927"/>
              <a:gd name="connsiteY451" fmla="*/ 226585 h 1746228"/>
              <a:gd name="connsiteX452" fmla="*/ 1253050 w 3815927"/>
              <a:gd name="connsiteY452" fmla="*/ 212404 h 1746228"/>
              <a:gd name="connsiteX453" fmla="*/ 1196384 w 3815927"/>
              <a:gd name="connsiteY453" fmla="*/ 212404 h 1746228"/>
              <a:gd name="connsiteX454" fmla="*/ 1210565 w 3815927"/>
              <a:gd name="connsiteY454" fmla="*/ 226585 h 1746228"/>
              <a:gd name="connsiteX455" fmla="*/ 1196384 w 3815927"/>
              <a:gd name="connsiteY455" fmla="*/ 240765 h 1746228"/>
              <a:gd name="connsiteX456" fmla="*/ 1182204 w 3815927"/>
              <a:gd name="connsiteY456" fmla="*/ 226585 h 1746228"/>
              <a:gd name="connsiteX457" fmla="*/ 1196384 w 3815927"/>
              <a:gd name="connsiteY457" fmla="*/ 212404 h 1746228"/>
              <a:gd name="connsiteX458" fmla="*/ 1139719 w 3815927"/>
              <a:gd name="connsiteY458" fmla="*/ 212404 h 1746228"/>
              <a:gd name="connsiteX459" fmla="*/ 1153899 w 3815927"/>
              <a:gd name="connsiteY459" fmla="*/ 226585 h 1746228"/>
              <a:gd name="connsiteX460" fmla="*/ 1139719 w 3815927"/>
              <a:gd name="connsiteY460" fmla="*/ 240765 h 1746228"/>
              <a:gd name="connsiteX461" fmla="*/ 1125538 w 3815927"/>
              <a:gd name="connsiteY461" fmla="*/ 226585 h 1746228"/>
              <a:gd name="connsiteX462" fmla="*/ 1139719 w 3815927"/>
              <a:gd name="connsiteY462" fmla="*/ 212404 h 1746228"/>
              <a:gd name="connsiteX463" fmla="*/ 1083053 w 3815927"/>
              <a:gd name="connsiteY463" fmla="*/ 212404 h 1746228"/>
              <a:gd name="connsiteX464" fmla="*/ 1097234 w 3815927"/>
              <a:gd name="connsiteY464" fmla="*/ 226585 h 1746228"/>
              <a:gd name="connsiteX465" fmla="*/ 1083053 w 3815927"/>
              <a:gd name="connsiteY465" fmla="*/ 240765 h 1746228"/>
              <a:gd name="connsiteX466" fmla="*/ 1068873 w 3815927"/>
              <a:gd name="connsiteY466" fmla="*/ 226585 h 1746228"/>
              <a:gd name="connsiteX467" fmla="*/ 1083053 w 3815927"/>
              <a:gd name="connsiteY467" fmla="*/ 212404 h 1746228"/>
              <a:gd name="connsiteX468" fmla="*/ 1026388 w 3815927"/>
              <a:gd name="connsiteY468" fmla="*/ 212404 h 1746228"/>
              <a:gd name="connsiteX469" fmla="*/ 1040568 w 3815927"/>
              <a:gd name="connsiteY469" fmla="*/ 226585 h 1746228"/>
              <a:gd name="connsiteX470" fmla="*/ 1026388 w 3815927"/>
              <a:gd name="connsiteY470" fmla="*/ 240765 h 1746228"/>
              <a:gd name="connsiteX471" fmla="*/ 1012207 w 3815927"/>
              <a:gd name="connsiteY471" fmla="*/ 226585 h 1746228"/>
              <a:gd name="connsiteX472" fmla="*/ 1026388 w 3815927"/>
              <a:gd name="connsiteY472" fmla="*/ 212404 h 1746228"/>
              <a:gd name="connsiteX473" fmla="*/ 969779 w 3815927"/>
              <a:gd name="connsiteY473" fmla="*/ 212404 h 1746228"/>
              <a:gd name="connsiteX474" fmla="*/ 983903 w 3815927"/>
              <a:gd name="connsiteY474" fmla="*/ 226585 h 1746228"/>
              <a:gd name="connsiteX475" fmla="*/ 969779 w 3815927"/>
              <a:gd name="connsiteY475" fmla="*/ 240765 h 1746228"/>
              <a:gd name="connsiteX476" fmla="*/ 955599 w 3815927"/>
              <a:gd name="connsiteY476" fmla="*/ 226585 h 1746228"/>
              <a:gd name="connsiteX477" fmla="*/ 969779 w 3815927"/>
              <a:gd name="connsiteY477" fmla="*/ 212404 h 1746228"/>
              <a:gd name="connsiteX478" fmla="*/ 913057 w 3815927"/>
              <a:gd name="connsiteY478" fmla="*/ 212404 h 1746228"/>
              <a:gd name="connsiteX479" fmla="*/ 927294 w 3815927"/>
              <a:gd name="connsiteY479" fmla="*/ 226585 h 1746228"/>
              <a:gd name="connsiteX480" fmla="*/ 913057 w 3815927"/>
              <a:gd name="connsiteY480" fmla="*/ 240765 h 1746228"/>
              <a:gd name="connsiteX481" fmla="*/ 898876 w 3815927"/>
              <a:gd name="connsiteY481" fmla="*/ 226585 h 1746228"/>
              <a:gd name="connsiteX482" fmla="*/ 913057 w 3815927"/>
              <a:gd name="connsiteY482" fmla="*/ 212404 h 1746228"/>
              <a:gd name="connsiteX483" fmla="*/ 856448 w 3815927"/>
              <a:gd name="connsiteY483" fmla="*/ 212404 h 1746228"/>
              <a:gd name="connsiteX484" fmla="*/ 870629 w 3815927"/>
              <a:gd name="connsiteY484" fmla="*/ 226585 h 1746228"/>
              <a:gd name="connsiteX485" fmla="*/ 856448 w 3815927"/>
              <a:gd name="connsiteY485" fmla="*/ 240765 h 1746228"/>
              <a:gd name="connsiteX486" fmla="*/ 842268 w 3815927"/>
              <a:gd name="connsiteY486" fmla="*/ 226585 h 1746228"/>
              <a:gd name="connsiteX487" fmla="*/ 856448 w 3815927"/>
              <a:gd name="connsiteY487" fmla="*/ 212404 h 1746228"/>
              <a:gd name="connsiteX488" fmla="*/ 799783 w 3815927"/>
              <a:gd name="connsiteY488" fmla="*/ 212404 h 1746228"/>
              <a:gd name="connsiteX489" fmla="*/ 813963 w 3815927"/>
              <a:gd name="connsiteY489" fmla="*/ 226585 h 1746228"/>
              <a:gd name="connsiteX490" fmla="*/ 799783 w 3815927"/>
              <a:gd name="connsiteY490" fmla="*/ 240765 h 1746228"/>
              <a:gd name="connsiteX491" fmla="*/ 785602 w 3815927"/>
              <a:gd name="connsiteY491" fmla="*/ 226585 h 1746228"/>
              <a:gd name="connsiteX492" fmla="*/ 799783 w 3815927"/>
              <a:gd name="connsiteY492" fmla="*/ 212404 h 1746228"/>
              <a:gd name="connsiteX493" fmla="*/ 743117 w 3815927"/>
              <a:gd name="connsiteY493" fmla="*/ 212404 h 1746228"/>
              <a:gd name="connsiteX494" fmla="*/ 757298 w 3815927"/>
              <a:gd name="connsiteY494" fmla="*/ 226585 h 1746228"/>
              <a:gd name="connsiteX495" fmla="*/ 743117 w 3815927"/>
              <a:gd name="connsiteY495" fmla="*/ 240765 h 1746228"/>
              <a:gd name="connsiteX496" fmla="*/ 728937 w 3815927"/>
              <a:gd name="connsiteY496" fmla="*/ 226585 h 1746228"/>
              <a:gd name="connsiteX497" fmla="*/ 743117 w 3815927"/>
              <a:gd name="connsiteY497" fmla="*/ 212404 h 1746228"/>
              <a:gd name="connsiteX498" fmla="*/ 686452 w 3815927"/>
              <a:gd name="connsiteY498" fmla="*/ 212404 h 1746228"/>
              <a:gd name="connsiteX499" fmla="*/ 700632 w 3815927"/>
              <a:gd name="connsiteY499" fmla="*/ 226585 h 1746228"/>
              <a:gd name="connsiteX500" fmla="*/ 686452 w 3815927"/>
              <a:gd name="connsiteY500" fmla="*/ 240765 h 1746228"/>
              <a:gd name="connsiteX501" fmla="*/ 672271 w 3815927"/>
              <a:gd name="connsiteY501" fmla="*/ 226585 h 1746228"/>
              <a:gd name="connsiteX502" fmla="*/ 686452 w 3815927"/>
              <a:gd name="connsiteY502" fmla="*/ 212404 h 1746228"/>
              <a:gd name="connsiteX503" fmla="*/ 629786 w 3815927"/>
              <a:gd name="connsiteY503" fmla="*/ 212404 h 1746228"/>
              <a:gd name="connsiteX504" fmla="*/ 643967 w 3815927"/>
              <a:gd name="connsiteY504" fmla="*/ 226585 h 1746228"/>
              <a:gd name="connsiteX505" fmla="*/ 629786 w 3815927"/>
              <a:gd name="connsiteY505" fmla="*/ 240765 h 1746228"/>
              <a:gd name="connsiteX506" fmla="*/ 615606 w 3815927"/>
              <a:gd name="connsiteY506" fmla="*/ 226585 h 1746228"/>
              <a:gd name="connsiteX507" fmla="*/ 629786 w 3815927"/>
              <a:gd name="connsiteY507" fmla="*/ 212404 h 1746228"/>
              <a:gd name="connsiteX508" fmla="*/ 573121 w 3815927"/>
              <a:gd name="connsiteY508" fmla="*/ 212404 h 1746228"/>
              <a:gd name="connsiteX509" fmla="*/ 587301 w 3815927"/>
              <a:gd name="connsiteY509" fmla="*/ 226585 h 1746228"/>
              <a:gd name="connsiteX510" fmla="*/ 573121 w 3815927"/>
              <a:gd name="connsiteY510" fmla="*/ 240765 h 1746228"/>
              <a:gd name="connsiteX511" fmla="*/ 558940 w 3815927"/>
              <a:gd name="connsiteY511" fmla="*/ 226585 h 1746228"/>
              <a:gd name="connsiteX512" fmla="*/ 573121 w 3815927"/>
              <a:gd name="connsiteY512" fmla="*/ 212404 h 1746228"/>
              <a:gd name="connsiteX513" fmla="*/ 516455 w 3815927"/>
              <a:gd name="connsiteY513" fmla="*/ 212404 h 1746228"/>
              <a:gd name="connsiteX514" fmla="*/ 530636 w 3815927"/>
              <a:gd name="connsiteY514" fmla="*/ 226585 h 1746228"/>
              <a:gd name="connsiteX515" fmla="*/ 516455 w 3815927"/>
              <a:gd name="connsiteY515" fmla="*/ 240765 h 1746228"/>
              <a:gd name="connsiteX516" fmla="*/ 502275 w 3815927"/>
              <a:gd name="connsiteY516" fmla="*/ 226585 h 1746228"/>
              <a:gd name="connsiteX517" fmla="*/ 516455 w 3815927"/>
              <a:gd name="connsiteY517" fmla="*/ 212404 h 1746228"/>
              <a:gd name="connsiteX518" fmla="*/ 459790 w 3815927"/>
              <a:gd name="connsiteY518" fmla="*/ 212404 h 1746228"/>
              <a:gd name="connsiteX519" fmla="*/ 473971 w 3815927"/>
              <a:gd name="connsiteY519" fmla="*/ 226585 h 1746228"/>
              <a:gd name="connsiteX520" fmla="*/ 459790 w 3815927"/>
              <a:gd name="connsiteY520" fmla="*/ 240765 h 1746228"/>
              <a:gd name="connsiteX521" fmla="*/ 445610 w 3815927"/>
              <a:gd name="connsiteY521" fmla="*/ 226585 h 1746228"/>
              <a:gd name="connsiteX522" fmla="*/ 459790 w 3815927"/>
              <a:gd name="connsiteY522" fmla="*/ 212404 h 1746228"/>
              <a:gd name="connsiteX523" fmla="*/ 403125 w 3815927"/>
              <a:gd name="connsiteY523" fmla="*/ 212404 h 1746228"/>
              <a:gd name="connsiteX524" fmla="*/ 417305 w 3815927"/>
              <a:gd name="connsiteY524" fmla="*/ 226585 h 1746228"/>
              <a:gd name="connsiteX525" fmla="*/ 403125 w 3815927"/>
              <a:gd name="connsiteY525" fmla="*/ 240765 h 1746228"/>
              <a:gd name="connsiteX526" fmla="*/ 388944 w 3815927"/>
              <a:gd name="connsiteY526" fmla="*/ 226585 h 1746228"/>
              <a:gd name="connsiteX527" fmla="*/ 403125 w 3815927"/>
              <a:gd name="connsiteY527" fmla="*/ 212404 h 1746228"/>
              <a:gd name="connsiteX528" fmla="*/ 346516 w 3815927"/>
              <a:gd name="connsiteY528" fmla="*/ 212404 h 1746228"/>
              <a:gd name="connsiteX529" fmla="*/ 360640 w 3815927"/>
              <a:gd name="connsiteY529" fmla="*/ 226585 h 1746228"/>
              <a:gd name="connsiteX530" fmla="*/ 346516 w 3815927"/>
              <a:gd name="connsiteY530" fmla="*/ 240765 h 1746228"/>
              <a:gd name="connsiteX531" fmla="*/ 332279 w 3815927"/>
              <a:gd name="connsiteY531" fmla="*/ 226585 h 1746228"/>
              <a:gd name="connsiteX532" fmla="*/ 346516 w 3815927"/>
              <a:gd name="connsiteY532" fmla="*/ 212404 h 1746228"/>
              <a:gd name="connsiteX533" fmla="*/ 289851 w 3815927"/>
              <a:gd name="connsiteY533" fmla="*/ 212404 h 1746228"/>
              <a:gd name="connsiteX534" fmla="*/ 304031 w 3815927"/>
              <a:gd name="connsiteY534" fmla="*/ 226585 h 1746228"/>
              <a:gd name="connsiteX535" fmla="*/ 289851 w 3815927"/>
              <a:gd name="connsiteY535" fmla="*/ 240765 h 1746228"/>
              <a:gd name="connsiteX536" fmla="*/ 275613 w 3815927"/>
              <a:gd name="connsiteY536" fmla="*/ 226585 h 1746228"/>
              <a:gd name="connsiteX537" fmla="*/ 289851 w 3815927"/>
              <a:gd name="connsiteY537" fmla="*/ 212404 h 1746228"/>
              <a:gd name="connsiteX538" fmla="*/ 233185 w 3815927"/>
              <a:gd name="connsiteY538" fmla="*/ 212404 h 1746228"/>
              <a:gd name="connsiteX539" fmla="*/ 247365 w 3815927"/>
              <a:gd name="connsiteY539" fmla="*/ 226585 h 1746228"/>
              <a:gd name="connsiteX540" fmla="*/ 233185 w 3815927"/>
              <a:gd name="connsiteY540" fmla="*/ 240765 h 1746228"/>
              <a:gd name="connsiteX541" fmla="*/ 219004 w 3815927"/>
              <a:gd name="connsiteY541" fmla="*/ 226585 h 1746228"/>
              <a:gd name="connsiteX542" fmla="*/ 233185 w 3815927"/>
              <a:gd name="connsiteY542" fmla="*/ 212404 h 1746228"/>
              <a:gd name="connsiteX543" fmla="*/ 176520 w 3815927"/>
              <a:gd name="connsiteY543" fmla="*/ 212404 h 1746228"/>
              <a:gd name="connsiteX544" fmla="*/ 190700 w 3815927"/>
              <a:gd name="connsiteY544" fmla="*/ 226585 h 1746228"/>
              <a:gd name="connsiteX545" fmla="*/ 176520 w 3815927"/>
              <a:gd name="connsiteY545" fmla="*/ 240765 h 1746228"/>
              <a:gd name="connsiteX546" fmla="*/ 162339 w 3815927"/>
              <a:gd name="connsiteY546" fmla="*/ 226585 h 1746228"/>
              <a:gd name="connsiteX547" fmla="*/ 176520 w 3815927"/>
              <a:gd name="connsiteY547" fmla="*/ 212404 h 1746228"/>
              <a:gd name="connsiteX548" fmla="*/ 3801747 w 3815927"/>
              <a:gd name="connsiteY548" fmla="*/ 159312 h 1746228"/>
              <a:gd name="connsiteX549" fmla="*/ 3815927 w 3815927"/>
              <a:gd name="connsiteY549" fmla="*/ 173492 h 1746228"/>
              <a:gd name="connsiteX550" fmla="*/ 3801747 w 3815927"/>
              <a:gd name="connsiteY550" fmla="*/ 187673 h 1746228"/>
              <a:gd name="connsiteX551" fmla="*/ 3787566 w 3815927"/>
              <a:gd name="connsiteY551" fmla="*/ 173492 h 1746228"/>
              <a:gd name="connsiteX552" fmla="*/ 3801747 w 3815927"/>
              <a:gd name="connsiteY552" fmla="*/ 159312 h 1746228"/>
              <a:gd name="connsiteX553" fmla="*/ 3801747 w 3815927"/>
              <a:gd name="connsiteY553" fmla="*/ 106220 h 1746228"/>
              <a:gd name="connsiteX554" fmla="*/ 3815927 w 3815927"/>
              <a:gd name="connsiteY554" fmla="*/ 120400 h 1746228"/>
              <a:gd name="connsiteX555" fmla="*/ 3801747 w 3815927"/>
              <a:gd name="connsiteY555" fmla="*/ 134581 h 1746228"/>
              <a:gd name="connsiteX556" fmla="*/ 3787566 w 3815927"/>
              <a:gd name="connsiteY556" fmla="*/ 120400 h 1746228"/>
              <a:gd name="connsiteX557" fmla="*/ 3801747 w 3815927"/>
              <a:gd name="connsiteY557" fmla="*/ 106220 h 1746228"/>
              <a:gd name="connsiteX558" fmla="*/ 3801747 w 3815927"/>
              <a:gd name="connsiteY558" fmla="*/ 53071 h 1746228"/>
              <a:gd name="connsiteX559" fmla="*/ 3815927 w 3815927"/>
              <a:gd name="connsiteY559" fmla="*/ 67252 h 1746228"/>
              <a:gd name="connsiteX560" fmla="*/ 3801747 w 3815927"/>
              <a:gd name="connsiteY560" fmla="*/ 81432 h 1746228"/>
              <a:gd name="connsiteX561" fmla="*/ 3787566 w 3815927"/>
              <a:gd name="connsiteY561" fmla="*/ 67252 h 1746228"/>
              <a:gd name="connsiteX562" fmla="*/ 3801747 w 3815927"/>
              <a:gd name="connsiteY562" fmla="*/ 53071 h 1746228"/>
              <a:gd name="connsiteX563" fmla="*/ 3798967 w 3815927"/>
              <a:gd name="connsiteY563" fmla="*/ 263 h 1746228"/>
              <a:gd name="connsiteX564" fmla="*/ 3811786 w 3815927"/>
              <a:gd name="connsiteY564" fmla="*/ 4121 h 1746228"/>
              <a:gd name="connsiteX565" fmla="*/ 3815927 w 3815927"/>
              <a:gd name="connsiteY565" fmla="*/ 14160 h 1746228"/>
              <a:gd name="connsiteX566" fmla="*/ 3811786 w 3815927"/>
              <a:gd name="connsiteY566" fmla="*/ 24200 h 1746228"/>
              <a:gd name="connsiteX567" fmla="*/ 3801747 w 3815927"/>
              <a:gd name="connsiteY567" fmla="*/ 28341 h 1746228"/>
              <a:gd name="connsiteX568" fmla="*/ 3798967 w 3815927"/>
              <a:gd name="connsiteY568" fmla="*/ 28057 h 1746228"/>
              <a:gd name="connsiteX569" fmla="*/ 3796358 w 3815927"/>
              <a:gd name="connsiteY569" fmla="*/ 27263 h 1746228"/>
              <a:gd name="connsiteX570" fmla="*/ 3793919 w 3815927"/>
              <a:gd name="connsiteY570" fmla="*/ 25958 h 1746228"/>
              <a:gd name="connsiteX571" fmla="*/ 3791763 w 3815927"/>
              <a:gd name="connsiteY571" fmla="*/ 24200 h 1746228"/>
              <a:gd name="connsiteX572" fmla="*/ 3787566 w 3815927"/>
              <a:gd name="connsiteY572" fmla="*/ 14160 h 1746228"/>
              <a:gd name="connsiteX573" fmla="*/ 3791763 w 3815927"/>
              <a:gd name="connsiteY573" fmla="*/ 4121 h 1746228"/>
              <a:gd name="connsiteX574" fmla="*/ 3793919 w 3815927"/>
              <a:gd name="connsiteY574" fmla="*/ 2362 h 1746228"/>
              <a:gd name="connsiteX575" fmla="*/ 3796358 w 3815927"/>
              <a:gd name="connsiteY575" fmla="*/ 1057 h 1746228"/>
              <a:gd name="connsiteX576" fmla="*/ 3798967 w 3815927"/>
              <a:gd name="connsiteY576" fmla="*/ 263 h 17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Lst>
            <a:rect l="l" t="t" r="r" b="b"/>
            <a:pathLst>
              <a:path w="3815927" h="1746228">
                <a:moveTo>
                  <a:pt x="16960" y="1718151"/>
                </a:moveTo>
                <a:cubicBezTo>
                  <a:pt x="17867" y="1718321"/>
                  <a:pt x="18775" y="1718605"/>
                  <a:pt x="19626" y="1718945"/>
                </a:cubicBezTo>
                <a:cubicBezTo>
                  <a:pt x="20477" y="1719342"/>
                  <a:pt x="21328" y="1719739"/>
                  <a:pt x="22065" y="1720250"/>
                </a:cubicBezTo>
                <a:cubicBezTo>
                  <a:pt x="22859" y="1720817"/>
                  <a:pt x="23596" y="1721384"/>
                  <a:pt x="24220" y="1722065"/>
                </a:cubicBezTo>
                <a:cubicBezTo>
                  <a:pt x="24901" y="1722689"/>
                  <a:pt x="25468" y="1723426"/>
                  <a:pt x="25979" y="1724220"/>
                </a:cubicBezTo>
                <a:cubicBezTo>
                  <a:pt x="26489" y="1724958"/>
                  <a:pt x="26943" y="1725808"/>
                  <a:pt x="27283" y="1726659"/>
                </a:cubicBezTo>
                <a:cubicBezTo>
                  <a:pt x="27624" y="1727510"/>
                  <a:pt x="27907" y="1728361"/>
                  <a:pt x="28077" y="1729268"/>
                </a:cubicBezTo>
                <a:cubicBezTo>
                  <a:pt x="28304" y="1730233"/>
                  <a:pt x="28361" y="1731140"/>
                  <a:pt x="28361" y="1732048"/>
                </a:cubicBezTo>
                <a:cubicBezTo>
                  <a:pt x="28361" y="1735791"/>
                  <a:pt x="26886" y="1739479"/>
                  <a:pt x="24220" y="1742088"/>
                </a:cubicBezTo>
                <a:cubicBezTo>
                  <a:pt x="23596" y="1742768"/>
                  <a:pt x="22859" y="1743336"/>
                  <a:pt x="22065" y="1743846"/>
                </a:cubicBezTo>
                <a:cubicBezTo>
                  <a:pt x="21328" y="1744357"/>
                  <a:pt x="20477" y="1744810"/>
                  <a:pt x="19626" y="1745151"/>
                </a:cubicBezTo>
                <a:cubicBezTo>
                  <a:pt x="18775" y="1745491"/>
                  <a:pt x="17867" y="1745775"/>
                  <a:pt x="16960" y="1745945"/>
                </a:cubicBezTo>
                <a:cubicBezTo>
                  <a:pt x="16052" y="1746172"/>
                  <a:pt x="15145" y="1746228"/>
                  <a:pt x="14181" y="1746228"/>
                </a:cubicBezTo>
                <a:cubicBezTo>
                  <a:pt x="10494" y="1746228"/>
                  <a:pt x="6807" y="1744754"/>
                  <a:pt x="4141" y="1742088"/>
                </a:cubicBezTo>
                <a:cubicBezTo>
                  <a:pt x="1531" y="1739479"/>
                  <a:pt x="0" y="1735791"/>
                  <a:pt x="0" y="1732048"/>
                </a:cubicBezTo>
                <a:cubicBezTo>
                  <a:pt x="0" y="1731140"/>
                  <a:pt x="113" y="1730233"/>
                  <a:pt x="284" y="1729268"/>
                </a:cubicBezTo>
                <a:cubicBezTo>
                  <a:pt x="454" y="1728361"/>
                  <a:pt x="737" y="1727510"/>
                  <a:pt x="1078" y="1726659"/>
                </a:cubicBezTo>
                <a:cubicBezTo>
                  <a:pt x="1475" y="1725808"/>
                  <a:pt x="1872" y="1724958"/>
                  <a:pt x="2382" y="1724220"/>
                </a:cubicBezTo>
                <a:cubicBezTo>
                  <a:pt x="2949" y="1723426"/>
                  <a:pt x="3517" y="1722689"/>
                  <a:pt x="4141" y="1722065"/>
                </a:cubicBezTo>
                <a:cubicBezTo>
                  <a:pt x="7487" y="1718775"/>
                  <a:pt x="12365" y="1717243"/>
                  <a:pt x="16960" y="1718151"/>
                </a:cubicBezTo>
                <a:close/>
                <a:moveTo>
                  <a:pt x="14181" y="1660521"/>
                </a:moveTo>
                <a:cubicBezTo>
                  <a:pt x="22008" y="1660521"/>
                  <a:pt x="28361" y="1666874"/>
                  <a:pt x="28361" y="1674702"/>
                </a:cubicBezTo>
                <a:cubicBezTo>
                  <a:pt x="28361" y="1682529"/>
                  <a:pt x="22008" y="1688882"/>
                  <a:pt x="14181" y="1688882"/>
                </a:cubicBezTo>
                <a:cubicBezTo>
                  <a:pt x="6353" y="1688882"/>
                  <a:pt x="0" y="1682529"/>
                  <a:pt x="0" y="1674702"/>
                </a:cubicBezTo>
                <a:cubicBezTo>
                  <a:pt x="0" y="1666874"/>
                  <a:pt x="6353" y="1660521"/>
                  <a:pt x="14181" y="1660521"/>
                </a:cubicBezTo>
                <a:close/>
                <a:moveTo>
                  <a:pt x="14181" y="1603118"/>
                </a:moveTo>
                <a:cubicBezTo>
                  <a:pt x="22008" y="1603118"/>
                  <a:pt x="28361" y="1609471"/>
                  <a:pt x="28361" y="1617299"/>
                </a:cubicBezTo>
                <a:cubicBezTo>
                  <a:pt x="28361" y="1625127"/>
                  <a:pt x="22008" y="1631480"/>
                  <a:pt x="14181" y="1631480"/>
                </a:cubicBezTo>
                <a:cubicBezTo>
                  <a:pt x="6353" y="1631480"/>
                  <a:pt x="0" y="1625127"/>
                  <a:pt x="0" y="1617299"/>
                </a:cubicBezTo>
                <a:cubicBezTo>
                  <a:pt x="0" y="1609471"/>
                  <a:pt x="6353" y="1603118"/>
                  <a:pt x="14181" y="1603118"/>
                </a:cubicBezTo>
                <a:close/>
                <a:moveTo>
                  <a:pt x="14181" y="1545716"/>
                </a:moveTo>
                <a:cubicBezTo>
                  <a:pt x="22008" y="1545716"/>
                  <a:pt x="28361" y="1552068"/>
                  <a:pt x="28361" y="1559953"/>
                </a:cubicBezTo>
                <a:cubicBezTo>
                  <a:pt x="28361" y="1567781"/>
                  <a:pt x="22008" y="1574133"/>
                  <a:pt x="14181" y="1574133"/>
                </a:cubicBezTo>
                <a:cubicBezTo>
                  <a:pt x="6353" y="1574133"/>
                  <a:pt x="0" y="1567781"/>
                  <a:pt x="0" y="1559953"/>
                </a:cubicBezTo>
                <a:cubicBezTo>
                  <a:pt x="0" y="1552068"/>
                  <a:pt x="6353" y="1545716"/>
                  <a:pt x="14181" y="1545716"/>
                </a:cubicBezTo>
                <a:close/>
                <a:moveTo>
                  <a:pt x="14181" y="1488370"/>
                </a:moveTo>
                <a:cubicBezTo>
                  <a:pt x="22008" y="1488370"/>
                  <a:pt x="28361" y="1494722"/>
                  <a:pt x="28361" y="1502550"/>
                </a:cubicBezTo>
                <a:cubicBezTo>
                  <a:pt x="28361" y="1510378"/>
                  <a:pt x="22008" y="1516731"/>
                  <a:pt x="14181" y="1516731"/>
                </a:cubicBezTo>
                <a:cubicBezTo>
                  <a:pt x="6353" y="1516731"/>
                  <a:pt x="0" y="1510378"/>
                  <a:pt x="0" y="1502550"/>
                </a:cubicBezTo>
                <a:cubicBezTo>
                  <a:pt x="0" y="1494722"/>
                  <a:pt x="6353" y="1488370"/>
                  <a:pt x="14181" y="1488370"/>
                </a:cubicBezTo>
                <a:close/>
                <a:moveTo>
                  <a:pt x="14181" y="1430967"/>
                </a:moveTo>
                <a:cubicBezTo>
                  <a:pt x="22008" y="1430967"/>
                  <a:pt x="28361" y="1437320"/>
                  <a:pt x="28361" y="1445204"/>
                </a:cubicBezTo>
                <a:cubicBezTo>
                  <a:pt x="28361" y="1452975"/>
                  <a:pt x="22008" y="1459328"/>
                  <a:pt x="14181" y="1459328"/>
                </a:cubicBezTo>
                <a:cubicBezTo>
                  <a:pt x="6353" y="1459328"/>
                  <a:pt x="0" y="1452975"/>
                  <a:pt x="0" y="1445204"/>
                </a:cubicBezTo>
                <a:cubicBezTo>
                  <a:pt x="0" y="1437320"/>
                  <a:pt x="6353" y="1430967"/>
                  <a:pt x="14181" y="1430967"/>
                </a:cubicBezTo>
                <a:close/>
                <a:moveTo>
                  <a:pt x="14181" y="1373621"/>
                </a:moveTo>
                <a:cubicBezTo>
                  <a:pt x="22008" y="1373621"/>
                  <a:pt x="28361" y="1379974"/>
                  <a:pt x="28361" y="1387801"/>
                </a:cubicBezTo>
                <a:cubicBezTo>
                  <a:pt x="28361" y="1395629"/>
                  <a:pt x="22008" y="1401982"/>
                  <a:pt x="14181" y="1401982"/>
                </a:cubicBezTo>
                <a:cubicBezTo>
                  <a:pt x="6353" y="1401982"/>
                  <a:pt x="0" y="1395629"/>
                  <a:pt x="0" y="1387801"/>
                </a:cubicBezTo>
                <a:cubicBezTo>
                  <a:pt x="0" y="1379974"/>
                  <a:pt x="6353" y="1373621"/>
                  <a:pt x="14181" y="1373621"/>
                </a:cubicBezTo>
                <a:close/>
                <a:moveTo>
                  <a:pt x="14181" y="1316218"/>
                </a:moveTo>
                <a:cubicBezTo>
                  <a:pt x="22008" y="1316218"/>
                  <a:pt x="28361" y="1322571"/>
                  <a:pt x="28361" y="1330398"/>
                </a:cubicBezTo>
                <a:cubicBezTo>
                  <a:pt x="28361" y="1338226"/>
                  <a:pt x="22008" y="1344579"/>
                  <a:pt x="14181" y="1344579"/>
                </a:cubicBezTo>
                <a:cubicBezTo>
                  <a:pt x="6353" y="1344579"/>
                  <a:pt x="0" y="1338226"/>
                  <a:pt x="0" y="1330398"/>
                </a:cubicBezTo>
                <a:cubicBezTo>
                  <a:pt x="0" y="1322571"/>
                  <a:pt x="6353" y="1316218"/>
                  <a:pt x="14181" y="1316218"/>
                </a:cubicBezTo>
                <a:close/>
                <a:moveTo>
                  <a:pt x="14181" y="1258872"/>
                </a:moveTo>
                <a:cubicBezTo>
                  <a:pt x="22008" y="1258872"/>
                  <a:pt x="28361" y="1265224"/>
                  <a:pt x="28361" y="1273052"/>
                </a:cubicBezTo>
                <a:cubicBezTo>
                  <a:pt x="28361" y="1280880"/>
                  <a:pt x="22008" y="1287233"/>
                  <a:pt x="14181" y="1287233"/>
                </a:cubicBezTo>
                <a:cubicBezTo>
                  <a:pt x="6353" y="1287233"/>
                  <a:pt x="0" y="1280880"/>
                  <a:pt x="0" y="1273052"/>
                </a:cubicBezTo>
                <a:cubicBezTo>
                  <a:pt x="0" y="1265224"/>
                  <a:pt x="6353" y="1258872"/>
                  <a:pt x="14181" y="1258872"/>
                </a:cubicBezTo>
                <a:close/>
                <a:moveTo>
                  <a:pt x="14181" y="1201469"/>
                </a:moveTo>
                <a:cubicBezTo>
                  <a:pt x="22008" y="1201469"/>
                  <a:pt x="28361" y="1207822"/>
                  <a:pt x="28361" y="1215649"/>
                </a:cubicBezTo>
                <a:cubicBezTo>
                  <a:pt x="28361" y="1223477"/>
                  <a:pt x="22008" y="1229830"/>
                  <a:pt x="14181" y="1229830"/>
                </a:cubicBezTo>
                <a:cubicBezTo>
                  <a:pt x="6353" y="1229830"/>
                  <a:pt x="0" y="1223477"/>
                  <a:pt x="0" y="1215649"/>
                </a:cubicBezTo>
                <a:cubicBezTo>
                  <a:pt x="0" y="1207822"/>
                  <a:pt x="6353" y="1201469"/>
                  <a:pt x="14181" y="1201469"/>
                </a:cubicBezTo>
                <a:close/>
                <a:moveTo>
                  <a:pt x="14181" y="1144123"/>
                </a:moveTo>
                <a:cubicBezTo>
                  <a:pt x="22008" y="1144123"/>
                  <a:pt x="28361" y="1150419"/>
                  <a:pt x="28361" y="1158303"/>
                </a:cubicBezTo>
                <a:cubicBezTo>
                  <a:pt x="28361" y="1166131"/>
                  <a:pt x="22008" y="1172484"/>
                  <a:pt x="14181" y="1172484"/>
                </a:cubicBezTo>
                <a:cubicBezTo>
                  <a:pt x="6353" y="1172484"/>
                  <a:pt x="0" y="1166131"/>
                  <a:pt x="0" y="1158303"/>
                </a:cubicBezTo>
                <a:cubicBezTo>
                  <a:pt x="0" y="1150419"/>
                  <a:pt x="6353" y="1144123"/>
                  <a:pt x="14181" y="1144123"/>
                </a:cubicBezTo>
                <a:close/>
                <a:moveTo>
                  <a:pt x="14181" y="1086720"/>
                </a:moveTo>
                <a:cubicBezTo>
                  <a:pt x="22008" y="1086720"/>
                  <a:pt x="28361" y="1093073"/>
                  <a:pt x="28361" y="1100900"/>
                </a:cubicBezTo>
                <a:cubicBezTo>
                  <a:pt x="28361" y="1108728"/>
                  <a:pt x="22008" y="1115081"/>
                  <a:pt x="14181" y="1115081"/>
                </a:cubicBezTo>
                <a:cubicBezTo>
                  <a:pt x="6353" y="1115081"/>
                  <a:pt x="0" y="1108728"/>
                  <a:pt x="0" y="1100900"/>
                </a:cubicBezTo>
                <a:cubicBezTo>
                  <a:pt x="0" y="1093073"/>
                  <a:pt x="6353" y="1086720"/>
                  <a:pt x="14181" y="1086720"/>
                </a:cubicBezTo>
                <a:close/>
                <a:moveTo>
                  <a:pt x="14181" y="1029317"/>
                </a:moveTo>
                <a:cubicBezTo>
                  <a:pt x="22008" y="1029317"/>
                  <a:pt x="28361" y="1035670"/>
                  <a:pt x="28361" y="1043498"/>
                </a:cubicBezTo>
                <a:cubicBezTo>
                  <a:pt x="28361" y="1051382"/>
                  <a:pt x="22008" y="1057678"/>
                  <a:pt x="14181" y="1057678"/>
                </a:cubicBezTo>
                <a:cubicBezTo>
                  <a:pt x="6353" y="1057678"/>
                  <a:pt x="0" y="1051382"/>
                  <a:pt x="0" y="1043498"/>
                </a:cubicBezTo>
                <a:cubicBezTo>
                  <a:pt x="0" y="1035670"/>
                  <a:pt x="6353" y="1029317"/>
                  <a:pt x="14181" y="1029317"/>
                </a:cubicBezTo>
                <a:close/>
                <a:moveTo>
                  <a:pt x="14181" y="971971"/>
                </a:moveTo>
                <a:cubicBezTo>
                  <a:pt x="22008" y="971971"/>
                  <a:pt x="28361" y="978324"/>
                  <a:pt x="28361" y="986152"/>
                </a:cubicBezTo>
                <a:cubicBezTo>
                  <a:pt x="28361" y="993979"/>
                  <a:pt x="22008" y="1000332"/>
                  <a:pt x="14181" y="1000332"/>
                </a:cubicBezTo>
                <a:cubicBezTo>
                  <a:pt x="6353" y="1000332"/>
                  <a:pt x="0" y="993979"/>
                  <a:pt x="0" y="986152"/>
                </a:cubicBezTo>
                <a:cubicBezTo>
                  <a:pt x="0" y="978324"/>
                  <a:pt x="6353" y="971971"/>
                  <a:pt x="14181" y="971971"/>
                </a:cubicBezTo>
                <a:close/>
                <a:moveTo>
                  <a:pt x="14181" y="914568"/>
                </a:moveTo>
                <a:cubicBezTo>
                  <a:pt x="22008" y="914568"/>
                  <a:pt x="28361" y="920921"/>
                  <a:pt x="28361" y="928749"/>
                </a:cubicBezTo>
                <a:cubicBezTo>
                  <a:pt x="28361" y="936576"/>
                  <a:pt x="22008" y="942929"/>
                  <a:pt x="14181" y="942929"/>
                </a:cubicBezTo>
                <a:cubicBezTo>
                  <a:pt x="6353" y="942929"/>
                  <a:pt x="0" y="936576"/>
                  <a:pt x="0" y="928749"/>
                </a:cubicBezTo>
                <a:cubicBezTo>
                  <a:pt x="0" y="920921"/>
                  <a:pt x="6353" y="914568"/>
                  <a:pt x="14181" y="914568"/>
                </a:cubicBezTo>
                <a:close/>
                <a:moveTo>
                  <a:pt x="14181" y="857222"/>
                </a:moveTo>
                <a:cubicBezTo>
                  <a:pt x="22008" y="857222"/>
                  <a:pt x="28361" y="863575"/>
                  <a:pt x="28361" y="871402"/>
                </a:cubicBezTo>
                <a:cubicBezTo>
                  <a:pt x="28361" y="879230"/>
                  <a:pt x="22008" y="885583"/>
                  <a:pt x="14181" y="885583"/>
                </a:cubicBezTo>
                <a:cubicBezTo>
                  <a:pt x="6353" y="885583"/>
                  <a:pt x="0" y="879230"/>
                  <a:pt x="0" y="871402"/>
                </a:cubicBezTo>
                <a:cubicBezTo>
                  <a:pt x="0" y="863575"/>
                  <a:pt x="6353" y="857222"/>
                  <a:pt x="14181" y="857222"/>
                </a:cubicBezTo>
                <a:close/>
                <a:moveTo>
                  <a:pt x="14181" y="799819"/>
                </a:moveTo>
                <a:cubicBezTo>
                  <a:pt x="22008" y="799819"/>
                  <a:pt x="28361" y="806172"/>
                  <a:pt x="28361" y="814000"/>
                </a:cubicBezTo>
                <a:cubicBezTo>
                  <a:pt x="28361" y="821827"/>
                  <a:pt x="22008" y="828180"/>
                  <a:pt x="14181" y="828180"/>
                </a:cubicBezTo>
                <a:cubicBezTo>
                  <a:pt x="6353" y="828180"/>
                  <a:pt x="0" y="821827"/>
                  <a:pt x="0" y="814000"/>
                </a:cubicBezTo>
                <a:cubicBezTo>
                  <a:pt x="0" y="806172"/>
                  <a:pt x="6353" y="799819"/>
                  <a:pt x="14181" y="799819"/>
                </a:cubicBezTo>
                <a:close/>
                <a:moveTo>
                  <a:pt x="14181" y="742416"/>
                </a:moveTo>
                <a:cubicBezTo>
                  <a:pt x="22008" y="742416"/>
                  <a:pt x="28361" y="748769"/>
                  <a:pt x="28361" y="756653"/>
                </a:cubicBezTo>
                <a:cubicBezTo>
                  <a:pt x="28361" y="764481"/>
                  <a:pt x="22008" y="770834"/>
                  <a:pt x="14181" y="770834"/>
                </a:cubicBezTo>
                <a:cubicBezTo>
                  <a:pt x="6353" y="770834"/>
                  <a:pt x="0" y="764481"/>
                  <a:pt x="0" y="756653"/>
                </a:cubicBezTo>
                <a:cubicBezTo>
                  <a:pt x="0" y="748769"/>
                  <a:pt x="6353" y="742416"/>
                  <a:pt x="14181" y="742416"/>
                </a:cubicBezTo>
                <a:close/>
                <a:moveTo>
                  <a:pt x="14181" y="685070"/>
                </a:moveTo>
                <a:cubicBezTo>
                  <a:pt x="22008" y="685070"/>
                  <a:pt x="28361" y="691423"/>
                  <a:pt x="28361" y="699251"/>
                </a:cubicBezTo>
                <a:cubicBezTo>
                  <a:pt x="28361" y="707078"/>
                  <a:pt x="22008" y="713431"/>
                  <a:pt x="14181" y="713431"/>
                </a:cubicBezTo>
                <a:cubicBezTo>
                  <a:pt x="6353" y="713431"/>
                  <a:pt x="0" y="707078"/>
                  <a:pt x="0" y="699251"/>
                </a:cubicBezTo>
                <a:cubicBezTo>
                  <a:pt x="0" y="691423"/>
                  <a:pt x="6353" y="685070"/>
                  <a:pt x="14181" y="685070"/>
                </a:cubicBezTo>
                <a:close/>
                <a:moveTo>
                  <a:pt x="14181" y="627667"/>
                </a:moveTo>
                <a:cubicBezTo>
                  <a:pt x="22008" y="627667"/>
                  <a:pt x="28361" y="634020"/>
                  <a:pt x="28361" y="641905"/>
                </a:cubicBezTo>
                <a:cubicBezTo>
                  <a:pt x="28361" y="649732"/>
                  <a:pt x="22008" y="656028"/>
                  <a:pt x="14181" y="656028"/>
                </a:cubicBezTo>
                <a:cubicBezTo>
                  <a:pt x="6353" y="656028"/>
                  <a:pt x="0" y="649732"/>
                  <a:pt x="0" y="641905"/>
                </a:cubicBezTo>
                <a:cubicBezTo>
                  <a:pt x="0" y="634020"/>
                  <a:pt x="6353" y="627667"/>
                  <a:pt x="14181" y="627667"/>
                </a:cubicBezTo>
                <a:close/>
                <a:moveTo>
                  <a:pt x="14181" y="570321"/>
                </a:moveTo>
                <a:cubicBezTo>
                  <a:pt x="22008" y="570321"/>
                  <a:pt x="28361" y="576674"/>
                  <a:pt x="28361" y="584502"/>
                </a:cubicBezTo>
                <a:cubicBezTo>
                  <a:pt x="28361" y="592330"/>
                  <a:pt x="22008" y="598682"/>
                  <a:pt x="14181" y="598682"/>
                </a:cubicBezTo>
                <a:cubicBezTo>
                  <a:pt x="6353" y="598682"/>
                  <a:pt x="0" y="592330"/>
                  <a:pt x="0" y="584502"/>
                </a:cubicBezTo>
                <a:cubicBezTo>
                  <a:pt x="0" y="576674"/>
                  <a:pt x="6353" y="570321"/>
                  <a:pt x="14181" y="570321"/>
                </a:cubicBezTo>
                <a:close/>
                <a:moveTo>
                  <a:pt x="14181" y="512918"/>
                </a:moveTo>
                <a:cubicBezTo>
                  <a:pt x="22008" y="512918"/>
                  <a:pt x="28361" y="519271"/>
                  <a:pt x="28361" y="527099"/>
                </a:cubicBezTo>
                <a:cubicBezTo>
                  <a:pt x="28361" y="534926"/>
                  <a:pt x="22008" y="541280"/>
                  <a:pt x="14181" y="541280"/>
                </a:cubicBezTo>
                <a:cubicBezTo>
                  <a:pt x="6353" y="541280"/>
                  <a:pt x="0" y="534926"/>
                  <a:pt x="0" y="527099"/>
                </a:cubicBezTo>
                <a:cubicBezTo>
                  <a:pt x="0" y="519271"/>
                  <a:pt x="6353" y="512918"/>
                  <a:pt x="14181" y="512918"/>
                </a:cubicBezTo>
                <a:close/>
                <a:moveTo>
                  <a:pt x="14181" y="455572"/>
                </a:moveTo>
                <a:cubicBezTo>
                  <a:pt x="22008" y="455572"/>
                  <a:pt x="28361" y="461868"/>
                  <a:pt x="28361" y="469753"/>
                </a:cubicBezTo>
                <a:cubicBezTo>
                  <a:pt x="28361" y="477580"/>
                  <a:pt x="22008" y="483933"/>
                  <a:pt x="14181" y="483933"/>
                </a:cubicBezTo>
                <a:cubicBezTo>
                  <a:pt x="6353" y="483933"/>
                  <a:pt x="0" y="477580"/>
                  <a:pt x="0" y="469753"/>
                </a:cubicBezTo>
                <a:cubicBezTo>
                  <a:pt x="0" y="461868"/>
                  <a:pt x="6353" y="455572"/>
                  <a:pt x="14181" y="455572"/>
                </a:cubicBezTo>
                <a:close/>
                <a:moveTo>
                  <a:pt x="14181" y="398169"/>
                </a:moveTo>
                <a:cubicBezTo>
                  <a:pt x="22008" y="398169"/>
                  <a:pt x="28361" y="404522"/>
                  <a:pt x="28361" y="412350"/>
                </a:cubicBezTo>
                <a:cubicBezTo>
                  <a:pt x="28361" y="420177"/>
                  <a:pt x="22008" y="426530"/>
                  <a:pt x="14181" y="426530"/>
                </a:cubicBezTo>
                <a:cubicBezTo>
                  <a:pt x="6353" y="426530"/>
                  <a:pt x="0" y="420177"/>
                  <a:pt x="0" y="412350"/>
                </a:cubicBezTo>
                <a:cubicBezTo>
                  <a:pt x="0" y="404522"/>
                  <a:pt x="6353" y="398169"/>
                  <a:pt x="14181" y="398169"/>
                </a:cubicBezTo>
                <a:close/>
                <a:moveTo>
                  <a:pt x="14181" y="340766"/>
                </a:moveTo>
                <a:cubicBezTo>
                  <a:pt x="22008" y="340766"/>
                  <a:pt x="28361" y="347119"/>
                  <a:pt x="28361" y="355004"/>
                </a:cubicBezTo>
                <a:cubicBezTo>
                  <a:pt x="28361" y="362831"/>
                  <a:pt x="22008" y="369128"/>
                  <a:pt x="14181" y="369128"/>
                </a:cubicBezTo>
                <a:cubicBezTo>
                  <a:pt x="6353" y="369128"/>
                  <a:pt x="0" y="362831"/>
                  <a:pt x="0" y="355004"/>
                </a:cubicBezTo>
                <a:cubicBezTo>
                  <a:pt x="0" y="347119"/>
                  <a:pt x="6353" y="340766"/>
                  <a:pt x="14181" y="340766"/>
                </a:cubicBezTo>
                <a:close/>
                <a:moveTo>
                  <a:pt x="38684" y="293545"/>
                </a:moveTo>
                <a:cubicBezTo>
                  <a:pt x="42314" y="293545"/>
                  <a:pt x="45945" y="294934"/>
                  <a:pt x="48724" y="297714"/>
                </a:cubicBezTo>
                <a:cubicBezTo>
                  <a:pt x="54283" y="303273"/>
                  <a:pt x="54283" y="312235"/>
                  <a:pt x="48724" y="317794"/>
                </a:cubicBezTo>
                <a:cubicBezTo>
                  <a:pt x="45945" y="320517"/>
                  <a:pt x="42315" y="321935"/>
                  <a:pt x="38684" y="321935"/>
                </a:cubicBezTo>
                <a:cubicBezTo>
                  <a:pt x="35054" y="321935"/>
                  <a:pt x="31424" y="320517"/>
                  <a:pt x="28645" y="317794"/>
                </a:cubicBezTo>
                <a:cubicBezTo>
                  <a:pt x="23143" y="312235"/>
                  <a:pt x="23143" y="303273"/>
                  <a:pt x="28645" y="297714"/>
                </a:cubicBezTo>
                <a:cubicBezTo>
                  <a:pt x="31424" y="294934"/>
                  <a:pt x="35054" y="293545"/>
                  <a:pt x="38684" y="293545"/>
                </a:cubicBezTo>
                <a:close/>
                <a:moveTo>
                  <a:pt x="79270" y="252989"/>
                </a:moveTo>
                <a:cubicBezTo>
                  <a:pt x="82900" y="252989"/>
                  <a:pt x="86530" y="254378"/>
                  <a:pt x="89281" y="257158"/>
                </a:cubicBezTo>
                <a:cubicBezTo>
                  <a:pt x="94839" y="262717"/>
                  <a:pt x="94839" y="271679"/>
                  <a:pt x="89281" y="277181"/>
                </a:cubicBezTo>
                <a:cubicBezTo>
                  <a:pt x="86558" y="279960"/>
                  <a:pt x="82928" y="281378"/>
                  <a:pt x="79298" y="281378"/>
                </a:cubicBezTo>
                <a:cubicBezTo>
                  <a:pt x="75667" y="281378"/>
                  <a:pt x="72037" y="279960"/>
                  <a:pt x="69258" y="277181"/>
                </a:cubicBezTo>
                <a:cubicBezTo>
                  <a:pt x="63699" y="271679"/>
                  <a:pt x="63699" y="262717"/>
                  <a:pt x="69258" y="257158"/>
                </a:cubicBezTo>
                <a:cubicBezTo>
                  <a:pt x="72009" y="254378"/>
                  <a:pt x="75639" y="252989"/>
                  <a:pt x="79270" y="252989"/>
                </a:cubicBezTo>
                <a:close/>
                <a:moveTo>
                  <a:pt x="3743323" y="212688"/>
                </a:moveTo>
                <a:cubicBezTo>
                  <a:pt x="3745138" y="212291"/>
                  <a:pt x="3747067" y="212291"/>
                  <a:pt x="3748882" y="212688"/>
                </a:cubicBezTo>
                <a:cubicBezTo>
                  <a:pt x="3749790" y="212858"/>
                  <a:pt x="3750697" y="213141"/>
                  <a:pt x="3751548" y="213482"/>
                </a:cubicBezTo>
                <a:cubicBezTo>
                  <a:pt x="3752399" y="213879"/>
                  <a:pt x="3753193" y="214276"/>
                  <a:pt x="3753987" y="214786"/>
                </a:cubicBezTo>
                <a:cubicBezTo>
                  <a:pt x="3754781" y="215297"/>
                  <a:pt x="3755462" y="215921"/>
                  <a:pt x="3756142" y="216601"/>
                </a:cubicBezTo>
                <a:cubicBezTo>
                  <a:pt x="3756766" y="217226"/>
                  <a:pt x="3757390" y="217963"/>
                  <a:pt x="3757901" y="218757"/>
                </a:cubicBezTo>
                <a:cubicBezTo>
                  <a:pt x="3758411" y="219494"/>
                  <a:pt x="3758865" y="220345"/>
                  <a:pt x="3759205" y="221196"/>
                </a:cubicBezTo>
                <a:cubicBezTo>
                  <a:pt x="3759546" y="222047"/>
                  <a:pt x="3759829" y="222898"/>
                  <a:pt x="3760000" y="223805"/>
                </a:cubicBezTo>
                <a:cubicBezTo>
                  <a:pt x="3760170" y="224769"/>
                  <a:pt x="3760283" y="225677"/>
                  <a:pt x="3760283" y="226585"/>
                </a:cubicBezTo>
                <a:cubicBezTo>
                  <a:pt x="3760283" y="227549"/>
                  <a:pt x="3760170" y="228456"/>
                  <a:pt x="3760000" y="229364"/>
                </a:cubicBezTo>
                <a:cubicBezTo>
                  <a:pt x="3759829" y="230272"/>
                  <a:pt x="3759546" y="231179"/>
                  <a:pt x="3759205" y="232030"/>
                </a:cubicBezTo>
                <a:cubicBezTo>
                  <a:pt x="3758865" y="232881"/>
                  <a:pt x="3758411" y="233732"/>
                  <a:pt x="3757901" y="234469"/>
                </a:cubicBezTo>
                <a:cubicBezTo>
                  <a:pt x="3757390" y="235263"/>
                  <a:pt x="3756766" y="235944"/>
                  <a:pt x="3756142" y="236625"/>
                </a:cubicBezTo>
                <a:cubicBezTo>
                  <a:pt x="3755462" y="237305"/>
                  <a:pt x="3754781" y="237872"/>
                  <a:pt x="3753987" y="238383"/>
                </a:cubicBezTo>
                <a:cubicBezTo>
                  <a:pt x="3753193" y="238893"/>
                  <a:pt x="3752399" y="239347"/>
                  <a:pt x="3751548" y="239687"/>
                </a:cubicBezTo>
                <a:cubicBezTo>
                  <a:pt x="3750697" y="240028"/>
                  <a:pt x="3749790" y="240311"/>
                  <a:pt x="3748882" y="240482"/>
                </a:cubicBezTo>
                <a:cubicBezTo>
                  <a:pt x="3747974" y="240708"/>
                  <a:pt x="3747010" y="240765"/>
                  <a:pt x="3746103" y="240765"/>
                </a:cubicBezTo>
                <a:cubicBezTo>
                  <a:pt x="3745195" y="240765"/>
                  <a:pt x="3744231" y="240765"/>
                  <a:pt x="3743323" y="240482"/>
                </a:cubicBezTo>
                <a:cubicBezTo>
                  <a:pt x="3742415" y="240311"/>
                  <a:pt x="3741565" y="240028"/>
                  <a:pt x="3740657" y="239687"/>
                </a:cubicBezTo>
                <a:cubicBezTo>
                  <a:pt x="3739806" y="239347"/>
                  <a:pt x="3739012" y="238893"/>
                  <a:pt x="3738218" y="238383"/>
                </a:cubicBezTo>
                <a:cubicBezTo>
                  <a:pt x="3737481" y="237872"/>
                  <a:pt x="3736743" y="237305"/>
                  <a:pt x="3736063" y="236625"/>
                </a:cubicBezTo>
                <a:cubicBezTo>
                  <a:pt x="3735439" y="235944"/>
                  <a:pt x="3734815" y="235263"/>
                  <a:pt x="3734304" y="234469"/>
                </a:cubicBezTo>
                <a:cubicBezTo>
                  <a:pt x="3733794" y="233675"/>
                  <a:pt x="3733340" y="232881"/>
                  <a:pt x="3733000" y="232030"/>
                </a:cubicBezTo>
                <a:cubicBezTo>
                  <a:pt x="3732659" y="231179"/>
                  <a:pt x="3732376" y="230272"/>
                  <a:pt x="3732206" y="229364"/>
                </a:cubicBezTo>
                <a:cubicBezTo>
                  <a:pt x="3732036" y="228456"/>
                  <a:pt x="3731922" y="227549"/>
                  <a:pt x="3731922" y="226585"/>
                </a:cubicBezTo>
                <a:cubicBezTo>
                  <a:pt x="3731922" y="225677"/>
                  <a:pt x="3732036" y="224769"/>
                  <a:pt x="3732206" y="223805"/>
                </a:cubicBezTo>
                <a:cubicBezTo>
                  <a:pt x="3732376" y="222898"/>
                  <a:pt x="3732659" y="222047"/>
                  <a:pt x="3733000" y="221196"/>
                </a:cubicBezTo>
                <a:cubicBezTo>
                  <a:pt x="3733340" y="220345"/>
                  <a:pt x="3733794" y="219494"/>
                  <a:pt x="3734304" y="218757"/>
                </a:cubicBezTo>
                <a:cubicBezTo>
                  <a:pt x="3734815" y="217963"/>
                  <a:pt x="3735439" y="217226"/>
                  <a:pt x="3736063" y="216601"/>
                </a:cubicBezTo>
                <a:cubicBezTo>
                  <a:pt x="3736743" y="215921"/>
                  <a:pt x="3737481" y="215297"/>
                  <a:pt x="3738218" y="214786"/>
                </a:cubicBezTo>
                <a:cubicBezTo>
                  <a:pt x="3739012" y="214276"/>
                  <a:pt x="3739806" y="213879"/>
                  <a:pt x="3740657" y="213482"/>
                </a:cubicBezTo>
                <a:cubicBezTo>
                  <a:pt x="3741565" y="213141"/>
                  <a:pt x="3742415" y="212858"/>
                  <a:pt x="3743323" y="212688"/>
                </a:cubicBezTo>
                <a:close/>
                <a:moveTo>
                  <a:pt x="117074" y="212688"/>
                </a:moveTo>
                <a:cubicBezTo>
                  <a:pt x="118889" y="212291"/>
                  <a:pt x="120761" y="212291"/>
                  <a:pt x="122633" y="212688"/>
                </a:cubicBezTo>
                <a:cubicBezTo>
                  <a:pt x="123540" y="212858"/>
                  <a:pt x="124391" y="213141"/>
                  <a:pt x="125242" y="213482"/>
                </a:cubicBezTo>
                <a:cubicBezTo>
                  <a:pt x="126150" y="213879"/>
                  <a:pt x="126944" y="214276"/>
                  <a:pt x="127738" y="214786"/>
                </a:cubicBezTo>
                <a:cubicBezTo>
                  <a:pt x="128475" y="215297"/>
                  <a:pt x="129213" y="215921"/>
                  <a:pt x="129893" y="216601"/>
                </a:cubicBezTo>
                <a:cubicBezTo>
                  <a:pt x="130517" y="217226"/>
                  <a:pt x="131141" y="217963"/>
                  <a:pt x="131652" y="218757"/>
                </a:cubicBezTo>
                <a:cubicBezTo>
                  <a:pt x="132162" y="219494"/>
                  <a:pt x="132559" y="220345"/>
                  <a:pt x="132956" y="221196"/>
                </a:cubicBezTo>
                <a:cubicBezTo>
                  <a:pt x="133297" y="222047"/>
                  <a:pt x="133580" y="222898"/>
                  <a:pt x="133750" y="223805"/>
                </a:cubicBezTo>
                <a:cubicBezTo>
                  <a:pt x="133921" y="224769"/>
                  <a:pt x="134034" y="225677"/>
                  <a:pt x="134034" y="226585"/>
                </a:cubicBezTo>
                <a:cubicBezTo>
                  <a:pt x="134034" y="230328"/>
                  <a:pt x="132502" y="233958"/>
                  <a:pt x="129893" y="236625"/>
                </a:cubicBezTo>
                <a:cubicBezTo>
                  <a:pt x="129213" y="237305"/>
                  <a:pt x="128475" y="237872"/>
                  <a:pt x="127738" y="238383"/>
                </a:cubicBezTo>
                <a:cubicBezTo>
                  <a:pt x="126944" y="238893"/>
                  <a:pt x="126150" y="239347"/>
                  <a:pt x="125242" y="239687"/>
                </a:cubicBezTo>
                <a:cubicBezTo>
                  <a:pt x="124391" y="240028"/>
                  <a:pt x="123540" y="240311"/>
                  <a:pt x="122633" y="240482"/>
                </a:cubicBezTo>
                <a:cubicBezTo>
                  <a:pt x="121725" y="240708"/>
                  <a:pt x="120761" y="240765"/>
                  <a:pt x="119854" y="240765"/>
                </a:cubicBezTo>
                <a:cubicBezTo>
                  <a:pt x="118946" y="240765"/>
                  <a:pt x="117982" y="240765"/>
                  <a:pt x="117074" y="240482"/>
                </a:cubicBezTo>
                <a:cubicBezTo>
                  <a:pt x="116166" y="240311"/>
                  <a:pt x="115259" y="240028"/>
                  <a:pt x="114408" y="239687"/>
                </a:cubicBezTo>
                <a:cubicBezTo>
                  <a:pt x="113557" y="239347"/>
                  <a:pt x="112763" y="238893"/>
                  <a:pt x="111969" y="238383"/>
                </a:cubicBezTo>
                <a:cubicBezTo>
                  <a:pt x="111175" y="237872"/>
                  <a:pt x="110494" y="237305"/>
                  <a:pt x="109814" y="236625"/>
                </a:cubicBezTo>
                <a:cubicBezTo>
                  <a:pt x="109133" y="235944"/>
                  <a:pt x="108566" y="235263"/>
                  <a:pt x="108055" y="234469"/>
                </a:cubicBezTo>
                <a:cubicBezTo>
                  <a:pt x="107545" y="233732"/>
                  <a:pt x="107091" y="232881"/>
                  <a:pt x="106751" y="232030"/>
                </a:cubicBezTo>
                <a:cubicBezTo>
                  <a:pt x="106410" y="231179"/>
                  <a:pt x="106127" y="230272"/>
                  <a:pt x="105957" y="229364"/>
                </a:cubicBezTo>
                <a:cubicBezTo>
                  <a:pt x="105786" y="228456"/>
                  <a:pt x="105673" y="227549"/>
                  <a:pt x="105673" y="226585"/>
                </a:cubicBezTo>
                <a:cubicBezTo>
                  <a:pt x="105673" y="225677"/>
                  <a:pt x="105786" y="224769"/>
                  <a:pt x="105957" y="223805"/>
                </a:cubicBezTo>
                <a:cubicBezTo>
                  <a:pt x="106127" y="222898"/>
                  <a:pt x="106410" y="222047"/>
                  <a:pt x="106751" y="221196"/>
                </a:cubicBezTo>
                <a:cubicBezTo>
                  <a:pt x="107091" y="220345"/>
                  <a:pt x="107545" y="219494"/>
                  <a:pt x="108055" y="218757"/>
                </a:cubicBezTo>
                <a:cubicBezTo>
                  <a:pt x="108566" y="217963"/>
                  <a:pt x="109133" y="217226"/>
                  <a:pt x="109814" y="216601"/>
                </a:cubicBezTo>
                <a:cubicBezTo>
                  <a:pt x="110494" y="215921"/>
                  <a:pt x="111175" y="215297"/>
                  <a:pt x="111969" y="214786"/>
                </a:cubicBezTo>
                <a:cubicBezTo>
                  <a:pt x="112763" y="214276"/>
                  <a:pt x="113557" y="213879"/>
                  <a:pt x="114408" y="213482"/>
                </a:cubicBezTo>
                <a:cubicBezTo>
                  <a:pt x="115259" y="213141"/>
                  <a:pt x="116166" y="212858"/>
                  <a:pt x="117074" y="212688"/>
                </a:cubicBezTo>
                <a:close/>
                <a:moveTo>
                  <a:pt x="3801768" y="212602"/>
                </a:moveTo>
                <a:cubicBezTo>
                  <a:pt x="3805462" y="212602"/>
                  <a:pt x="3809149" y="213935"/>
                  <a:pt x="3811786" y="216601"/>
                </a:cubicBezTo>
                <a:cubicBezTo>
                  <a:pt x="3812467" y="217225"/>
                  <a:pt x="3813034" y="217963"/>
                  <a:pt x="3813545" y="218756"/>
                </a:cubicBezTo>
                <a:cubicBezTo>
                  <a:pt x="3814055" y="219494"/>
                  <a:pt x="3814509" y="220345"/>
                  <a:pt x="3814849" y="221195"/>
                </a:cubicBezTo>
                <a:cubicBezTo>
                  <a:pt x="3815190" y="222046"/>
                  <a:pt x="3815473" y="222897"/>
                  <a:pt x="3815644" y="223805"/>
                </a:cubicBezTo>
                <a:cubicBezTo>
                  <a:pt x="3815870" y="224769"/>
                  <a:pt x="3815927" y="225677"/>
                  <a:pt x="3815927" y="226584"/>
                </a:cubicBezTo>
                <a:cubicBezTo>
                  <a:pt x="3815927" y="227548"/>
                  <a:pt x="3815870" y="228456"/>
                  <a:pt x="3815644" y="229363"/>
                </a:cubicBezTo>
                <a:cubicBezTo>
                  <a:pt x="3815473" y="230271"/>
                  <a:pt x="3815190" y="231179"/>
                  <a:pt x="3814849" y="232030"/>
                </a:cubicBezTo>
                <a:cubicBezTo>
                  <a:pt x="3814509" y="232880"/>
                  <a:pt x="3814055" y="233731"/>
                  <a:pt x="3813545" y="234469"/>
                </a:cubicBezTo>
                <a:cubicBezTo>
                  <a:pt x="3813034" y="235263"/>
                  <a:pt x="3812467" y="235943"/>
                  <a:pt x="3811786" y="236624"/>
                </a:cubicBezTo>
                <a:cubicBezTo>
                  <a:pt x="3809177" y="239290"/>
                  <a:pt x="3805490" y="240765"/>
                  <a:pt x="3801747" y="240765"/>
                </a:cubicBezTo>
                <a:cubicBezTo>
                  <a:pt x="3798059" y="240765"/>
                  <a:pt x="3794373" y="239290"/>
                  <a:pt x="3791707" y="236624"/>
                </a:cubicBezTo>
                <a:cubicBezTo>
                  <a:pt x="3789098" y="233958"/>
                  <a:pt x="3787566" y="230328"/>
                  <a:pt x="3787566" y="226584"/>
                </a:cubicBezTo>
                <a:cubicBezTo>
                  <a:pt x="3787566" y="225677"/>
                  <a:pt x="3787680" y="224769"/>
                  <a:pt x="3787850" y="223805"/>
                </a:cubicBezTo>
                <a:cubicBezTo>
                  <a:pt x="3788020" y="222954"/>
                  <a:pt x="3788303" y="222046"/>
                  <a:pt x="3788644" y="221195"/>
                </a:cubicBezTo>
                <a:cubicBezTo>
                  <a:pt x="3789041" y="220345"/>
                  <a:pt x="3789495" y="219494"/>
                  <a:pt x="3789948" y="218756"/>
                </a:cubicBezTo>
                <a:cubicBezTo>
                  <a:pt x="3790516" y="217963"/>
                  <a:pt x="3791083" y="217225"/>
                  <a:pt x="3791707" y="216601"/>
                </a:cubicBezTo>
                <a:cubicBezTo>
                  <a:pt x="3794373" y="213935"/>
                  <a:pt x="3798074" y="212602"/>
                  <a:pt x="3801768" y="212602"/>
                </a:cubicBezTo>
                <a:close/>
                <a:moveTo>
                  <a:pt x="3689437" y="212404"/>
                </a:moveTo>
                <a:cubicBezTo>
                  <a:pt x="3697265" y="212404"/>
                  <a:pt x="3703618" y="218757"/>
                  <a:pt x="3703618" y="226585"/>
                </a:cubicBezTo>
                <a:cubicBezTo>
                  <a:pt x="3703618" y="234469"/>
                  <a:pt x="3697265" y="240765"/>
                  <a:pt x="3689437" y="240765"/>
                </a:cubicBezTo>
                <a:cubicBezTo>
                  <a:pt x="3681610" y="240765"/>
                  <a:pt x="3675257" y="234469"/>
                  <a:pt x="3675257" y="226585"/>
                </a:cubicBezTo>
                <a:cubicBezTo>
                  <a:pt x="3675257" y="218757"/>
                  <a:pt x="3681610" y="212404"/>
                  <a:pt x="3689437" y="212404"/>
                </a:cubicBezTo>
                <a:close/>
                <a:moveTo>
                  <a:pt x="3632772" y="212404"/>
                </a:moveTo>
                <a:cubicBezTo>
                  <a:pt x="3640600" y="212404"/>
                  <a:pt x="3646952" y="218757"/>
                  <a:pt x="3646952" y="226585"/>
                </a:cubicBezTo>
                <a:cubicBezTo>
                  <a:pt x="3646952" y="234469"/>
                  <a:pt x="3640600" y="240765"/>
                  <a:pt x="3632772" y="240765"/>
                </a:cubicBezTo>
                <a:cubicBezTo>
                  <a:pt x="3624944" y="240765"/>
                  <a:pt x="3618591" y="234469"/>
                  <a:pt x="3618591" y="226585"/>
                </a:cubicBezTo>
                <a:cubicBezTo>
                  <a:pt x="3618591" y="218757"/>
                  <a:pt x="3624944" y="212404"/>
                  <a:pt x="3632772" y="212404"/>
                </a:cubicBezTo>
                <a:close/>
                <a:moveTo>
                  <a:pt x="3576106" y="212404"/>
                </a:moveTo>
                <a:cubicBezTo>
                  <a:pt x="3583934" y="212404"/>
                  <a:pt x="3590287" y="218757"/>
                  <a:pt x="3590287" y="226585"/>
                </a:cubicBezTo>
                <a:cubicBezTo>
                  <a:pt x="3590287" y="234469"/>
                  <a:pt x="3583934" y="240765"/>
                  <a:pt x="3576106" y="240765"/>
                </a:cubicBezTo>
                <a:cubicBezTo>
                  <a:pt x="3568279" y="240765"/>
                  <a:pt x="3561926" y="234469"/>
                  <a:pt x="3561926" y="226585"/>
                </a:cubicBezTo>
                <a:cubicBezTo>
                  <a:pt x="3561926" y="218757"/>
                  <a:pt x="3568279" y="212404"/>
                  <a:pt x="3576106" y="212404"/>
                </a:cubicBezTo>
                <a:close/>
                <a:moveTo>
                  <a:pt x="3519441" y="212404"/>
                </a:moveTo>
                <a:cubicBezTo>
                  <a:pt x="3527268" y="212404"/>
                  <a:pt x="3533621" y="218757"/>
                  <a:pt x="3533621" y="226585"/>
                </a:cubicBezTo>
                <a:cubicBezTo>
                  <a:pt x="3533621" y="234469"/>
                  <a:pt x="3527268" y="240765"/>
                  <a:pt x="3519441" y="240765"/>
                </a:cubicBezTo>
                <a:cubicBezTo>
                  <a:pt x="3511613" y="240765"/>
                  <a:pt x="3505260" y="234469"/>
                  <a:pt x="3505260" y="226585"/>
                </a:cubicBezTo>
                <a:cubicBezTo>
                  <a:pt x="3505260" y="218757"/>
                  <a:pt x="3511613" y="212404"/>
                  <a:pt x="3519441" y="212404"/>
                </a:cubicBezTo>
                <a:close/>
                <a:moveTo>
                  <a:pt x="3462832" y="212404"/>
                </a:moveTo>
                <a:cubicBezTo>
                  <a:pt x="3470660" y="212404"/>
                  <a:pt x="3477013" y="218757"/>
                  <a:pt x="3477013" y="226585"/>
                </a:cubicBezTo>
                <a:cubicBezTo>
                  <a:pt x="3477013" y="234469"/>
                  <a:pt x="3470660" y="240765"/>
                  <a:pt x="3462832" y="240765"/>
                </a:cubicBezTo>
                <a:cubicBezTo>
                  <a:pt x="3454948" y="240765"/>
                  <a:pt x="3448652" y="234469"/>
                  <a:pt x="3448652" y="226585"/>
                </a:cubicBezTo>
                <a:cubicBezTo>
                  <a:pt x="3448652" y="218757"/>
                  <a:pt x="3454948" y="212404"/>
                  <a:pt x="3462832" y="212404"/>
                </a:cubicBezTo>
                <a:close/>
                <a:moveTo>
                  <a:pt x="3406167" y="212404"/>
                </a:moveTo>
                <a:cubicBezTo>
                  <a:pt x="3413994" y="212404"/>
                  <a:pt x="3420347" y="218757"/>
                  <a:pt x="3420347" y="226585"/>
                </a:cubicBezTo>
                <a:cubicBezTo>
                  <a:pt x="3420347" y="234469"/>
                  <a:pt x="3413994" y="240765"/>
                  <a:pt x="3406167" y="240765"/>
                </a:cubicBezTo>
                <a:cubicBezTo>
                  <a:pt x="3398339" y="240765"/>
                  <a:pt x="3391929" y="234469"/>
                  <a:pt x="3391929" y="226585"/>
                </a:cubicBezTo>
                <a:cubicBezTo>
                  <a:pt x="3391929" y="218757"/>
                  <a:pt x="3398339" y="212404"/>
                  <a:pt x="3406167" y="212404"/>
                </a:cubicBezTo>
                <a:close/>
                <a:moveTo>
                  <a:pt x="3349501" y="212404"/>
                </a:moveTo>
                <a:cubicBezTo>
                  <a:pt x="3357329" y="212404"/>
                  <a:pt x="3363682" y="218757"/>
                  <a:pt x="3363682" y="226585"/>
                </a:cubicBezTo>
                <a:cubicBezTo>
                  <a:pt x="3363682" y="234469"/>
                  <a:pt x="3357329" y="240765"/>
                  <a:pt x="3349501" y="240765"/>
                </a:cubicBezTo>
                <a:cubicBezTo>
                  <a:pt x="3341674" y="240765"/>
                  <a:pt x="3335321" y="234469"/>
                  <a:pt x="3335321" y="226585"/>
                </a:cubicBezTo>
                <a:cubicBezTo>
                  <a:pt x="3335321" y="218757"/>
                  <a:pt x="3341674" y="212404"/>
                  <a:pt x="3349501" y="212404"/>
                </a:cubicBezTo>
                <a:close/>
                <a:moveTo>
                  <a:pt x="3292836" y="212404"/>
                </a:moveTo>
                <a:cubicBezTo>
                  <a:pt x="3300663" y="212404"/>
                  <a:pt x="3307016" y="218757"/>
                  <a:pt x="3307016" y="226585"/>
                </a:cubicBezTo>
                <a:cubicBezTo>
                  <a:pt x="3307016" y="234469"/>
                  <a:pt x="3300663" y="240765"/>
                  <a:pt x="3292836" y="240765"/>
                </a:cubicBezTo>
                <a:cubicBezTo>
                  <a:pt x="3285008" y="240765"/>
                  <a:pt x="3278655" y="234469"/>
                  <a:pt x="3278655" y="226585"/>
                </a:cubicBezTo>
                <a:cubicBezTo>
                  <a:pt x="3278655" y="218757"/>
                  <a:pt x="3285008" y="212404"/>
                  <a:pt x="3292836" y="212404"/>
                </a:cubicBezTo>
                <a:close/>
                <a:moveTo>
                  <a:pt x="3236170" y="212404"/>
                </a:moveTo>
                <a:cubicBezTo>
                  <a:pt x="3243998" y="212404"/>
                  <a:pt x="3250351" y="218757"/>
                  <a:pt x="3250351" y="226585"/>
                </a:cubicBezTo>
                <a:cubicBezTo>
                  <a:pt x="3250351" y="234469"/>
                  <a:pt x="3243998" y="240765"/>
                  <a:pt x="3236170" y="240765"/>
                </a:cubicBezTo>
                <a:cubicBezTo>
                  <a:pt x="3228343" y="240765"/>
                  <a:pt x="3221990" y="234469"/>
                  <a:pt x="3221990" y="226585"/>
                </a:cubicBezTo>
                <a:cubicBezTo>
                  <a:pt x="3221990" y="218757"/>
                  <a:pt x="3228343" y="212404"/>
                  <a:pt x="3236170" y="212404"/>
                </a:cubicBezTo>
                <a:close/>
                <a:moveTo>
                  <a:pt x="3179505" y="212404"/>
                </a:moveTo>
                <a:cubicBezTo>
                  <a:pt x="3187332" y="212404"/>
                  <a:pt x="3193685" y="218757"/>
                  <a:pt x="3193685" y="226585"/>
                </a:cubicBezTo>
                <a:cubicBezTo>
                  <a:pt x="3193685" y="234469"/>
                  <a:pt x="3187332" y="240765"/>
                  <a:pt x="3179505" y="240765"/>
                </a:cubicBezTo>
                <a:cubicBezTo>
                  <a:pt x="3171677" y="240765"/>
                  <a:pt x="3165324" y="234469"/>
                  <a:pt x="3165324" y="226585"/>
                </a:cubicBezTo>
                <a:cubicBezTo>
                  <a:pt x="3165324" y="218757"/>
                  <a:pt x="3171677" y="212404"/>
                  <a:pt x="3179505" y="212404"/>
                </a:cubicBezTo>
                <a:close/>
                <a:moveTo>
                  <a:pt x="3122839" y="212404"/>
                </a:moveTo>
                <a:cubicBezTo>
                  <a:pt x="3130667" y="212404"/>
                  <a:pt x="3137020" y="218757"/>
                  <a:pt x="3137020" y="226585"/>
                </a:cubicBezTo>
                <a:cubicBezTo>
                  <a:pt x="3137020" y="234469"/>
                  <a:pt x="3130667" y="240765"/>
                  <a:pt x="3122839" y="240765"/>
                </a:cubicBezTo>
                <a:cubicBezTo>
                  <a:pt x="3115012" y="240765"/>
                  <a:pt x="3108659" y="234469"/>
                  <a:pt x="3108659" y="226585"/>
                </a:cubicBezTo>
                <a:cubicBezTo>
                  <a:pt x="3108659" y="218757"/>
                  <a:pt x="3115012" y="212404"/>
                  <a:pt x="3122839" y="212404"/>
                </a:cubicBezTo>
                <a:close/>
                <a:moveTo>
                  <a:pt x="3066174" y="212404"/>
                </a:moveTo>
                <a:cubicBezTo>
                  <a:pt x="3074002" y="212404"/>
                  <a:pt x="3080355" y="218757"/>
                  <a:pt x="3080355" y="226585"/>
                </a:cubicBezTo>
                <a:cubicBezTo>
                  <a:pt x="3080355" y="234469"/>
                  <a:pt x="3074002" y="240765"/>
                  <a:pt x="3066174" y="240765"/>
                </a:cubicBezTo>
                <a:cubicBezTo>
                  <a:pt x="3058346" y="240765"/>
                  <a:pt x="3051993" y="234469"/>
                  <a:pt x="3051993" y="226585"/>
                </a:cubicBezTo>
                <a:cubicBezTo>
                  <a:pt x="3051993" y="218757"/>
                  <a:pt x="3058346" y="212404"/>
                  <a:pt x="3066174" y="212404"/>
                </a:cubicBezTo>
                <a:close/>
                <a:moveTo>
                  <a:pt x="3009509" y="212404"/>
                </a:moveTo>
                <a:cubicBezTo>
                  <a:pt x="3017336" y="212404"/>
                  <a:pt x="3023689" y="218757"/>
                  <a:pt x="3023689" y="226585"/>
                </a:cubicBezTo>
                <a:cubicBezTo>
                  <a:pt x="3023689" y="234469"/>
                  <a:pt x="3017336" y="240765"/>
                  <a:pt x="3009509" y="240765"/>
                </a:cubicBezTo>
                <a:cubicBezTo>
                  <a:pt x="3001681" y="240765"/>
                  <a:pt x="2995328" y="234469"/>
                  <a:pt x="2995328" y="226585"/>
                </a:cubicBezTo>
                <a:cubicBezTo>
                  <a:pt x="2995328" y="218757"/>
                  <a:pt x="3001681" y="212404"/>
                  <a:pt x="3009509" y="212404"/>
                </a:cubicBezTo>
                <a:close/>
                <a:moveTo>
                  <a:pt x="2952843" y="212404"/>
                </a:moveTo>
                <a:cubicBezTo>
                  <a:pt x="2960671" y="212404"/>
                  <a:pt x="2967024" y="218757"/>
                  <a:pt x="2967024" y="226585"/>
                </a:cubicBezTo>
                <a:cubicBezTo>
                  <a:pt x="2967024" y="234469"/>
                  <a:pt x="2960671" y="240765"/>
                  <a:pt x="2952843" y="240765"/>
                </a:cubicBezTo>
                <a:cubicBezTo>
                  <a:pt x="2945016" y="240765"/>
                  <a:pt x="2938663" y="234469"/>
                  <a:pt x="2938663" y="226585"/>
                </a:cubicBezTo>
                <a:cubicBezTo>
                  <a:pt x="2938663" y="218757"/>
                  <a:pt x="2945016" y="212404"/>
                  <a:pt x="2952843" y="212404"/>
                </a:cubicBezTo>
                <a:close/>
                <a:moveTo>
                  <a:pt x="2896177" y="212404"/>
                </a:moveTo>
                <a:cubicBezTo>
                  <a:pt x="2904005" y="212404"/>
                  <a:pt x="2910358" y="218757"/>
                  <a:pt x="2910358" y="226585"/>
                </a:cubicBezTo>
                <a:cubicBezTo>
                  <a:pt x="2910358" y="234469"/>
                  <a:pt x="2904005" y="240765"/>
                  <a:pt x="2896177" y="240765"/>
                </a:cubicBezTo>
                <a:cubicBezTo>
                  <a:pt x="2888350" y="240765"/>
                  <a:pt x="2881997" y="234469"/>
                  <a:pt x="2881997" y="226585"/>
                </a:cubicBezTo>
                <a:cubicBezTo>
                  <a:pt x="2881997" y="218757"/>
                  <a:pt x="2888350" y="212404"/>
                  <a:pt x="2896177" y="212404"/>
                </a:cubicBezTo>
                <a:close/>
                <a:moveTo>
                  <a:pt x="2839569" y="212404"/>
                </a:moveTo>
                <a:cubicBezTo>
                  <a:pt x="2847397" y="212404"/>
                  <a:pt x="2853693" y="218757"/>
                  <a:pt x="2853693" y="226585"/>
                </a:cubicBezTo>
                <a:cubicBezTo>
                  <a:pt x="2853693" y="234469"/>
                  <a:pt x="2847397" y="240765"/>
                  <a:pt x="2839569" y="240765"/>
                </a:cubicBezTo>
                <a:cubicBezTo>
                  <a:pt x="2831684" y="240765"/>
                  <a:pt x="2825388" y="234469"/>
                  <a:pt x="2825388" y="226585"/>
                </a:cubicBezTo>
                <a:cubicBezTo>
                  <a:pt x="2825388" y="218757"/>
                  <a:pt x="2831684" y="212404"/>
                  <a:pt x="2839569" y="212404"/>
                </a:cubicBezTo>
                <a:close/>
                <a:moveTo>
                  <a:pt x="2782847" y="212404"/>
                </a:moveTo>
                <a:cubicBezTo>
                  <a:pt x="2790731" y="212404"/>
                  <a:pt x="2797084" y="218757"/>
                  <a:pt x="2797084" y="226585"/>
                </a:cubicBezTo>
                <a:cubicBezTo>
                  <a:pt x="2797084" y="234469"/>
                  <a:pt x="2790731" y="240765"/>
                  <a:pt x="2782847" y="240765"/>
                </a:cubicBezTo>
                <a:cubicBezTo>
                  <a:pt x="2775019" y="240765"/>
                  <a:pt x="2768723" y="234469"/>
                  <a:pt x="2768723" y="226585"/>
                </a:cubicBezTo>
                <a:cubicBezTo>
                  <a:pt x="2768723" y="218757"/>
                  <a:pt x="2775019" y="212404"/>
                  <a:pt x="2782847" y="212404"/>
                </a:cubicBezTo>
                <a:close/>
                <a:moveTo>
                  <a:pt x="2726238" y="212404"/>
                </a:moveTo>
                <a:cubicBezTo>
                  <a:pt x="2734066" y="212404"/>
                  <a:pt x="2740419" y="218757"/>
                  <a:pt x="2740419" y="226585"/>
                </a:cubicBezTo>
                <a:cubicBezTo>
                  <a:pt x="2740419" y="234469"/>
                  <a:pt x="2734066" y="240765"/>
                  <a:pt x="2726238" y="240765"/>
                </a:cubicBezTo>
                <a:cubicBezTo>
                  <a:pt x="2718410" y="240765"/>
                  <a:pt x="2712058" y="234469"/>
                  <a:pt x="2712058" y="226585"/>
                </a:cubicBezTo>
                <a:cubicBezTo>
                  <a:pt x="2712058" y="218757"/>
                  <a:pt x="2718410" y="212404"/>
                  <a:pt x="2726238" y="212404"/>
                </a:cubicBezTo>
                <a:close/>
                <a:moveTo>
                  <a:pt x="2669573" y="212404"/>
                </a:moveTo>
                <a:cubicBezTo>
                  <a:pt x="2677400" y="212404"/>
                  <a:pt x="2683753" y="218757"/>
                  <a:pt x="2683753" y="226585"/>
                </a:cubicBezTo>
                <a:cubicBezTo>
                  <a:pt x="2683753" y="234469"/>
                  <a:pt x="2677400" y="240765"/>
                  <a:pt x="2669573" y="240765"/>
                </a:cubicBezTo>
                <a:cubicBezTo>
                  <a:pt x="2661745" y="240765"/>
                  <a:pt x="2655392" y="234469"/>
                  <a:pt x="2655392" y="226585"/>
                </a:cubicBezTo>
                <a:cubicBezTo>
                  <a:pt x="2655392" y="218757"/>
                  <a:pt x="2661745" y="212404"/>
                  <a:pt x="2669573" y="212404"/>
                </a:cubicBezTo>
                <a:close/>
                <a:moveTo>
                  <a:pt x="2612907" y="212404"/>
                </a:moveTo>
                <a:cubicBezTo>
                  <a:pt x="2620735" y="212404"/>
                  <a:pt x="2627087" y="218757"/>
                  <a:pt x="2627087" y="226585"/>
                </a:cubicBezTo>
                <a:cubicBezTo>
                  <a:pt x="2627087" y="234469"/>
                  <a:pt x="2620735" y="240765"/>
                  <a:pt x="2612907" y="240765"/>
                </a:cubicBezTo>
                <a:cubicBezTo>
                  <a:pt x="2605080" y="240765"/>
                  <a:pt x="2598726" y="234469"/>
                  <a:pt x="2598726" y="226585"/>
                </a:cubicBezTo>
                <a:cubicBezTo>
                  <a:pt x="2598726" y="218757"/>
                  <a:pt x="2605080" y="212404"/>
                  <a:pt x="2612907" y="212404"/>
                </a:cubicBezTo>
                <a:close/>
                <a:moveTo>
                  <a:pt x="2556242" y="212404"/>
                </a:moveTo>
                <a:cubicBezTo>
                  <a:pt x="2564069" y="212404"/>
                  <a:pt x="2570422" y="218757"/>
                  <a:pt x="2570422" y="226585"/>
                </a:cubicBezTo>
                <a:cubicBezTo>
                  <a:pt x="2570422" y="234469"/>
                  <a:pt x="2564069" y="240765"/>
                  <a:pt x="2556242" y="240765"/>
                </a:cubicBezTo>
                <a:cubicBezTo>
                  <a:pt x="2548414" y="240765"/>
                  <a:pt x="2542061" y="234469"/>
                  <a:pt x="2542061" y="226585"/>
                </a:cubicBezTo>
                <a:cubicBezTo>
                  <a:pt x="2542061" y="218757"/>
                  <a:pt x="2548414" y="212404"/>
                  <a:pt x="2556242" y="212404"/>
                </a:cubicBezTo>
                <a:close/>
                <a:moveTo>
                  <a:pt x="2499576" y="212404"/>
                </a:moveTo>
                <a:cubicBezTo>
                  <a:pt x="2507404" y="212404"/>
                  <a:pt x="2513757" y="218757"/>
                  <a:pt x="2513757" y="226585"/>
                </a:cubicBezTo>
                <a:cubicBezTo>
                  <a:pt x="2513757" y="234469"/>
                  <a:pt x="2507404" y="240765"/>
                  <a:pt x="2499576" y="240765"/>
                </a:cubicBezTo>
                <a:cubicBezTo>
                  <a:pt x="2491748" y="240765"/>
                  <a:pt x="2485396" y="234469"/>
                  <a:pt x="2485396" y="226585"/>
                </a:cubicBezTo>
                <a:cubicBezTo>
                  <a:pt x="2485396" y="218757"/>
                  <a:pt x="2491748" y="212404"/>
                  <a:pt x="2499576" y="212404"/>
                </a:cubicBezTo>
                <a:close/>
                <a:moveTo>
                  <a:pt x="2442911" y="212404"/>
                </a:moveTo>
                <a:cubicBezTo>
                  <a:pt x="2450738" y="212404"/>
                  <a:pt x="2457091" y="218757"/>
                  <a:pt x="2457091" y="226585"/>
                </a:cubicBezTo>
                <a:cubicBezTo>
                  <a:pt x="2457091" y="234469"/>
                  <a:pt x="2450738" y="240765"/>
                  <a:pt x="2442911" y="240765"/>
                </a:cubicBezTo>
                <a:cubicBezTo>
                  <a:pt x="2435083" y="240765"/>
                  <a:pt x="2428730" y="234469"/>
                  <a:pt x="2428730" y="226585"/>
                </a:cubicBezTo>
                <a:cubicBezTo>
                  <a:pt x="2428730" y="218757"/>
                  <a:pt x="2435083" y="212404"/>
                  <a:pt x="2442911" y="212404"/>
                </a:cubicBezTo>
                <a:close/>
                <a:moveTo>
                  <a:pt x="2386245" y="212404"/>
                </a:moveTo>
                <a:cubicBezTo>
                  <a:pt x="2394073" y="212404"/>
                  <a:pt x="2400426" y="218757"/>
                  <a:pt x="2400426" y="226585"/>
                </a:cubicBezTo>
                <a:cubicBezTo>
                  <a:pt x="2400426" y="234469"/>
                  <a:pt x="2394073" y="240765"/>
                  <a:pt x="2386245" y="240765"/>
                </a:cubicBezTo>
                <a:cubicBezTo>
                  <a:pt x="2378418" y="240765"/>
                  <a:pt x="2372065" y="234469"/>
                  <a:pt x="2372065" y="226585"/>
                </a:cubicBezTo>
                <a:cubicBezTo>
                  <a:pt x="2372065" y="218757"/>
                  <a:pt x="2378418" y="212404"/>
                  <a:pt x="2386245" y="212404"/>
                </a:cubicBezTo>
                <a:close/>
                <a:moveTo>
                  <a:pt x="2329580" y="212404"/>
                </a:moveTo>
                <a:cubicBezTo>
                  <a:pt x="2337408" y="212404"/>
                  <a:pt x="2343761" y="218757"/>
                  <a:pt x="2343761" y="226585"/>
                </a:cubicBezTo>
                <a:cubicBezTo>
                  <a:pt x="2343761" y="234469"/>
                  <a:pt x="2337408" y="240765"/>
                  <a:pt x="2329580" y="240765"/>
                </a:cubicBezTo>
                <a:cubicBezTo>
                  <a:pt x="2321752" y="240765"/>
                  <a:pt x="2315399" y="234469"/>
                  <a:pt x="2315399" y="226585"/>
                </a:cubicBezTo>
                <a:cubicBezTo>
                  <a:pt x="2315399" y="218757"/>
                  <a:pt x="2321752" y="212404"/>
                  <a:pt x="2329580" y="212404"/>
                </a:cubicBezTo>
                <a:close/>
                <a:moveTo>
                  <a:pt x="2272915" y="212404"/>
                </a:moveTo>
                <a:cubicBezTo>
                  <a:pt x="2280742" y="212404"/>
                  <a:pt x="2287095" y="218757"/>
                  <a:pt x="2287095" y="226585"/>
                </a:cubicBezTo>
                <a:cubicBezTo>
                  <a:pt x="2287095" y="234469"/>
                  <a:pt x="2280742" y="240765"/>
                  <a:pt x="2272915" y="240765"/>
                </a:cubicBezTo>
                <a:cubicBezTo>
                  <a:pt x="2265087" y="240765"/>
                  <a:pt x="2258734" y="234469"/>
                  <a:pt x="2258734" y="226585"/>
                </a:cubicBezTo>
                <a:cubicBezTo>
                  <a:pt x="2258734" y="218757"/>
                  <a:pt x="2265087" y="212404"/>
                  <a:pt x="2272915" y="212404"/>
                </a:cubicBezTo>
                <a:close/>
                <a:moveTo>
                  <a:pt x="2216306" y="212404"/>
                </a:moveTo>
                <a:cubicBezTo>
                  <a:pt x="2224133" y="212404"/>
                  <a:pt x="2230429" y="218757"/>
                  <a:pt x="2230429" y="226585"/>
                </a:cubicBezTo>
                <a:cubicBezTo>
                  <a:pt x="2230429" y="234469"/>
                  <a:pt x="2224133" y="240765"/>
                  <a:pt x="2216306" y="240765"/>
                </a:cubicBezTo>
                <a:cubicBezTo>
                  <a:pt x="2208421" y="240765"/>
                  <a:pt x="2202125" y="234469"/>
                  <a:pt x="2202125" y="226585"/>
                </a:cubicBezTo>
                <a:cubicBezTo>
                  <a:pt x="2202125" y="218757"/>
                  <a:pt x="2208421" y="212404"/>
                  <a:pt x="2216306" y="212404"/>
                </a:cubicBezTo>
                <a:close/>
                <a:moveTo>
                  <a:pt x="2159640" y="212404"/>
                </a:moveTo>
                <a:cubicBezTo>
                  <a:pt x="2167468" y="212404"/>
                  <a:pt x="2173821" y="218757"/>
                  <a:pt x="2173821" y="226585"/>
                </a:cubicBezTo>
                <a:cubicBezTo>
                  <a:pt x="2173821" y="234469"/>
                  <a:pt x="2167468" y="240765"/>
                  <a:pt x="2159640" y="240765"/>
                </a:cubicBezTo>
                <a:cubicBezTo>
                  <a:pt x="2151756" y="240765"/>
                  <a:pt x="2145403" y="234469"/>
                  <a:pt x="2145403" y="226585"/>
                </a:cubicBezTo>
                <a:cubicBezTo>
                  <a:pt x="2145403" y="218757"/>
                  <a:pt x="2151756" y="212404"/>
                  <a:pt x="2159640" y="212404"/>
                </a:cubicBezTo>
                <a:close/>
                <a:moveTo>
                  <a:pt x="2102975" y="212404"/>
                </a:moveTo>
                <a:cubicBezTo>
                  <a:pt x="2110802" y="212404"/>
                  <a:pt x="2117155" y="218757"/>
                  <a:pt x="2117155" y="226585"/>
                </a:cubicBezTo>
                <a:cubicBezTo>
                  <a:pt x="2117155" y="234469"/>
                  <a:pt x="2110802" y="240765"/>
                  <a:pt x="2102975" y="240765"/>
                </a:cubicBezTo>
                <a:cubicBezTo>
                  <a:pt x="2095147" y="240765"/>
                  <a:pt x="2088794" y="234469"/>
                  <a:pt x="2088794" y="226585"/>
                </a:cubicBezTo>
                <a:cubicBezTo>
                  <a:pt x="2088794" y="218757"/>
                  <a:pt x="2095147" y="212404"/>
                  <a:pt x="2102975" y="212404"/>
                </a:cubicBezTo>
                <a:close/>
                <a:moveTo>
                  <a:pt x="2046309" y="212404"/>
                </a:moveTo>
                <a:cubicBezTo>
                  <a:pt x="2054137" y="212404"/>
                  <a:pt x="2060490" y="218757"/>
                  <a:pt x="2060490" y="226585"/>
                </a:cubicBezTo>
                <a:cubicBezTo>
                  <a:pt x="2060490" y="234469"/>
                  <a:pt x="2054137" y="240765"/>
                  <a:pt x="2046309" y="240765"/>
                </a:cubicBezTo>
                <a:cubicBezTo>
                  <a:pt x="2038482" y="240765"/>
                  <a:pt x="2032129" y="234469"/>
                  <a:pt x="2032129" y="226585"/>
                </a:cubicBezTo>
                <a:cubicBezTo>
                  <a:pt x="2032129" y="218757"/>
                  <a:pt x="2038482" y="212404"/>
                  <a:pt x="2046309" y="212404"/>
                </a:cubicBezTo>
                <a:close/>
                <a:moveTo>
                  <a:pt x="1989644" y="212404"/>
                </a:moveTo>
                <a:cubicBezTo>
                  <a:pt x="1997471" y="212404"/>
                  <a:pt x="2003825" y="218757"/>
                  <a:pt x="2003825" y="226585"/>
                </a:cubicBezTo>
                <a:cubicBezTo>
                  <a:pt x="2003825" y="234469"/>
                  <a:pt x="1997471" y="240765"/>
                  <a:pt x="1989644" y="240765"/>
                </a:cubicBezTo>
                <a:cubicBezTo>
                  <a:pt x="1981816" y="240765"/>
                  <a:pt x="1975463" y="234469"/>
                  <a:pt x="1975463" y="226585"/>
                </a:cubicBezTo>
                <a:cubicBezTo>
                  <a:pt x="1975463" y="218757"/>
                  <a:pt x="1981816" y="212404"/>
                  <a:pt x="1989644" y="212404"/>
                </a:cubicBezTo>
                <a:close/>
                <a:moveTo>
                  <a:pt x="1932978" y="212404"/>
                </a:moveTo>
                <a:cubicBezTo>
                  <a:pt x="1940806" y="212404"/>
                  <a:pt x="1947159" y="218757"/>
                  <a:pt x="1947159" y="226585"/>
                </a:cubicBezTo>
                <a:cubicBezTo>
                  <a:pt x="1947159" y="234469"/>
                  <a:pt x="1940806" y="240765"/>
                  <a:pt x="1932978" y="240765"/>
                </a:cubicBezTo>
                <a:cubicBezTo>
                  <a:pt x="1925151" y="240765"/>
                  <a:pt x="1918798" y="234469"/>
                  <a:pt x="1918798" y="226585"/>
                </a:cubicBezTo>
                <a:cubicBezTo>
                  <a:pt x="1918798" y="218757"/>
                  <a:pt x="1925151" y="212404"/>
                  <a:pt x="1932978" y="212404"/>
                </a:cubicBezTo>
                <a:close/>
                <a:moveTo>
                  <a:pt x="1876313" y="212404"/>
                </a:moveTo>
                <a:cubicBezTo>
                  <a:pt x="1884141" y="212404"/>
                  <a:pt x="1890493" y="218757"/>
                  <a:pt x="1890493" y="226585"/>
                </a:cubicBezTo>
                <a:cubicBezTo>
                  <a:pt x="1890493" y="234469"/>
                  <a:pt x="1884141" y="240765"/>
                  <a:pt x="1876313" y="240765"/>
                </a:cubicBezTo>
                <a:cubicBezTo>
                  <a:pt x="1868485" y="240765"/>
                  <a:pt x="1862132" y="234469"/>
                  <a:pt x="1862132" y="226585"/>
                </a:cubicBezTo>
                <a:cubicBezTo>
                  <a:pt x="1862132" y="218757"/>
                  <a:pt x="1868485" y="212404"/>
                  <a:pt x="1876313" y="212404"/>
                </a:cubicBezTo>
                <a:close/>
                <a:moveTo>
                  <a:pt x="1819647" y="212404"/>
                </a:moveTo>
                <a:cubicBezTo>
                  <a:pt x="1827475" y="212404"/>
                  <a:pt x="1833828" y="218757"/>
                  <a:pt x="1833828" y="226585"/>
                </a:cubicBezTo>
                <a:cubicBezTo>
                  <a:pt x="1833828" y="234469"/>
                  <a:pt x="1827475" y="240765"/>
                  <a:pt x="1819647" y="240765"/>
                </a:cubicBezTo>
                <a:cubicBezTo>
                  <a:pt x="1811820" y="240765"/>
                  <a:pt x="1805467" y="234469"/>
                  <a:pt x="1805467" y="226585"/>
                </a:cubicBezTo>
                <a:cubicBezTo>
                  <a:pt x="1805467" y="218757"/>
                  <a:pt x="1811820" y="212404"/>
                  <a:pt x="1819647" y="212404"/>
                </a:cubicBezTo>
                <a:close/>
                <a:moveTo>
                  <a:pt x="1762982" y="212404"/>
                </a:moveTo>
                <a:cubicBezTo>
                  <a:pt x="1770810" y="212404"/>
                  <a:pt x="1777163" y="218757"/>
                  <a:pt x="1777163" y="226585"/>
                </a:cubicBezTo>
                <a:cubicBezTo>
                  <a:pt x="1777163" y="234469"/>
                  <a:pt x="1770810" y="240765"/>
                  <a:pt x="1762982" y="240765"/>
                </a:cubicBezTo>
                <a:cubicBezTo>
                  <a:pt x="1755154" y="240765"/>
                  <a:pt x="1748802" y="234469"/>
                  <a:pt x="1748802" y="226585"/>
                </a:cubicBezTo>
                <a:cubicBezTo>
                  <a:pt x="1748802" y="218757"/>
                  <a:pt x="1755154" y="212404"/>
                  <a:pt x="1762982" y="212404"/>
                </a:cubicBezTo>
                <a:close/>
                <a:moveTo>
                  <a:pt x="1706317" y="212404"/>
                </a:moveTo>
                <a:cubicBezTo>
                  <a:pt x="1714144" y="212404"/>
                  <a:pt x="1720497" y="218757"/>
                  <a:pt x="1720497" y="226585"/>
                </a:cubicBezTo>
                <a:cubicBezTo>
                  <a:pt x="1720497" y="234469"/>
                  <a:pt x="1714144" y="240765"/>
                  <a:pt x="1706317" y="240765"/>
                </a:cubicBezTo>
                <a:cubicBezTo>
                  <a:pt x="1698489" y="240765"/>
                  <a:pt x="1692136" y="234469"/>
                  <a:pt x="1692136" y="226585"/>
                </a:cubicBezTo>
                <a:cubicBezTo>
                  <a:pt x="1692136" y="218757"/>
                  <a:pt x="1698489" y="212404"/>
                  <a:pt x="1706317" y="212404"/>
                </a:cubicBezTo>
                <a:close/>
                <a:moveTo>
                  <a:pt x="1649651" y="212404"/>
                </a:moveTo>
                <a:cubicBezTo>
                  <a:pt x="1657479" y="212404"/>
                  <a:pt x="1663832" y="218757"/>
                  <a:pt x="1663832" y="226585"/>
                </a:cubicBezTo>
                <a:cubicBezTo>
                  <a:pt x="1663832" y="234469"/>
                  <a:pt x="1657479" y="240765"/>
                  <a:pt x="1649651" y="240765"/>
                </a:cubicBezTo>
                <a:cubicBezTo>
                  <a:pt x="1641824" y="240765"/>
                  <a:pt x="1635471" y="234469"/>
                  <a:pt x="1635471" y="226585"/>
                </a:cubicBezTo>
                <a:cubicBezTo>
                  <a:pt x="1635471" y="218757"/>
                  <a:pt x="1641824" y="212404"/>
                  <a:pt x="1649651" y="212404"/>
                </a:cubicBezTo>
                <a:close/>
                <a:moveTo>
                  <a:pt x="1593042" y="212404"/>
                </a:moveTo>
                <a:cubicBezTo>
                  <a:pt x="1600870" y="212404"/>
                  <a:pt x="1607223" y="218757"/>
                  <a:pt x="1607223" y="226585"/>
                </a:cubicBezTo>
                <a:cubicBezTo>
                  <a:pt x="1607223" y="234469"/>
                  <a:pt x="1600870" y="240765"/>
                  <a:pt x="1593042" y="240765"/>
                </a:cubicBezTo>
                <a:cubicBezTo>
                  <a:pt x="1585158" y="240765"/>
                  <a:pt x="1578862" y="234469"/>
                  <a:pt x="1578862" y="226585"/>
                </a:cubicBezTo>
                <a:cubicBezTo>
                  <a:pt x="1578862" y="218757"/>
                  <a:pt x="1585158" y="212404"/>
                  <a:pt x="1593042" y="212404"/>
                </a:cubicBezTo>
                <a:close/>
                <a:moveTo>
                  <a:pt x="1536377" y="212404"/>
                </a:moveTo>
                <a:cubicBezTo>
                  <a:pt x="1544205" y="212404"/>
                  <a:pt x="1550557" y="218757"/>
                  <a:pt x="1550557" y="226585"/>
                </a:cubicBezTo>
                <a:cubicBezTo>
                  <a:pt x="1550557" y="234469"/>
                  <a:pt x="1544205" y="240765"/>
                  <a:pt x="1536377" y="240765"/>
                </a:cubicBezTo>
                <a:cubicBezTo>
                  <a:pt x="1528549" y="240765"/>
                  <a:pt x="1522140" y="234469"/>
                  <a:pt x="1522140" y="226585"/>
                </a:cubicBezTo>
                <a:cubicBezTo>
                  <a:pt x="1522140" y="218757"/>
                  <a:pt x="1528549" y="212404"/>
                  <a:pt x="1536377" y="212404"/>
                </a:cubicBezTo>
                <a:close/>
                <a:moveTo>
                  <a:pt x="1479712" y="212404"/>
                </a:moveTo>
                <a:cubicBezTo>
                  <a:pt x="1487539" y="212404"/>
                  <a:pt x="1493892" y="218757"/>
                  <a:pt x="1493892" y="226585"/>
                </a:cubicBezTo>
                <a:cubicBezTo>
                  <a:pt x="1493892" y="234469"/>
                  <a:pt x="1487539" y="240765"/>
                  <a:pt x="1479712" y="240765"/>
                </a:cubicBezTo>
                <a:cubicBezTo>
                  <a:pt x="1471884" y="240765"/>
                  <a:pt x="1465531" y="234469"/>
                  <a:pt x="1465531" y="226585"/>
                </a:cubicBezTo>
                <a:cubicBezTo>
                  <a:pt x="1465531" y="218757"/>
                  <a:pt x="1471884" y="212404"/>
                  <a:pt x="1479712" y="212404"/>
                </a:cubicBezTo>
                <a:close/>
                <a:moveTo>
                  <a:pt x="1423046" y="212404"/>
                </a:moveTo>
                <a:cubicBezTo>
                  <a:pt x="1430874" y="212404"/>
                  <a:pt x="1437227" y="218757"/>
                  <a:pt x="1437227" y="226585"/>
                </a:cubicBezTo>
                <a:cubicBezTo>
                  <a:pt x="1437227" y="234469"/>
                  <a:pt x="1430874" y="240765"/>
                  <a:pt x="1423046" y="240765"/>
                </a:cubicBezTo>
                <a:cubicBezTo>
                  <a:pt x="1415218" y="240765"/>
                  <a:pt x="1408866" y="234469"/>
                  <a:pt x="1408866" y="226585"/>
                </a:cubicBezTo>
                <a:cubicBezTo>
                  <a:pt x="1408866" y="218757"/>
                  <a:pt x="1415218" y="212404"/>
                  <a:pt x="1423046" y="212404"/>
                </a:cubicBezTo>
                <a:close/>
                <a:moveTo>
                  <a:pt x="1366381" y="212404"/>
                </a:moveTo>
                <a:cubicBezTo>
                  <a:pt x="1374208" y="212404"/>
                  <a:pt x="1380561" y="218757"/>
                  <a:pt x="1380561" y="226585"/>
                </a:cubicBezTo>
                <a:cubicBezTo>
                  <a:pt x="1380561" y="234469"/>
                  <a:pt x="1374208" y="240765"/>
                  <a:pt x="1366381" y="240765"/>
                </a:cubicBezTo>
                <a:cubicBezTo>
                  <a:pt x="1358553" y="240765"/>
                  <a:pt x="1352200" y="234469"/>
                  <a:pt x="1352200" y="226585"/>
                </a:cubicBezTo>
                <a:cubicBezTo>
                  <a:pt x="1352200" y="218757"/>
                  <a:pt x="1358553" y="212404"/>
                  <a:pt x="1366381" y="212404"/>
                </a:cubicBezTo>
                <a:close/>
                <a:moveTo>
                  <a:pt x="1309715" y="212404"/>
                </a:moveTo>
                <a:cubicBezTo>
                  <a:pt x="1317543" y="212404"/>
                  <a:pt x="1323896" y="218757"/>
                  <a:pt x="1323896" y="226585"/>
                </a:cubicBezTo>
                <a:cubicBezTo>
                  <a:pt x="1323896" y="234469"/>
                  <a:pt x="1317543" y="240765"/>
                  <a:pt x="1309715" y="240765"/>
                </a:cubicBezTo>
                <a:cubicBezTo>
                  <a:pt x="1301887" y="240765"/>
                  <a:pt x="1295535" y="234469"/>
                  <a:pt x="1295535" y="226585"/>
                </a:cubicBezTo>
                <a:cubicBezTo>
                  <a:pt x="1295535" y="218757"/>
                  <a:pt x="1301887" y="212404"/>
                  <a:pt x="1309715" y="212404"/>
                </a:cubicBezTo>
                <a:close/>
                <a:moveTo>
                  <a:pt x="1253050" y="212404"/>
                </a:moveTo>
                <a:cubicBezTo>
                  <a:pt x="1260877" y="212404"/>
                  <a:pt x="1267230" y="218757"/>
                  <a:pt x="1267230" y="226585"/>
                </a:cubicBezTo>
                <a:cubicBezTo>
                  <a:pt x="1267230" y="234469"/>
                  <a:pt x="1260877" y="240765"/>
                  <a:pt x="1253050" y="240765"/>
                </a:cubicBezTo>
                <a:cubicBezTo>
                  <a:pt x="1245222" y="240765"/>
                  <a:pt x="1238869" y="234469"/>
                  <a:pt x="1238869" y="226585"/>
                </a:cubicBezTo>
                <a:cubicBezTo>
                  <a:pt x="1238869" y="218757"/>
                  <a:pt x="1245222" y="212404"/>
                  <a:pt x="1253050" y="212404"/>
                </a:cubicBezTo>
                <a:close/>
                <a:moveTo>
                  <a:pt x="1196384" y="212404"/>
                </a:moveTo>
                <a:cubicBezTo>
                  <a:pt x="1204212" y="212404"/>
                  <a:pt x="1210565" y="218757"/>
                  <a:pt x="1210565" y="226585"/>
                </a:cubicBezTo>
                <a:cubicBezTo>
                  <a:pt x="1210565" y="234469"/>
                  <a:pt x="1204212" y="240765"/>
                  <a:pt x="1196384" y="240765"/>
                </a:cubicBezTo>
                <a:cubicBezTo>
                  <a:pt x="1188556" y="240765"/>
                  <a:pt x="1182204" y="234469"/>
                  <a:pt x="1182204" y="226585"/>
                </a:cubicBezTo>
                <a:cubicBezTo>
                  <a:pt x="1182204" y="218757"/>
                  <a:pt x="1188556" y="212404"/>
                  <a:pt x="1196384" y="212404"/>
                </a:cubicBezTo>
                <a:close/>
                <a:moveTo>
                  <a:pt x="1139719" y="212404"/>
                </a:moveTo>
                <a:cubicBezTo>
                  <a:pt x="1147546" y="212404"/>
                  <a:pt x="1153899" y="218757"/>
                  <a:pt x="1153899" y="226585"/>
                </a:cubicBezTo>
                <a:cubicBezTo>
                  <a:pt x="1153899" y="234469"/>
                  <a:pt x="1147546" y="240765"/>
                  <a:pt x="1139719" y="240765"/>
                </a:cubicBezTo>
                <a:cubicBezTo>
                  <a:pt x="1131891" y="240765"/>
                  <a:pt x="1125538" y="234469"/>
                  <a:pt x="1125538" y="226585"/>
                </a:cubicBezTo>
                <a:cubicBezTo>
                  <a:pt x="1125538" y="218757"/>
                  <a:pt x="1131891" y="212404"/>
                  <a:pt x="1139719" y="212404"/>
                </a:cubicBezTo>
                <a:close/>
                <a:moveTo>
                  <a:pt x="1083053" y="212404"/>
                </a:moveTo>
                <a:cubicBezTo>
                  <a:pt x="1090881" y="212404"/>
                  <a:pt x="1097234" y="218757"/>
                  <a:pt x="1097234" y="226585"/>
                </a:cubicBezTo>
                <a:cubicBezTo>
                  <a:pt x="1097234" y="234469"/>
                  <a:pt x="1090881" y="240765"/>
                  <a:pt x="1083053" y="240765"/>
                </a:cubicBezTo>
                <a:cubicBezTo>
                  <a:pt x="1075226" y="240765"/>
                  <a:pt x="1068873" y="234469"/>
                  <a:pt x="1068873" y="226585"/>
                </a:cubicBezTo>
                <a:cubicBezTo>
                  <a:pt x="1068873" y="218757"/>
                  <a:pt x="1075226" y="212404"/>
                  <a:pt x="1083053" y="212404"/>
                </a:cubicBezTo>
                <a:close/>
                <a:moveTo>
                  <a:pt x="1026388" y="212404"/>
                </a:moveTo>
                <a:cubicBezTo>
                  <a:pt x="1034215" y="212404"/>
                  <a:pt x="1040568" y="218757"/>
                  <a:pt x="1040568" y="226585"/>
                </a:cubicBezTo>
                <a:cubicBezTo>
                  <a:pt x="1040568" y="234469"/>
                  <a:pt x="1034215" y="240765"/>
                  <a:pt x="1026388" y="240765"/>
                </a:cubicBezTo>
                <a:cubicBezTo>
                  <a:pt x="1018560" y="240765"/>
                  <a:pt x="1012207" y="234469"/>
                  <a:pt x="1012207" y="226585"/>
                </a:cubicBezTo>
                <a:cubicBezTo>
                  <a:pt x="1012207" y="218757"/>
                  <a:pt x="1018560" y="212404"/>
                  <a:pt x="1026388" y="212404"/>
                </a:cubicBezTo>
                <a:close/>
                <a:moveTo>
                  <a:pt x="969779" y="212404"/>
                </a:moveTo>
                <a:cubicBezTo>
                  <a:pt x="977607" y="212404"/>
                  <a:pt x="983903" y="218757"/>
                  <a:pt x="983903" y="226585"/>
                </a:cubicBezTo>
                <a:cubicBezTo>
                  <a:pt x="983903" y="234469"/>
                  <a:pt x="977607" y="240765"/>
                  <a:pt x="969779" y="240765"/>
                </a:cubicBezTo>
                <a:cubicBezTo>
                  <a:pt x="961895" y="240765"/>
                  <a:pt x="955599" y="234469"/>
                  <a:pt x="955599" y="226585"/>
                </a:cubicBezTo>
                <a:cubicBezTo>
                  <a:pt x="955599" y="218757"/>
                  <a:pt x="961895" y="212404"/>
                  <a:pt x="969779" y="212404"/>
                </a:cubicBezTo>
                <a:close/>
                <a:moveTo>
                  <a:pt x="913057" y="212404"/>
                </a:moveTo>
                <a:cubicBezTo>
                  <a:pt x="920941" y="212404"/>
                  <a:pt x="927294" y="218757"/>
                  <a:pt x="927294" y="226585"/>
                </a:cubicBezTo>
                <a:cubicBezTo>
                  <a:pt x="927294" y="234469"/>
                  <a:pt x="920941" y="240765"/>
                  <a:pt x="913057" y="240765"/>
                </a:cubicBezTo>
                <a:cubicBezTo>
                  <a:pt x="905229" y="240765"/>
                  <a:pt x="898876" y="234469"/>
                  <a:pt x="898876" y="226585"/>
                </a:cubicBezTo>
                <a:cubicBezTo>
                  <a:pt x="898876" y="218757"/>
                  <a:pt x="905229" y="212404"/>
                  <a:pt x="913057" y="212404"/>
                </a:cubicBezTo>
                <a:close/>
                <a:moveTo>
                  <a:pt x="856448" y="212404"/>
                </a:moveTo>
                <a:cubicBezTo>
                  <a:pt x="864276" y="212404"/>
                  <a:pt x="870629" y="218757"/>
                  <a:pt x="870629" y="226585"/>
                </a:cubicBezTo>
                <a:cubicBezTo>
                  <a:pt x="870629" y="234469"/>
                  <a:pt x="864276" y="240765"/>
                  <a:pt x="856448" y="240765"/>
                </a:cubicBezTo>
                <a:cubicBezTo>
                  <a:pt x="848621" y="240765"/>
                  <a:pt x="842268" y="234469"/>
                  <a:pt x="842268" y="226585"/>
                </a:cubicBezTo>
                <a:cubicBezTo>
                  <a:pt x="842268" y="218757"/>
                  <a:pt x="848621" y="212404"/>
                  <a:pt x="856448" y="212404"/>
                </a:cubicBezTo>
                <a:close/>
                <a:moveTo>
                  <a:pt x="799783" y="212404"/>
                </a:moveTo>
                <a:cubicBezTo>
                  <a:pt x="807611" y="212404"/>
                  <a:pt x="813963" y="218757"/>
                  <a:pt x="813963" y="226585"/>
                </a:cubicBezTo>
                <a:cubicBezTo>
                  <a:pt x="813963" y="234469"/>
                  <a:pt x="807611" y="240765"/>
                  <a:pt x="799783" y="240765"/>
                </a:cubicBezTo>
                <a:cubicBezTo>
                  <a:pt x="791955" y="240765"/>
                  <a:pt x="785602" y="234469"/>
                  <a:pt x="785602" y="226585"/>
                </a:cubicBezTo>
                <a:cubicBezTo>
                  <a:pt x="785602" y="218757"/>
                  <a:pt x="791955" y="212404"/>
                  <a:pt x="799783" y="212404"/>
                </a:cubicBezTo>
                <a:close/>
                <a:moveTo>
                  <a:pt x="743117" y="212404"/>
                </a:moveTo>
                <a:cubicBezTo>
                  <a:pt x="750945" y="212404"/>
                  <a:pt x="757298" y="218757"/>
                  <a:pt x="757298" y="226585"/>
                </a:cubicBezTo>
                <a:cubicBezTo>
                  <a:pt x="757298" y="234469"/>
                  <a:pt x="750945" y="240765"/>
                  <a:pt x="743117" y="240765"/>
                </a:cubicBezTo>
                <a:cubicBezTo>
                  <a:pt x="735290" y="240765"/>
                  <a:pt x="728937" y="234469"/>
                  <a:pt x="728937" y="226585"/>
                </a:cubicBezTo>
                <a:cubicBezTo>
                  <a:pt x="728937" y="218757"/>
                  <a:pt x="735290" y="212404"/>
                  <a:pt x="743117" y="212404"/>
                </a:cubicBezTo>
                <a:close/>
                <a:moveTo>
                  <a:pt x="686452" y="212404"/>
                </a:moveTo>
                <a:cubicBezTo>
                  <a:pt x="694280" y="212404"/>
                  <a:pt x="700632" y="218757"/>
                  <a:pt x="700632" y="226585"/>
                </a:cubicBezTo>
                <a:cubicBezTo>
                  <a:pt x="700632" y="234469"/>
                  <a:pt x="694280" y="240765"/>
                  <a:pt x="686452" y="240765"/>
                </a:cubicBezTo>
                <a:cubicBezTo>
                  <a:pt x="678624" y="240765"/>
                  <a:pt x="672271" y="234469"/>
                  <a:pt x="672271" y="226585"/>
                </a:cubicBezTo>
                <a:cubicBezTo>
                  <a:pt x="672271" y="218757"/>
                  <a:pt x="678624" y="212404"/>
                  <a:pt x="686452" y="212404"/>
                </a:cubicBezTo>
                <a:close/>
                <a:moveTo>
                  <a:pt x="629786" y="212404"/>
                </a:moveTo>
                <a:cubicBezTo>
                  <a:pt x="637614" y="212404"/>
                  <a:pt x="643967" y="218757"/>
                  <a:pt x="643967" y="226585"/>
                </a:cubicBezTo>
                <a:cubicBezTo>
                  <a:pt x="643967" y="234469"/>
                  <a:pt x="637614" y="240765"/>
                  <a:pt x="629786" y="240765"/>
                </a:cubicBezTo>
                <a:cubicBezTo>
                  <a:pt x="621959" y="240765"/>
                  <a:pt x="615606" y="234469"/>
                  <a:pt x="615606" y="226585"/>
                </a:cubicBezTo>
                <a:cubicBezTo>
                  <a:pt x="615606" y="218757"/>
                  <a:pt x="621959" y="212404"/>
                  <a:pt x="629786" y="212404"/>
                </a:cubicBezTo>
                <a:close/>
                <a:moveTo>
                  <a:pt x="573121" y="212404"/>
                </a:moveTo>
                <a:cubicBezTo>
                  <a:pt x="580949" y="212404"/>
                  <a:pt x="587301" y="218757"/>
                  <a:pt x="587301" y="226585"/>
                </a:cubicBezTo>
                <a:cubicBezTo>
                  <a:pt x="587301" y="234469"/>
                  <a:pt x="580949" y="240765"/>
                  <a:pt x="573121" y="240765"/>
                </a:cubicBezTo>
                <a:cubicBezTo>
                  <a:pt x="565293" y="240765"/>
                  <a:pt x="558940" y="234469"/>
                  <a:pt x="558940" y="226585"/>
                </a:cubicBezTo>
                <a:cubicBezTo>
                  <a:pt x="558940" y="218757"/>
                  <a:pt x="565293" y="212404"/>
                  <a:pt x="573121" y="212404"/>
                </a:cubicBezTo>
                <a:close/>
                <a:moveTo>
                  <a:pt x="516455" y="212404"/>
                </a:moveTo>
                <a:cubicBezTo>
                  <a:pt x="524283" y="212404"/>
                  <a:pt x="530636" y="218757"/>
                  <a:pt x="530636" y="226585"/>
                </a:cubicBezTo>
                <a:cubicBezTo>
                  <a:pt x="530636" y="234469"/>
                  <a:pt x="524283" y="240765"/>
                  <a:pt x="516455" y="240765"/>
                </a:cubicBezTo>
                <a:cubicBezTo>
                  <a:pt x="508628" y="240765"/>
                  <a:pt x="502275" y="234469"/>
                  <a:pt x="502275" y="226585"/>
                </a:cubicBezTo>
                <a:cubicBezTo>
                  <a:pt x="502275" y="218757"/>
                  <a:pt x="508628" y="212404"/>
                  <a:pt x="516455" y="212404"/>
                </a:cubicBezTo>
                <a:close/>
                <a:moveTo>
                  <a:pt x="459790" y="212404"/>
                </a:moveTo>
                <a:cubicBezTo>
                  <a:pt x="467618" y="212404"/>
                  <a:pt x="473971" y="218757"/>
                  <a:pt x="473971" y="226585"/>
                </a:cubicBezTo>
                <a:cubicBezTo>
                  <a:pt x="473971" y="234469"/>
                  <a:pt x="467618" y="240765"/>
                  <a:pt x="459790" y="240765"/>
                </a:cubicBezTo>
                <a:cubicBezTo>
                  <a:pt x="451962" y="240765"/>
                  <a:pt x="445610" y="234469"/>
                  <a:pt x="445610" y="226585"/>
                </a:cubicBezTo>
                <a:cubicBezTo>
                  <a:pt x="445610" y="218757"/>
                  <a:pt x="451962" y="212404"/>
                  <a:pt x="459790" y="212404"/>
                </a:cubicBezTo>
                <a:close/>
                <a:moveTo>
                  <a:pt x="403125" y="212404"/>
                </a:moveTo>
                <a:cubicBezTo>
                  <a:pt x="410952" y="212404"/>
                  <a:pt x="417305" y="218757"/>
                  <a:pt x="417305" y="226585"/>
                </a:cubicBezTo>
                <a:cubicBezTo>
                  <a:pt x="417305" y="234469"/>
                  <a:pt x="410952" y="240765"/>
                  <a:pt x="403125" y="240765"/>
                </a:cubicBezTo>
                <a:cubicBezTo>
                  <a:pt x="395297" y="240765"/>
                  <a:pt x="388944" y="234469"/>
                  <a:pt x="388944" y="226585"/>
                </a:cubicBezTo>
                <a:cubicBezTo>
                  <a:pt x="388944" y="218757"/>
                  <a:pt x="395297" y="212404"/>
                  <a:pt x="403125" y="212404"/>
                </a:cubicBezTo>
                <a:close/>
                <a:moveTo>
                  <a:pt x="346516" y="212404"/>
                </a:moveTo>
                <a:cubicBezTo>
                  <a:pt x="354344" y="212404"/>
                  <a:pt x="360640" y="218757"/>
                  <a:pt x="360640" y="226585"/>
                </a:cubicBezTo>
                <a:cubicBezTo>
                  <a:pt x="360640" y="234469"/>
                  <a:pt x="354344" y="240765"/>
                  <a:pt x="346516" y="240765"/>
                </a:cubicBezTo>
                <a:cubicBezTo>
                  <a:pt x="338631" y="240765"/>
                  <a:pt x="332279" y="234469"/>
                  <a:pt x="332279" y="226585"/>
                </a:cubicBezTo>
                <a:cubicBezTo>
                  <a:pt x="332279" y="218757"/>
                  <a:pt x="338631" y="212404"/>
                  <a:pt x="346516" y="212404"/>
                </a:cubicBezTo>
                <a:close/>
                <a:moveTo>
                  <a:pt x="289851" y="212404"/>
                </a:moveTo>
                <a:cubicBezTo>
                  <a:pt x="297678" y="212404"/>
                  <a:pt x="304031" y="218757"/>
                  <a:pt x="304031" y="226585"/>
                </a:cubicBezTo>
                <a:cubicBezTo>
                  <a:pt x="304031" y="234469"/>
                  <a:pt x="297678" y="240765"/>
                  <a:pt x="289851" y="240765"/>
                </a:cubicBezTo>
                <a:cubicBezTo>
                  <a:pt x="281966" y="240765"/>
                  <a:pt x="275613" y="234469"/>
                  <a:pt x="275613" y="226585"/>
                </a:cubicBezTo>
                <a:cubicBezTo>
                  <a:pt x="275613" y="218757"/>
                  <a:pt x="281966" y="212404"/>
                  <a:pt x="289851" y="212404"/>
                </a:cubicBezTo>
                <a:close/>
                <a:moveTo>
                  <a:pt x="233185" y="212404"/>
                </a:moveTo>
                <a:cubicBezTo>
                  <a:pt x="241013" y="212404"/>
                  <a:pt x="247365" y="218757"/>
                  <a:pt x="247365" y="226585"/>
                </a:cubicBezTo>
                <a:cubicBezTo>
                  <a:pt x="247365" y="234469"/>
                  <a:pt x="241013" y="240765"/>
                  <a:pt x="233185" y="240765"/>
                </a:cubicBezTo>
                <a:cubicBezTo>
                  <a:pt x="225357" y="240765"/>
                  <a:pt x="219004" y="234469"/>
                  <a:pt x="219004" y="226585"/>
                </a:cubicBezTo>
                <a:cubicBezTo>
                  <a:pt x="219004" y="218757"/>
                  <a:pt x="225357" y="212404"/>
                  <a:pt x="233185" y="212404"/>
                </a:cubicBezTo>
                <a:close/>
                <a:moveTo>
                  <a:pt x="176520" y="212404"/>
                </a:moveTo>
                <a:cubicBezTo>
                  <a:pt x="184347" y="212404"/>
                  <a:pt x="190700" y="218757"/>
                  <a:pt x="190700" y="226585"/>
                </a:cubicBezTo>
                <a:cubicBezTo>
                  <a:pt x="190700" y="234469"/>
                  <a:pt x="184347" y="240765"/>
                  <a:pt x="176520" y="240765"/>
                </a:cubicBezTo>
                <a:cubicBezTo>
                  <a:pt x="168692" y="240765"/>
                  <a:pt x="162339" y="234469"/>
                  <a:pt x="162339" y="226585"/>
                </a:cubicBezTo>
                <a:cubicBezTo>
                  <a:pt x="162339" y="218757"/>
                  <a:pt x="168692" y="212404"/>
                  <a:pt x="176520" y="212404"/>
                </a:cubicBezTo>
                <a:close/>
                <a:moveTo>
                  <a:pt x="3801747" y="159312"/>
                </a:moveTo>
                <a:cubicBezTo>
                  <a:pt x="3809631" y="159312"/>
                  <a:pt x="3815927" y="165664"/>
                  <a:pt x="3815927" y="173492"/>
                </a:cubicBezTo>
                <a:cubicBezTo>
                  <a:pt x="3815927" y="181320"/>
                  <a:pt x="3809631" y="187673"/>
                  <a:pt x="3801747" y="187673"/>
                </a:cubicBezTo>
                <a:cubicBezTo>
                  <a:pt x="3793919" y="187673"/>
                  <a:pt x="3787566" y="181320"/>
                  <a:pt x="3787566" y="173492"/>
                </a:cubicBezTo>
                <a:cubicBezTo>
                  <a:pt x="3787566" y="165664"/>
                  <a:pt x="3793919" y="159312"/>
                  <a:pt x="3801747" y="159312"/>
                </a:cubicBezTo>
                <a:close/>
                <a:moveTo>
                  <a:pt x="3801747" y="106220"/>
                </a:moveTo>
                <a:cubicBezTo>
                  <a:pt x="3809631" y="106220"/>
                  <a:pt x="3815927" y="112573"/>
                  <a:pt x="3815927" y="120400"/>
                </a:cubicBezTo>
                <a:cubicBezTo>
                  <a:pt x="3815927" y="128228"/>
                  <a:pt x="3809631" y="134581"/>
                  <a:pt x="3801747" y="134581"/>
                </a:cubicBezTo>
                <a:cubicBezTo>
                  <a:pt x="3793919" y="134581"/>
                  <a:pt x="3787566" y="128228"/>
                  <a:pt x="3787566" y="120400"/>
                </a:cubicBezTo>
                <a:cubicBezTo>
                  <a:pt x="3787566" y="112573"/>
                  <a:pt x="3793919" y="106220"/>
                  <a:pt x="3801747" y="106220"/>
                </a:cubicBezTo>
                <a:close/>
                <a:moveTo>
                  <a:pt x="3801747" y="53071"/>
                </a:moveTo>
                <a:cubicBezTo>
                  <a:pt x="3809631" y="53071"/>
                  <a:pt x="3815927" y="59424"/>
                  <a:pt x="3815927" y="67252"/>
                </a:cubicBezTo>
                <a:cubicBezTo>
                  <a:pt x="3815927" y="75079"/>
                  <a:pt x="3809631" y="81432"/>
                  <a:pt x="3801747" y="81432"/>
                </a:cubicBezTo>
                <a:cubicBezTo>
                  <a:pt x="3793919" y="81432"/>
                  <a:pt x="3787566" y="75079"/>
                  <a:pt x="3787566" y="67252"/>
                </a:cubicBezTo>
                <a:cubicBezTo>
                  <a:pt x="3787566" y="59424"/>
                  <a:pt x="3793919" y="53071"/>
                  <a:pt x="3801747" y="53071"/>
                </a:cubicBezTo>
                <a:close/>
                <a:moveTo>
                  <a:pt x="3798967" y="263"/>
                </a:moveTo>
                <a:cubicBezTo>
                  <a:pt x="3803618" y="-644"/>
                  <a:pt x="3808496" y="831"/>
                  <a:pt x="3811786" y="4121"/>
                </a:cubicBezTo>
                <a:cubicBezTo>
                  <a:pt x="3814452" y="6786"/>
                  <a:pt x="3815927" y="10417"/>
                  <a:pt x="3815927" y="14160"/>
                </a:cubicBezTo>
                <a:cubicBezTo>
                  <a:pt x="3815927" y="17904"/>
                  <a:pt x="3814452" y="21534"/>
                  <a:pt x="3811786" y="24200"/>
                </a:cubicBezTo>
                <a:cubicBezTo>
                  <a:pt x="3809177" y="26809"/>
                  <a:pt x="3805490" y="28341"/>
                  <a:pt x="3801747" y="28341"/>
                </a:cubicBezTo>
                <a:cubicBezTo>
                  <a:pt x="3800839" y="28341"/>
                  <a:pt x="3799931" y="28227"/>
                  <a:pt x="3798967" y="28057"/>
                </a:cubicBezTo>
                <a:cubicBezTo>
                  <a:pt x="3798116" y="27887"/>
                  <a:pt x="3797209" y="27603"/>
                  <a:pt x="3796358" y="27263"/>
                </a:cubicBezTo>
                <a:cubicBezTo>
                  <a:pt x="3795507" y="26923"/>
                  <a:pt x="3794656" y="26469"/>
                  <a:pt x="3793919" y="25958"/>
                </a:cubicBezTo>
                <a:cubicBezTo>
                  <a:pt x="3793125" y="25448"/>
                  <a:pt x="3792387" y="24824"/>
                  <a:pt x="3791763" y="24200"/>
                </a:cubicBezTo>
                <a:cubicBezTo>
                  <a:pt x="3789098" y="21534"/>
                  <a:pt x="3787566" y="17904"/>
                  <a:pt x="3787566" y="14160"/>
                </a:cubicBezTo>
                <a:cubicBezTo>
                  <a:pt x="3787566" y="10417"/>
                  <a:pt x="3789098" y="6786"/>
                  <a:pt x="3791763" y="4121"/>
                </a:cubicBezTo>
                <a:cubicBezTo>
                  <a:pt x="3792387" y="3496"/>
                  <a:pt x="3793125" y="2872"/>
                  <a:pt x="3793919" y="2362"/>
                </a:cubicBezTo>
                <a:cubicBezTo>
                  <a:pt x="3794656" y="1851"/>
                  <a:pt x="3795507" y="1398"/>
                  <a:pt x="3796358" y="1057"/>
                </a:cubicBezTo>
                <a:cubicBezTo>
                  <a:pt x="3797209" y="717"/>
                  <a:pt x="3798116" y="433"/>
                  <a:pt x="3798967" y="263"/>
                </a:cubicBezTo>
                <a:close/>
              </a:path>
            </a:pathLst>
          </a:custGeom>
          <a:solidFill>
            <a:schemeClr val="accent4"/>
          </a:solidFill>
          <a:ln w="0" cap="flat">
            <a:noFill/>
            <a:prstDash val="solid"/>
            <a:miter/>
          </a:ln>
        </p:spPr>
        <p:txBody>
          <a:bodyPr rtlCol="0" anchor="ctr"/>
          <a:lstStyle/>
          <a:p>
            <a:endParaRPr lang="sv-SE"/>
          </a:p>
        </p:txBody>
      </p:sp>
      <p:sp>
        <p:nvSpPr>
          <p:cNvPr id="14" name="Freeform 13">
            <a:extLst>
              <a:ext uri="{FF2B5EF4-FFF2-40B4-BE49-F238E27FC236}">
                <a16:creationId xmlns:a16="http://schemas.microsoft.com/office/drawing/2014/main" id="{AC7E57AB-CAE8-2A60-BE37-F6E9E51E9C65}"/>
              </a:ext>
            </a:extLst>
          </p:cNvPr>
          <p:cNvSpPr/>
          <p:nvPr/>
        </p:nvSpPr>
        <p:spPr>
          <a:xfrm>
            <a:off x="5396478" y="2486686"/>
            <a:ext cx="755879" cy="730695"/>
          </a:xfrm>
          <a:custGeom>
            <a:avLst/>
            <a:gdLst>
              <a:gd name="connsiteX0" fmla="*/ 738919 w 755879"/>
              <a:gd name="connsiteY0" fmla="*/ 702618 h 730695"/>
              <a:gd name="connsiteX1" fmla="*/ 751738 w 755879"/>
              <a:gd name="connsiteY1" fmla="*/ 706475 h 730695"/>
              <a:gd name="connsiteX2" fmla="*/ 753497 w 755879"/>
              <a:gd name="connsiteY2" fmla="*/ 708631 h 730695"/>
              <a:gd name="connsiteX3" fmla="*/ 754801 w 755879"/>
              <a:gd name="connsiteY3" fmla="*/ 711070 h 730695"/>
              <a:gd name="connsiteX4" fmla="*/ 755596 w 755879"/>
              <a:gd name="connsiteY4" fmla="*/ 713736 h 730695"/>
              <a:gd name="connsiteX5" fmla="*/ 755879 w 755879"/>
              <a:gd name="connsiteY5" fmla="*/ 716515 h 730695"/>
              <a:gd name="connsiteX6" fmla="*/ 751738 w 755879"/>
              <a:gd name="connsiteY6" fmla="*/ 726498 h 730695"/>
              <a:gd name="connsiteX7" fmla="*/ 741699 w 755879"/>
              <a:gd name="connsiteY7" fmla="*/ 730695 h 730695"/>
              <a:gd name="connsiteX8" fmla="*/ 731659 w 755879"/>
              <a:gd name="connsiteY8" fmla="*/ 726498 h 730695"/>
              <a:gd name="connsiteX9" fmla="*/ 727518 w 755879"/>
              <a:gd name="connsiteY9" fmla="*/ 716515 h 730695"/>
              <a:gd name="connsiteX10" fmla="*/ 727802 w 755879"/>
              <a:gd name="connsiteY10" fmla="*/ 713736 h 730695"/>
              <a:gd name="connsiteX11" fmla="*/ 728596 w 755879"/>
              <a:gd name="connsiteY11" fmla="*/ 711070 h 730695"/>
              <a:gd name="connsiteX12" fmla="*/ 729900 w 755879"/>
              <a:gd name="connsiteY12" fmla="*/ 708631 h 730695"/>
              <a:gd name="connsiteX13" fmla="*/ 731659 w 755879"/>
              <a:gd name="connsiteY13" fmla="*/ 706475 h 730695"/>
              <a:gd name="connsiteX14" fmla="*/ 733814 w 755879"/>
              <a:gd name="connsiteY14" fmla="*/ 704717 h 730695"/>
              <a:gd name="connsiteX15" fmla="*/ 736253 w 755879"/>
              <a:gd name="connsiteY15" fmla="*/ 703412 h 730695"/>
              <a:gd name="connsiteX16" fmla="*/ 738919 w 755879"/>
              <a:gd name="connsiteY16" fmla="*/ 702618 h 730695"/>
              <a:gd name="connsiteX17" fmla="*/ 741699 w 755879"/>
              <a:gd name="connsiteY17" fmla="*/ 633077 h 730695"/>
              <a:gd name="connsiteX18" fmla="*/ 755879 w 755879"/>
              <a:gd name="connsiteY18" fmla="*/ 647314 h 730695"/>
              <a:gd name="connsiteX19" fmla="*/ 741699 w 755879"/>
              <a:gd name="connsiteY19" fmla="*/ 661494 h 730695"/>
              <a:gd name="connsiteX20" fmla="*/ 727518 w 755879"/>
              <a:gd name="connsiteY20" fmla="*/ 647314 h 730695"/>
              <a:gd name="connsiteX21" fmla="*/ 741699 w 755879"/>
              <a:gd name="connsiteY21" fmla="*/ 633077 h 730695"/>
              <a:gd name="connsiteX22" fmla="*/ 741699 w 755879"/>
              <a:gd name="connsiteY22" fmla="*/ 563875 h 730695"/>
              <a:gd name="connsiteX23" fmla="*/ 755879 w 755879"/>
              <a:gd name="connsiteY23" fmla="*/ 578056 h 730695"/>
              <a:gd name="connsiteX24" fmla="*/ 741699 w 755879"/>
              <a:gd name="connsiteY24" fmla="*/ 592237 h 730695"/>
              <a:gd name="connsiteX25" fmla="*/ 727518 w 755879"/>
              <a:gd name="connsiteY25" fmla="*/ 578056 h 730695"/>
              <a:gd name="connsiteX26" fmla="*/ 741699 w 755879"/>
              <a:gd name="connsiteY26" fmla="*/ 563875 h 730695"/>
              <a:gd name="connsiteX27" fmla="*/ 741699 w 755879"/>
              <a:gd name="connsiteY27" fmla="*/ 494675 h 730695"/>
              <a:gd name="connsiteX28" fmla="*/ 755879 w 755879"/>
              <a:gd name="connsiteY28" fmla="*/ 508855 h 730695"/>
              <a:gd name="connsiteX29" fmla="*/ 741699 w 755879"/>
              <a:gd name="connsiteY29" fmla="*/ 523036 h 730695"/>
              <a:gd name="connsiteX30" fmla="*/ 727518 w 755879"/>
              <a:gd name="connsiteY30" fmla="*/ 508855 h 730695"/>
              <a:gd name="connsiteX31" fmla="*/ 741699 w 755879"/>
              <a:gd name="connsiteY31" fmla="*/ 494675 h 730695"/>
              <a:gd name="connsiteX32" fmla="*/ 741699 w 755879"/>
              <a:gd name="connsiteY32" fmla="*/ 425473 h 730695"/>
              <a:gd name="connsiteX33" fmla="*/ 755879 w 755879"/>
              <a:gd name="connsiteY33" fmla="*/ 439654 h 730695"/>
              <a:gd name="connsiteX34" fmla="*/ 741699 w 755879"/>
              <a:gd name="connsiteY34" fmla="*/ 453835 h 730695"/>
              <a:gd name="connsiteX35" fmla="*/ 727518 w 755879"/>
              <a:gd name="connsiteY35" fmla="*/ 439654 h 730695"/>
              <a:gd name="connsiteX36" fmla="*/ 741699 w 755879"/>
              <a:gd name="connsiteY36" fmla="*/ 425473 h 730695"/>
              <a:gd name="connsiteX37" fmla="*/ 741699 w 755879"/>
              <a:gd name="connsiteY37" fmla="*/ 356272 h 730695"/>
              <a:gd name="connsiteX38" fmla="*/ 755879 w 755879"/>
              <a:gd name="connsiteY38" fmla="*/ 370453 h 730695"/>
              <a:gd name="connsiteX39" fmla="*/ 741699 w 755879"/>
              <a:gd name="connsiteY39" fmla="*/ 384634 h 730695"/>
              <a:gd name="connsiteX40" fmla="*/ 727518 w 755879"/>
              <a:gd name="connsiteY40" fmla="*/ 370453 h 730695"/>
              <a:gd name="connsiteX41" fmla="*/ 741699 w 755879"/>
              <a:gd name="connsiteY41" fmla="*/ 356272 h 730695"/>
              <a:gd name="connsiteX42" fmla="*/ 741699 w 755879"/>
              <a:gd name="connsiteY42" fmla="*/ 287071 h 730695"/>
              <a:gd name="connsiteX43" fmla="*/ 755879 w 755879"/>
              <a:gd name="connsiteY43" fmla="*/ 301252 h 730695"/>
              <a:gd name="connsiteX44" fmla="*/ 741699 w 755879"/>
              <a:gd name="connsiteY44" fmla="*/ 315376 h 730695"/>
              <a:gd name="connsiteX45" fmla="*/ 727518 w 755879"/>
              <a:gd name="connsiteY45" fmla="*/ 301252 h 730695"/>
              <a:gd name="connsiteX46" fmla="*/ 741699 w 755879"/>
              <a:gd name="connsiteY46" fmla="*/ 287071 h 730695"/>
              <a:gd name="connsiteX47" fmla="*/ 741699 w 755879"/>
              <a:gd name="connsiteY47" fmla="*/ 217814 h 730695"/>
              <a:gd name="connsiteX48" fmla="*/ 755879 w 755879"/>
              <a:gd name="connsiteY48" fmla="*/ 231994 h 730695"/>
              <a:gd name="connsiteX49" fmla="*/ 741699 w 755879"/>
              <a:gd name="connsiteY49" fmla="*/ 246175 h 730695"/>
              <a:gd name="connsiteX50" fmla="*/ 727518 w 755879"/>
              <a:gd name="connsiteY50" fmla="*/ 231994 h 730695"/>
              <a:gd name="connsiteX51" fmla="*/ 741699 w 755879"/>
              <a:gd name="connsiteY51" fmla="*/ 217814 h 730695"/>
              <a:gd name="connsiteX52" fmla="*/ 741699 w 755879"/>
              <a:gd name="connsiteY52" fmla="*/ 148612 h 730695"/>
              <a:gd name="connsiteX53" fmla="*/ 755879 w 755879"/>
              <a:gd name="connsiteY53" fmla="*/ 162793 h 730695"/>
              <a:gd name="connsiteX54" fmla="*/ 741699 w 755879"/>
              <a:gd name="connsiteY54" fmla="*/ 176974 h 730695"/>
              <a:gd name="connsiteX55" fmla="*/ 727518 w 755879"/>
              <a:gd name="connsiteY55" fmla="*/ 162793 h 730695"/>
              <a:gd name="connsiteX56" fmla="*/ 741699 w 755879"/>
              <a:gd name="connsiteY56" fmla="*/ 148612 h 730695"/>
              <a:gd name="connsiteX57" fmla="*/ 697030 w 755879"/>
              <a:gd name="connsiteY57" fmla="*/ 97917 h 730695"/>
              <a:gd name="connsiteX58" fmla="*/ 707042 w 755879"/>
              <a:gd name="connsiteY58" fmla="*/ 102044 h 730695"/>
              <a:gd name="connsiteX59" fmla="*/ 707042 w 755879"/>
              <a:gd name="connsiteY59" fmla="*/ 122123 h 730695"/>
              <a:gd name="connsiteX60" fmla="*/ 697059 w 755879"/>
              <a:gd name="connsiteY60" fmla="*/ 126264 h 730695"/>
              <a:gd name="connsiteX61" fmla="*/ 687019 w 755879"/>
              <a:gd name="connsiteY61" fmla="*/ 122123 h 730695"/>
              <a:gd name="connsiteX62" fmla="*/ 687019 w 755879"/>
              <a:gd name="connsiteY62" fmla="*/ 102044 h 730695"/>
              <a:gd name="connsiteX63" fmla="*/ 697030 w 755879"/>
              <a:gd name="connsiteY63" fmla="*/ 97917 h 730695"/>
              <a:gd name="connsiteX64" fmla="*/ 648107 w 755879"/>
              <a:gd name="connsiteY64" fmla="*/ 48980 h 730695"/>
              <a:gd name="connsiteX65" fmla="*/ 658147 w 755879"/>
              <a:gd name="connsiteY65" fmla="*/ 53149 h 730695"/>
              <a:gd name="connsiteX66" fmla="*/ 658147 w 755879"/>
              <a:gd name="connsiteY66" fmla="*/ 73172 h 730695"/>
              <a:gd name="connsiteX67" fmla="*/ 648107 w 755879"/>
              <a:gd name="connsiteY67" fmla="*/ 77313 h 730695"/>
              <a:gd name="connsiteX68" fmla="*/ 638067 w 755879"/>
              <a:gd name="connsiteY68" fmla="*/ 73172 h 730695"/>
              <a:gd name="connsiteX69" fmla="*/ 638067 w 755879"/>
              <a:gd name="connsiteY69" fmla="*/ 53149 h 730695"/>
              <a:gd name="connsiteX70" fmla="*/ 648107 w 755879"/>
              <a:gd name="connsiteY70" fmla="*/ 48980 h 730695"/>
              <a:gd name="connsiteX71" fmla="*/ 16960 w 755879"/>
              <a:gd name="connsiteY71" fmla="*/ 341 h 730695"/>
              <a:gd name="connsiteX72" fmla="*/ 19626 w 755879"/>
              <a:gd name="connsiteY72" fmla="*/ 1135 h 730695"/>
              <a:gd name="connsiteX73" fmla="*/ 22065 w 755879"/>
              <a:gd name="connsiteY73" fmla="*/ 2440 h 730695"/>
              <a:gd name="connsiteX74" fmla="*/ 24220 w 755879"/>
              <a:gd name="connsiteY74" fmla="*/ 4198 h 730695"/>
              <a:gd name="connsiteX75" fmla="*/ 28361 w 755879"/>
              <a:gd name="connsiteY75" fmla="*/ 14181 h 730695"/>
              <a:gd name="connsiteX76" fmla="*/ 28078 w 755879"/>
              <a:gd name="connsiteY76" fmla="*/ 16961 h 730695"/>
              <a:gd name="connsiteX77" fmla="*/ 27283 w 755879"/>
              <a:gd name="connsiteY77" fmla="*/ 19627 h 730695"/>
              <a:gd name="connsiteX78" fmla="*/ 25979 w 755879"/>
              <a:gd name="connsiteY78" fmla="*/ 22066 h 730695"/>
              <a:gd name="connsiteX79" fmla="*/ 24220 w 755879"/>
              <a:gd name="connsiteY79" fmla="*/ 24221 h 730695"/>
              <a:gd name="connsiteX80" fmla="*/ 22065 w 755879"/>
              <a:gd name="connsiteY80" fmla="*/ 25979 h 730695"/>
              <a:gd name="connsiteX81" fmla="*/ 19626 w 755879"/>
              <a:gd name="connsiteY81" fmla="*/ 27284 h 730695"/>
              <a:gd name="connsiteX82" fmla="*/ 16960 w 755879"/>
              <a:gd name="connsiteY82" fmla="*/ 28135 h 730695"/>
              <a:gd name="connsiteX83" fmla="*/ 14181 w 755879"/>
              <a:gd name="connsiteY83" fmla="*/ 28418 h 730695"/>
              <a:gd name="connsiteX84" fmla="*/ 4141 w 755879"/>
              <a:gd name="connsiteY84" fmla="*/ 24221 h 730695"/>
              <a:gd name="connsiteX85" fmla="*/ 2382 w 755879"/>
              <a:gd name="connsiteY85" fmla="*/ 22066 h 730695"/>
              <a:gd name="connsiteX86" fmla="*/ 1078 w 755879"/>
              <a:gd name="connsiteY86" fmla="*/ 19627 h 730695"/>
              <a:gd name="connsiteX87" fmla="*/ 284 w 755879"/>
              <a:gd name="connsiteY87" fmla="*/ 16961 h 730695"/>
              <a:gd name="connsiteX88" fmla="*/ 0 w 755879"/>
              <a:gd name="connsiteY88" fmla="*/ 14181 h 730695"/>
              <a:gd name="connsiteX89" fmla="*/ 4141 w 755879"/>
              <a:gd name="connsiteY89" fmla="*/ 4198 h 730695"/>
              <a:gd name="connsiteX90" fmla="*/ 16960 w 755879"/>
              <a:gd name="connsiteY90" fmla="*/ 341 h 730695"/>
              <a:gd name="connsiteX91" fmla="*/ 601936 w 755879"/>
              <a:gd name="connsiteY91" fmla="*/ 284 h 730695"/>
              <a:gd name="connsiteX92" fmla="*/ 604602 w 755879"/>
              <a:gd name="connsiteY92" fmla="*/ 1135 h 730695"/>
              <a:gd name="connsiteX93" fmla="*/ 607041 w 755879"/>
              <a:gd name="connsiteY93" fmla="*/ 2439 h 730695"/>
              <a:gd name="connsiteX94" fmla="*/ 609196 w 755879"/>
              <a:gd name="connsiteY94" fmla="*/ 4198 h 730695"/>
              <a:gd name="connsiteX95" fmla="*/ 610955 w 755879"/>
              <a:gd name="connsiteY95" fmla="*/ 6353 h 730695"/>
              <a:gd name="connsiteX96" fmla="*/ 612259 w 755879"/>
              <a:gd name="connsiteY96" fmla="*/ 8792 h 730695"/>
              <a:gd name="connsiteX97" fmla="*/ 613054 w 755879"/>
              <a:gd name="connsiteY97" fmla="*/ 11458 h 730695"/>
              <a:gd name="connsiteX98" fmla="*/ 613337 w 755879"/>
              <a:gd name="connsiteY98" fmla="*/ 14237 h 730695"/>
              <a:gd name="connsiteX99" fmla="*/ 609196 w 755879"/>
              <a:gd name="connsiteY99" fmla="*/ 24221 h 730695"/>
              <a:gd name="connsiteX100" fmla="*/ 607041 w 755879"/>
              <a:gd name="connsiteY100" fmla="*/ 25979 h 730695"/>
              <a:gd name="connsiteX101" fmla="*/ 604602 w 755879"/>
              <a:gd name="connsiteY101" fmla="*/ 27284 h 730695"/>
              <a:gd name="connsiteX102" fmla="*/ 601936 w 755879"/>
              <a:gd name="connsiteY102" fmla="*/ 28134 h 730695"/>
              <a:gd name="connsiteX103" fmla="*/ 599157 w 755879"/>
              <a:gd name="connsiteY103" fmla="*/ 28418 h 730695"/>
              <a:gd name="connsiteX104" fmla="*/ 589117 w 755879"/>
              <a:gd name="connsiteY104" fmla="*/ 24221 h 730695"/>
              <a:gd name="connsiteX105" fmla="*/ 587358 w 755879"/>
              <a:gd name="connsiteY105" fmla="*/ 22065 h 730695"/>
              <a:gd name="connsiteX106" fmla="*/ 586054 w 755879"/>
              <a:gd name="connsiteY106" fmla="*/ 19626 h 730695"/>
              <a:gd name="connsiteX107" fmla="*/ 585260 w 755879"/>
              <a:gd name="connsiteY107" fmla="*/ 16960 h 730695"/>
              <a:gd name="connsiteX108" fmla="*/ 584976 w 755879"/>
              <a:gd name="connsiteY108" fmla="*/ 14237 h 730695"/>
              <a:gd name="connsiteX109" fmla="*/ 585260 w 755879"/>
              <a:gd name="connsiteY109" fmla="*/ 11458 h 730695"/>
              <a:gd name="connsiteX110" fmla="*/ 586054 w 755879"/>
              <a:gd name="connsiteY110" fmla="*/ 8792 h 730695"/>
              <a:gd name="connsiteX111" fmla="*/ 587358 w 755879"/>
              <a:gd name="connsiteY111" fmla="*/ 6353 h 730695"/>
              <a:gd name="connsiteX112" fmla="*/ 589117 w 755879"/>
              <a:gd name="connsiteY112" fmla="*/ 4198 h 730695"/>
              <a:gd name="connsiteX113" fmla="*/ 601936 w 755879"/>
              <a:gd name="connsiteY113" fmla="*/ 284 h 730695"/>
              <a:gd name="connsiteX114" fmla="*/ 534152 w 755879"/>
              <a:gd name="connsiteY114" fmla="*/ 0 h 730695"/>
              <a:gd name="connsiteX115" fmla="*/ 548332 w 755879"/>
              <a:gd name="connsiteY115" fmla="*/ 14237 h 730695"/>
              <a:gd name="connsiteX116" fmla="*/ 534152 w 755879"/>
              <a:gd name="connsiteY116" fmla="*/ 28418 h 730695"/>
              <a:gd name="connsiteX117" fmla="*/ 519971 w 755879"/>
              <a:gd name="connsiteY117" fmla="*/ 14237 h 730695"/>
              <a:gd name="connsiteX118" fmla="*/ 534152 w 755879"/>
              <a:gd name="connsiteY118" fmla="*/ 0 h 730695"/>
              <a:gd name="connsiteX119" fmla="*/ 469148 w 755879"/>
              <a:gd name="connsiteY119" fmla="*/ 0 h 730695"/>
              <a:gd name="connsiteX120" fmla="*/ 483329 w 755879"/>
              <a:gd name="connsiteY120" fmla="*/ 14237 h 730695"/>
              <a:gd name="connsiteX121" fmla="*/ 469148 w 755879"/>
              <a:gd name="connsiteY121" fmla="*/ 28418 h 730695"/>
              <a:gd name="connsiteX122" fmla="*/ 454968 w 755879"/>
              <a:gd name="connsiteY122" fmla="*/ 14237 h 730695"/>
              <a:gd name="connsiteX123" fmla="*/ 469148 w 755879"/>
              <a:gd name="connsiteY123" fmla="*/ 0 h 730695"/>
              <a:gd name="connsiteX124" fmla="*/ 404145 w 755879"/>
              <a:gd name="connsiteY124" fmla="*/ 0 h 730695"/>
              <a:gd name="connsiteX125" fmla="*/ 418382 w 755879"/>
              <a:gd name="connsiteY125" fmla="*/ 14237 h 730695"/>
              <a:gd name="connsiteX126" fmla="*/ 404145 w 755879"/>
              <a:gd name="connsiteY126" fmla="*/ 28418 h 730695"/>
              <a:gd name="connsiteX127" fmla="*/ 390021 w 755879"/>
              <a:gd name="connsiteY127" fmla="*/ 14237 h 730695"/>
              <a:gd name="connsiteX128" fmla="*/ 404145 w 755879"/>
              <a:gd name="connsiteY128" fmla="*/ 0 h 730695"/>
              <a:gd name="connsiteX129" fmla="*/ 339198 w 755879"/>
              <a:gd name="connsiteY129" fmla="*/ 0 h 730695"/>
              <a:gd name="connsiteX130" fmla="*/ 353378 w 755879"/>
              <a:gd name="connsiteY130" fmla="*/ 14237 h 730695"/>
              <a:gd name="connsiteX131" fmla="*/ 339198 w 755879"/>
              <a:gd name="connsiteY131" fmla="*/ 28418 h 730695"/>
              <a:gd name="connsiteX132" fmla="*/ 325017 w 755879"/>
              <a:gd name="connsiteY132" fmla="*/ 14237 h 730695"/>
              <a:gd name="connsiteX133" fmla="*/ 339198 w 755879"/>
              <a:gd name="connsiteY133" fmla="*/ 0 h 730695"/>
              <a:gd name="connsiteX134" fmla="*/ 274194 w 755879"/>
              <a:gd name="connsiteY134" fmla="*/ 0 h 730695"/>
              <a:gd name="connsiteX135" fmla="*/ 288375 w 755879"/>
              <a:gd name="connsiteY135" fmla="*/ 14237 h 730695"/>
              <a:gd name="connsiteX136" fmla="*/ 274194 w 755879"/>
              <a:gd name="connsiteY136" fmla="*/ 28418 h 730695"/>
              <a:gd name="connsiteX137" fmla="*/ 260014 w 755879"/>
              <a:gd name="connsiteY137" fmla="*/ 14237 h 730695"/>
              <a:gd name="connsiteX138" fmla="*/ 274194 w 755879"/>
              <a:gd name="connsiteY138" fmla="*/ 0 h 730695"/>
              <a:gd name="connsiteX139" fmla="*/ 209191 w 755879"/>
              <a:gd name="connsiteY139" fmla="*/ 0 h 730695"/>
              <a:gd name="connsiteX140" fmla="*/ 223371 w 755879"/>
              <a:gd name="connsiteY140" fmla="*/ 14237 h 730695"/>
              <a:gd name="connsiteX141" fmla="*/ 209191 w 755879"/>
              <a:gd name="connsiteY141" fmla="*/ 28418 h 730695"/>
              <a:gd name="connsiteX142" fmla="*/ 195010 w 755879"/>
              <a:gd name="connsiteY142" fmla="*/ 14237 h 730695"/>
              <a:gd name="connsiteX143" fmla="*/ 209191 w 755879"/>
              <a:gd name="connsiteY143" fmla="*/ 0 h 730695"/>
              <a:gd name="connsiteX144" fmla="*/ 144187 w 755879"/>
              <a:gd name="connsiteY144" fmla="*/ 0 h 730695"/>
              <a:gd name="connsiteX145" fmla="*/ 158367 w 755879"/>
              <a:gd name="connsiteY145" fmla="*/ 14237 h 730695"/>
              <a:gd name="connsiteX146" fmla="*/ 144187 w 755879"/>
              <a:gd name="connsiteY146" fmla="*/ 28418 h 730695"/>
              <a:gd name="connsiteX147" fmla="*/ 130006 w 755879"/>
              <a:gd name="connsiteY147" fmla="*/ 14237 h 730695"/>
              <a:gd name="connsiteX148" fmla="*/ 144187 w 755879"/>
              <a:gd name="connsiteY148" fmla="*/ 0 h 730695"/>
              <a:gd name="connsiteX149" fmla="*/ 79184 w 755879"/>
              <a:gd name="connsiteY149" fmla="*/ 0 h 730695"/>
              <a:gd name="connsiteX150" fmla="*/ 93364 w 755879"/>
              <a:gd name="connsiteY150" fmla="*/ 14237 h 730695"/>
              <a:gd name="connsiteX151" fmla="*/ 79184 w 755879"/>
              <a:gd name="connsiteY151" fmla="*/ 28418 h 730695"/>
              <a:gd name="connsiteX152" fmla="*/ 65003 w 755879"/>
              <a:gd name="connsiteY152" fmla="*/ 14237 h 730695"/>
              <a:gd name="connsiteX153" fmla="*/ 79184 w 755879"/>
              <a:gd name="connsiteY153" fmla="*/ 0 h 73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755879" h="730695">
                <a:moveTo>
                  <a:pt x="738919" y="702618"/>
                </a:moveTo>
                <a:cubicBezTo>
                  <a:pt x="743514" y="701654"/>
                  <a:pt x="748448" y="703185"/>
                  <a:pt x="751738" y="706475"/>
                </a:cubicBezTo>
                <a:cubicBezTo>
                  <a:pt x="752362" y="707099"/>
                  <a:pt x="752986" y="707836"/>
                  <a:pt x="753497" y="708631"/>
                </a:cubicBezTo>
                <a:cubicBezTo>
                  <a:pt x="754007" y="709368"/>
                  <a:pt x="754461" y="710219"/>
                  <a:pt x="754801" y="711070"/>
                </a:cubicBezTo>
                <a:cubicBezTo>
                  <a:pt x="755142" y="711920"/>
                  <a:pt x="755425" y="712828"/>
                  <a:pt x="755596" y="713736"/>
                </a:cubicBezTo>
                <a:cubicBezTo>
                  <a:pt x="755766" y="714643"/>
                  <a:pt x="755879" y="715551"/>
                  <a:pt x="755879" y="716515"/>
                </a:cubicBezTo>
                <a:cubicBezTo>
                  <a:pt x="755879" y="720259"/>
                  <a:pt x="754347" y="723889"/>
                  <a:pt x="751738" y="726498"/>
                </a:cubicBezTo>
                <a:cubicBezTo>
                  <a:pt x="749129" y="729107"/>
                  <a:pt x="745442" y="730695"/>
                  <a:pt x="741699" y="730695"/>
                </a:cubicBezTo>
                <a:cubicBezTo>
                  <a:pt x="737955" y="730695"/>
                  <a:pt x="734325" y="729164"/>
                  <a:pt x="731659" y="726498"/>
                </a:cubicBezTo>
                <a:cubicBezTo>
                  <a:pt x="729049" y="723889"/>
                  <a:pt x="727518" y="720259"/>
                  <a:pt x="727518" y="716515"/>
                </a:cubicBezTo>
                <a:cubicBezTo>
                  <a:pt x="727518" y="715551"/>
                  <a:pt x="727631" y="714643"/>
                  <a:pt x="727802" y="713736"/>
                </a:cubicBezTo>
                <a:cubicBezTo>
                  <a:pt x="727972" y="712828"/>
                  <a:pt x="728255" y="711920"/>
                  <a:pt x="728596" y="711070"/>
                </a:cubicBezTo>
                <a:cubicBezTo>
                  <a:pt x="728936" y="710219"/>
                  <a:pt x="729390" y="709368"/>
                  <a:pt x="729900" y="708631"/>
                </a:cubicBezTo>
                <a:cubicBezTo>
                  <a:pt x="730411" y="707836"/>
                  <a:pt x="731035" y="707099"/>
                  <a:pt x="731659" y="706475"/>
                </a:cubicBezTo>
                <a:cubicBezTo>
                  <a:pt x="732339" y="705794"/>
                  <a:pt x="733077" y="705227"/>
                  <a:pt x="733814" y="704717"/>
                </a:cubicBezTo>
                <a:cubicBezTo>
                  <a:pt x="734608" y="704206"/>
                  <a:pt x="735402" y="703752"/>
                  <a:pt x="736253" y="703412"/>
                </a:cubicBezTo>
                <a:cubicBezTo>
                  <a:pt x="737104" y="703072"/>
                  <a:pt x="738011" y="702788"/>
                  <a:pt x="738919" y="702618"/>
                </a:cubicBezTo>
                <a:close/>
                <a:moveTo>
                  <a:pt x="741699" y="633077"/>
                </a:moveTo>
                <a:cubicBezTo>
                  <a:pt x="749527" y="633077"/>
                  <a:pt x="755879" y="639429"/>
                  <a:pt x="755879" y="647314"/>
                </a:cubicBezTo>
                <a:cubicBezTo>
                  <a:pt x="755879" y="655141"/>
                  <a:pt x="749527" y="661494"/>
                  <a:pt x="741699" y="661494"/>
                </a:cubicBezTo>
                <a:cubicBezTo>
                  <a:pt x="733871" y="661494"/>
                  <a:pt x="727518" y="655141"/>
                  <a:pt x="727518" y="647314"/>
                </a:cubicBezTo>
                <a:cubicBezTo>
                  <a:pt x="727518" y="639429"/>
                  <a:pt x="733871" y="633077"/>
                  <a:pt x="741699" y="633077"/>
                </a:cubicBezTo>
                <a:close/>
                <a:moveTo>
                  <a:pt x="741699" y="563875"/>
                </a:moveTo>
                <a:cubicBezTo>
                  <a:pt x="749527" y="563875"/>
                  <a:pt x="755879" y="570229"/>
                  <a:pt x="755879" y="578056"/>
                </a:cubicBezTo>
                <a:cubicBezTo>
                  <a:pt x="755879" y="585884"/>
                  <a:pt x="749527" y="592237"/>
                  <a:pt x="741699" y="592237"/>
                </a:cubicBezTo>
                <a:cubicBezTo>
                  <a:pt x="733871" y="592237"/>
                  <a:pt x="727518" y="585884"/>
                  <a:pt x="727518" y="578056"/>
                </a:cubicBezTo>
                <a:cubicBezTo>
                  <a:pt x="727518" y="570229"/>
                  <a:pt x="733871" y="563875"/>
                  <a:pt x="741699" y="563875"/>
                </a:cubicBezTo>
                <a:close/>
                <a:moveTo>
                  <a:pt x="741699" y="494675"/>
                </a:moveTo>
                <a:cubicBezTo>
                  <a:pt x="749527" y="494675"/>
                  <a:pt x="755879" y="501027"/>
                  <a:pt x="755879" y="508855"/>
                </a:cubicBezTo>
                <a:cubicBezTo>
                  <a:pt x="755879" y="516683"/>
                  <a:pt x="749527" y="523036"/>
                  <a:pt x="741699" y="523036"/>
                </a:cubicBezTo>
                <a:cubicBezTo>
                  <a:pt x="733871" y="523036"/>
                  <a:pt x="727518" y="516683"/>
                  <a:pt x="727518" y="508855"/>
                </a:cubicBezTo>
                <a:cubicBezTo>
                  <a:pt x="727518" y="501027"/>
                  <a:pt x="733871" y="494675"/>
                  <a:pt x="741699" y="494675"/>
                </a:cubicBezTo>
                <a:close/>
                <a:moveTo>
                  <a:pt x="741699" y="425473"/>
                </a:moveTo>
                <a:cubicBezTo>
                  <a:pt x="749527" y="425473"/>
                  <a:pt x="755879" y="431826"/>
                  <a:pt x="755879" y="439654"/>
                </a:cubicBezTo>
                <a:cubicBezTo>
                  <a:pt x="755879" y="447482"/>
                  <a:pt x="749527" y="453835"/>
                  <a:pt x="741699" y="453835"/>
                </a:cubicBezTo>
                <a:cubicBezTo>
                  <a:pt x="733871" y="453835"/>
                  <a:pt x="727518" y="447482"/>
                  <a:pt x="727518" y="439654"/>
                </a:cubicBezTo>
                <a:cubicBezTo>
                  <a:pt x="727518" y="431826"/>
                  <a:pt x="733871" y="425473"/>
                  <a:pt x="741699" y="425473"/>
                </a:cubicBezTo>
                <a:close/>
                <a:moveTo>
                  <a:pt x="741699" y="356272"/>
                </a:moveTo>
                <a:cubicBezTo>
                  <a:pt x="749527" y="356272"/>
                  <a:pt x="755879" y="362625"/>
                  <a:pt x="755879" y="370453"/>
                </a:cubicBezTo>
                <a:cubicBezTo>
                  <a:pt x="755879" y="378281"/>
                  <a:pt x="749527" y="384634"/>
                  <a:pt x="741699" y="384634"/>
                </a:cubicBezTo>
                <a:cubicBezTo>
                  <a:pt x="733871" y="384634"/>
                  <a:pt x="727518" y="378281"/>
                  <a:pt x="727518" y="370453"/>
                </a:cubicBezTo>
                <a:cubicBezTo>
                  <a:pt x="727518" y="362625"/>
                  <a:pt x="733871" y="356272"/>
                  <a:pt x="741699" y="356272"/>
                </a:cubicBezTo>
                <a:close/>
                <a:moveTo>
                  <a:pt x="741699" y="287071"/>
                </a:moveTo>
                <a:cubicBezTo>
                  <a:pt x="749527" y="287071"/>
                  <a:pt x="755879" y="293367"/>
                  <a:pt x="755879" y="301252"/>
                </a:cubicBezTo>
                <a:cubicBezTo>
                  <a:pt x="755879" y="309080"/>
                  <a:pt x="749527" y="315376"/>
                  <a:pt x="741699" y="315376"/>
                </a:cubicBezTo>
                <a:cubicBezTo>
                  <a:pt x="733871" y="315376"/>
                  <a:pt x="727518" y="309080"/>
                  <a:pt x="727518" y="301252"/>
                </a:cubicBezTo>
                <a:cubicBezTo>
                  <a:pt x="727518" y="293367"/>
                  <a:pt x="733871" y="287071"/>
                  <a:pt x="741699" y="287071"/>
                </a:cubicBezTo>
                <a:close/>
                <a:moveTo>
                  <a:pt x="741699" y="217814"/>
                </a:moveTo>
                <a:cubicBezTo>
                  <a:pt x="749527" y="217814"/>
                  <a:pt x="755879" y="224166"/>
                  <a:pt x="755879" y="231994"/>
                </a:cubicBezTo>
                <a:cubicBezTo>
                  <a:pt x="755879" y="239878"/>
                  <a:pt x="749527" y="246175"/>
                  <a:pt x="741699" y="246175"/>
                </a:cubicBezTo>
                <a:cubicBezTo>
                  <a:pt x="733871" y="246175"/>
                  <a:pt x="727518" y="239878"/>
                  <a:pt x="727518" y="231994"/>
                </a:cubicBezTo>
                <a:cubicBezTo>
                  <a:pt x="727518" y="224166"/>
                  <a:pt x="733871" y="217814"/>
                  <a:pt x="741699" y="217814"/>
                </a:cubicBezTo>
                <a:close/>
                <a:moveTo>
                  <a:pt x="741699" y="148612"/>
                </a:moveTo>
                <a:cubicBezTo>
                  <a:pt x="749527" y="148612"/>
                  <a:pt x="755879" y="154965"/>
                  <a:pt x="755879" y="162793"/>
                </a:cubicBezTo>
                <a:cubicBezTo>
                  <a:pt x="755879" y="170621"/>
                  <a:pt x="749527" y="176974"/>
                  <a:pt x="741699" y="176974"/>
                </a:cubicBezTo>
                <a:cubicBezTo>
                  <a:pt x="733871" y="176974"/>
                  <a:pt x="727518" y="170621"/>
                  <a:pt x="727518" y="162793"/>
                </a:cubicBezTo>
                <a:cubicBezTo>
                  <a:pt x="727518" y="154965"/>
                  <a:pt x="733871" y="148612"/>
                  <a:pt x="741699" y="148612"/>
                </a:cubicBezTo>
                <a:close/>
                <a:moveTo>
                  <a:pt x="697030" y="97917"/>
                </a:moveTo>
                <a:cubicBezTo>
                  <a:pt x="700661" y="97917"/>
                  <a:pt x="704291" y="99293"/>
                  <a:pt x="707042" y="102044"/>
                </a:cubicBezTo>
                <a:cubicBezTo>
                  <a:pt x="712600" y="107602"/>
                  <a:pt x="712600" y="116564"/>
                  <a:pt x="707042" y="122123"/>
                </a:cubicBezTo>
                <a:cubicBezTo>
                  <a:pt x="704319" y="124903"/>
                  <a:pt x="700689" y="126264"/>
                  <a:pt x="697059" y="126264"/>
                </a:cubicBezTo>
                <a:cubicBezTo>
                  <a:pt x="693428" y="126264"/>
                  <a:pt x="689798" y="124903"/>
                  <a:pt x="687019" y="122123"/>
                </a:cubicBezTo>
                <a:cubicBezTo>
                  <a:pt x="681460" y="116564"/>
                  <a:pt x="681460" y="107602"/>
                  <a:pt x="687019" y="102044"/>
                </a:cubicBezTo>
                <a:cubicBezTo>
                  <a:pt x="689770" y="99293"/>
                  <a:pt x="693400" y="97917"/>
                  <a:pt x="697030" y="97917"/>
                </a:cubicBezTo>
                <a:close/>
                <a:moveTo>
                  <a:pt x="648107" y="48980"/>
                </a:moveTo>
                <a:cubicBezTo>
                  <a:pt x="651737" y="48980"/>
                  <a:pt x="655367" y="50369"/>
                  <a:pt x="658147" y="53149"/>
                </a:cubicBezTo>
                <a:cubicBezTo>
                  <a:pt x="663649" y="58651"/>
                  <a:pt x="663649" y="67670"/>
                  <a:pt x="658147" y="73172"/>
                </a:cubicBezTo>
                <a:cubicBezTo>
                  <a:pt x="655368" y="75951"/>
                  <a:pt x="651738" y="77313"/>
                  <a:pt x="648107" y="77313"/>
                </a:cubicBezTo>
                <a:cubicBezTo>
                  <a:pt x="644477" y="77313"/>
                  <a:pt x="640847" y="75951"/>
                  <a:pt x="638067" y="73172"/>
                </a:cubicBezTo>
                <a:cubicBezTo>
                  <a:pt x="632566" y="67670"/>
                  <a:pt x="632566" y="58651"/>
                  <a:pt x="638067" y="53149"/>
                </a:cubicBezTo>
                <a:cubicBezTo>
                  <a:pt x="640846" y="50369"/>
                  <a:pt x="644476" y="48980"/>
                  <a:pt x="648107" y="48980"/>
                </a:cubicBezTo>
                <a:close/>
                <a:moveTo>
                  <a:pt x="16960" y="341"/>
                </a:moveTo>
                <a:cubicBezTo>
                  <a:pt x="17868" y="511"/>
                  <a:pt x="18775" y="795"/>
                  <a:pt x="19626" y="1135"/>
                </a:cubicBezTo>
                <a:cubicBezTo>
                  <a:pt x="20477" y="1475"/>
                  <a:pt x="21271" y="1929"/>
                  <a:pt x="22065" y="2440"/>
                </a:cubicBezTo>
                <a:cubicBezTo>
                  <a:pt x="22859" y="2950"/>
                  <a:pt x="23540" y="3517"/>
                  <a:pt x="24220" y="4198"/>
                </a:cubicBezTo>
                <a:cubicBezTo>
                  <a:pt x="26829" y="6807"/>
                  <a:pt x="28361" y="10494"/>
                  <a:pt x="28361" y="14181"/>
                </a:cubicBezTo>
                <a:cubicBezTo>
                  <a:pt x="28361" y="15145"/>
                  <a:pt x="28248" y="16053"/>
                  <a:pt x="28078" y="16961"/>
                </a:cubicBezTo>
                <a:cubicBezTo>
                  <a:pt x="27907" y="17868"/>
                  <a:pt x="27624" y="18776"/>
                  <a:pt x="27283" y="19627"/>
                </a:cubicBezTo>
                <a:cubicBezTo>
                  <a:pt x="26943" y="20477"/>
                  <a:pt x="26489" y="21328"/>
                  <a:pt x="25979" y="22066"/>
                </a:cubicBezTo>
                <a:cubicBezTo>
                  <a:pt x="25468" y="22860"/>
                  <a:pt x="24901" y="23597"/>
                  <a:pt x="24220" y="24221"/>
                </a:cubicBezTo>
                <a:cubicBezTo>
                  <a:pt x="23540" y="24902"/>
                  <a:pt x="22859" y="25469"/>
                  <a:pt x="22065" y="25979"/>
                </a:cubicBezTo>
                <a:cubicBezTo>
                  <a:pt x="21271" y="26490"/>
                  <a:pt x="20477" y="26944"/>
                  <a:pt x="19626" y="27284"/>
                </a:cubicBezTo>
                <a:cubicBezTo>
                  <a:pt x="18775" y="27681"/>
                  <a:pt x="17868" y="27908"/>
                  <a:pt x="16960" y="28135"/>
                </a:cubicBezTo>
                <a:cubicBezTo>
                  <a:pt x="16052" y="28305"/>
                  <a:pt x="15088" y="28418"/>
                  <a:pt x="14181" y="28418"/>
                </a:cubicBezTo>
                <a:cubicBezTo>
                  <a:pt x="10437" y="28418"/>
                  <a:pt x="6807" y="26887"/>
                  <a:pt x="4141" y="24221"/>
                </a:cubicBezTo>
                <a:cubicBezTo>
                  <a:pt x="3517" y="23597"/>
                  <a:pt x="2893" y="22860"/>
                  <a:pt x="2382" y="22066"/>
                </a:cubicBezTo>
                <a:cubicBezTo>
                  <a:pt x="1872" y="21328"/>
                  <a:pt x="1475" y="20477"/>
                  <a:pt x="1078" y="19627"/>
                </a:cubicBezTo>
                <a:cubicBezTo>
                  <a:pt x="737" y="18776"/>
                  <a:pt x="454" y="17868"/>
                  <a:pt x="284" y="16961"/>
                </a:cubicBezTo>
                <a:cubicBezTo>
                  <a:pt x="114" y="16053"/>
                  <a:pt x="0" y="15145"/>
                  <a:pt x="0" y="14181"/>
                </a:cubicBezTo>
                <a:cubicBezTo>
                  <a:pt x="0" y="10494"/>
                  <a:pt x="1532" y="6807"/>
                  <a:pt x="4141" y="4198"/>
                </a:cubicBezTo>
                <a:cubicBezTo>
                  <a:pt x="7431" y="908"/>
                  <a:pt x="12365" y="-623"/>
                  <a:pt x="16960" y="341"/>
                </a:cubicBezTo>
                <a:close/>
                <a:moveTo>
                  <a:pt x="601936" y="284"/>
                </a:moveTo>
                <a:cubicBezTo>
                  <a:pt x="602843" y="511"/>
                  <a:pt x="603751" y="738"/>
                  <a:pt x="604602" y="1135"/>
                </a:cubicBezTo>
                <a:cubicBezTo>
                  <a:pt x="605453" y="1475"/>
                  <a:pt x="606247" y="1929"/>
                  <a:pt x="607041" y="2439"/>
                </a:cubicBezTo>
                <a:cubicBezTo>
                  <a:pt x="607835" y="2950"/>
                  <a:pt x="608515" y="3517"/>
                  <a:pt x="609196" y="4198"/>
                </a:cubicBezTo>
                <a:cubicBezTo>
                  <a:pt x="609820" y="4822"/>
                  <a:pt x="610444" y="5559"/>
                  <a:pt x="610955" y="6353"/>
                </a:cubicBezTo>
                <a:cubicBezTo>
                  <a:pt x="611465" y="7090"/>
                  <a:pt x="611919" y="7941"/>
                  <a:pt x="612259" y="8792"/>
                </a:cubicBezTo>
                <a:cubicBezTo>
                  <a:pt x="612600" y="9643"/>
                  <a:pt x="612883" y="10551"/>
                  <a:pt x="613054" y="11458"/>
                </a:cubicBezTo>
                <a:cubicBezTo>
                  <a:pt x="613280" y="12366"/>
                  <a:pt x="613337" y="13273"/>
                  <a:pt x="613337" y="14237"/>
                </a:cubicBezTo>
                <a:cubicBezTo>
                  <a:pt x="613337" y="17924"/>
                  <a:pt x="611805" y="21611"/>
                  <a:pt x="609196" y="24221"/>
                </a:cubicBezTo>
                <a:cubicBezTo>
                  <a:pt x="608515" y="24901"/>
                  <a:pt x="607835" y="25469"/>
                  <a:pt x="607041" y="25979"/>
                </a:cubicBezTo>
                <a:cubicBezTo>
                  <a:pt x="606247" y="26489"/>
                  <a:pt x="605453" y="26943"/>
                  <a:pt x="604602" y="27284"/>
                </a:cubicBezTo>
                <a:cubicBezTo>
                  <a:pt x="603751" y="27681"/>
                  <a:pt x="602843" y="27908"/>
                  <a:pt x="601936" y="28134"/>
                </a:cubicBezTo>
                <a:cubicBezTo>
                  <a:pt x="601028" y="28305"/>
                  <a:pt x="600064" y="28418"/>
                  <a:pt x="599157" y="28418"/>
                </a:cubicBezTo>
                <a:cubicBezTo>
                  <a:pt x="595413" y="28418"/>
                  <a:pt x="591783" y="26887"/>
                  <a:pt x="589117" y="24221"/>
                </a:cubicBezTo>
                <a:cubicBezTo>
                  <a:pt x="588493" y="23597"/>
                  <a:pt x="587869" y="22859"/>
                  <a:pt x="587358" y="22065"/>
                </a:cubicBezTo>
                <a:cubicBezTo>
                  <a:pt x="586848" y="21328"/>
                  <a:pt x="586394" y="20477"/>
                  <a:pt x="586054" y="19626"/>
                </a:cubicBezTo>
                <a:cubicBezTo>
                  <a:pt x="585713" y="18775"/>
                  <a:pt x="585430" y="17868"/>
                  <a:pt x="585260" y="16960"/>
                </a:cubicBezTo>
                <a:cubicBezTo>
                  <a:pt x="585090" y="16053"/>
                  <a:pt x="584976" y="15145"/>
                  <a:pt x="584976" y="14237"/>
                </a:cubicBezTo>
                <a:cubicBezTo>
                  <a:pt x="584976" y="13273"/>
                  <a:pt x="585090" y="12366"/>
                  <a:pt x="585260" y="11458"/>
                </a:cubicBezTo>
                <a:cubicBezTo>
                  <a:pt x="585430" y="10551"/>
                  <a:pt x="585713" y="9643"/>
                  <a:pt x="586054" y="8792"/>
                </a:cubicBezTo>
                <a:cubicBezTo>
                  <a:pt x="586394" y="7941"/>
                  <a:pt x="586848" y="7090"/>
                  <a:pt x="587358" y="6353"/>
                </a:cubicBezTo>
                <a:cubicBezTo>
                  <a:pt x="587869" y="5559"/>
                  <a:pt x="588493" y="4822"/>
                  <a:pt x="589117" y="4198"/>
                </a:cubicBezTo>
                <a:cubicBezTo>
                  <a:pt x="592463" y="908"/>
                  <a:pt x="597341" y="-624"/>
                  <a:pt x="601936" y="284"/>
                </a:cubicBezTo>
                <a:close/>
                <a:moveTo>
                  <a:pt x="534152" y="0"/>
                </a:moveTo>
                <a:cubicBezTo>
                  <a:pt x="541980" y="0"/>
                  <a:pt x="548332" y="6353"/>
                  <a:pt x="548332" y="14237"/>
                </a:cubicBezTo>
                <a:cubicBezTo>
                  <a:pt x="548332" y="22065"/>
                  <a:pt x="541980" y="28418"/>
                  <a:pt x="534152" y="28418"/>
                </a:cubicBezTo>
                <a:cubicBezTo>
                  <a:pt x="526324" y="28418"/>
                  <a:pt x="519971" y="22065"/>
                  <a:pt x="519971" y="14237"/>
                </a:cubicBezTo>
                <a:cubicBezTo>
                  <a:pt x="519971" y="6353"/>
                  <a:pt x="526324" y="0"/>
                  <a:pt x="534152" y="0"/>
                </a:cubicBezTo>
                <a:close/>
                <a:moveTo>
                  <a:pt x="469148" y="0"/>
                </a:moveTo>
                <a:cubicBezTo>
                  <a:pt x="476976" y="0"/>
                  <a:pt x="483329" y="6353"/>
                  <a:pt x="483329" y="14237"/>
                </a:cubicBezTo>
                <a:cubicBezTo>
                  <a:pt x="483329" y="22065"/>
                  <a:pt x="476976" y="28418"/>
                  <a:pt x="469148" y="28418"/>
                </a:cubicBezTo>
                <a:cubicBezTo>
                  <a:pt x="461321" y="28418"/>
                  <a:pt x="454968" y="22065"/>
                  <a:pt x="454968" y="14237"/>
                </a:cubicBezTo>
                <a:cubicBezTo>
                  <a:pt x="454968" y="6353"/>
                  <a:pt x="461321" y="0"/>
                  <a:pt x="469148" y="0"/>
                </a:cubicBezTo>
                <a:close/>
                <a:moveTo>
                  <a:pt x="404145" y="0"/>
                </a:moveTo>
                <a:cubicBezTo>
                  <a:pt x="412029" y="0"/>
                  <a:pt x="418382" y="6353"/>
                  <a:pt x="418382" y="14237"/>
                </a:cubicBezTo>
                <a:cubicBezTo>
                  <a:pt x="418382" y="22065"/>
                  <a:pt x="412029" y="28418"/>
                  <a:pt x="404145" y="28418"/>
                </a:cubicBezTo>
                <a:cubicBezTo>
                  <a:pt x="396317" y="28418"/>
                  <a:pt x="390021" y="22065"/>
                  <a:pt x="390021" y="14237"/>
                </a:cubicBezTo>
                <a:cubicBezTo>
                  <a:pt x="390021" y="6353"/>
                  <a:pt x="396317" y="0"/>
                  <a:pt x="404145" y="0"/>
                </a:cubicBezTo>
                <a:close/>
                <a:moveTo>
                  <a:pt x="339198" y="0"/>
                </a:moveTo>
                <a:cubicBezTo>
                  <a:pt x="347025" y="0"/>
                  <a:pt x="353378" y="6353"/>
                  <a:pt x="353378" y="14237"/>
                </a:cubicBezTo>
                <a:cubicBezTo>
                  <a:pt x="353378" y="22065"/>
                  <a:pt x="347025" y="28418"/>
                  <a:pt x="339198" y="28418"/>
                </a:cubicBezTo>
                <a:cubicBezTo>
                  <a:pt x="331370" y="28418"/>
                  <a:pt x="325017" y="22065"/>
                  <a:pt x="325017" y="14237"/>
                </a:cubicBezTo>
                <a:cubicBezTo>
                  <a:pt x="325017" y="6353"/>
                  <a:pt x="331370" y="0"/>
                  <a:pt x="339198" y="0"/>
                </a:cubicBezTo>
                <a:close/>
                <a:moveTo>
                  <a:pt x="274194" y="0"/>
                </a:moveTo>
                <a:cubicBezTo>
                  <a:pt x="282022" y="0"/>
                  <a:pt x="288375" y="6353"/>
                  <a:pt x="288375" y="14237"/>
                </a:cubicBezTo>
                <a:cubicBezTo>
                  <a:pt x="288375" y="22065"/>
                  <a:pt x="282022" y="28418"/>
                  <a:pt x="274194" y="28418"/>
                </a:cubicBezTo>
                <a:cubicBezTo>
                  <a:pt x="266367" y="28418"/>
                  <a:pt x="260014" y="22065"/>
                  <a:pt x="260014" y="14237"/>
                </a:cubicBezTo>
                <a:cubicBezTo>
                  <a:pt x="260014" y="6353"/>
                  <a:pt x="266367" y="0"/>
                  <a:pt x="274194" y="0"/>
                </a:cubicBezTo>
                <a:close/>
                <a:moveTo>
                  <a:pt x="209191" y="0"/>
                </a:moveTo>
                <a:cubicBezTo>
                  <a:pt x="217018" y="0"/>
                  <a:pt x="223371" y="6353"/>
                  <a:pt x="223371" y="14237"/>
                </a:cubicBezTo>
                <a:cubicBezTo>
                  <a:pt x="223371" y="22065"/>
                  <a:pt x="217018" y="28418"/>
                  <a:pt x="209191" y="28418"/>
                </a:cubicBezTo>
                <a:cubicBezTo>
                  <a:pt x="201363" y="28418"/>
                  <a:pt x="195010" y="22065"/>
                  <a:pt x="195010" y="14237"/>
                </a:cubicBezTo>
                <a:cubicBezTo>
                  <a:pt x="195010" y="6353"/>
                  <a:pt x="201363" y="0"/>
                  <a:pt x="209191" y="0"/>
                </a:cubicBezTo>
                <a:close/>
                <a:moveTo>
                  <a:pt x="144187" y="0"/>
                </a:moveTo>
                <a:cubicBezTo>
                  <a:pt x="152015" y="0"/>
                  <a:pt x="158367" y="6353"/>
                  <a:pt x="158367" y="14237"/>
                </a:cubicBezTo>
                <a:cubicBezTo>
                  <a:pt x="158367" y="22065"/>
                  <a:pt x="152015" y="28418"/>
                  <a:pt x="144187" y="28418"/>
                </a:cubicBezTo>
                <a:cubicBezTo>
                  <a:pt x="136359" y="28418"/>
                  <a:pt x="130006" y="22065"/>
                  <a:pt x="130006" y="14237"/>
                </a:cubicBezTo>
                <a:cubicBezTo>
                  <a:pt x="130006" y="6353"/>
                  <a:pt x="136359" y="0"/>
                  <a:pt x="144187" y="0"/>
                </a:cubicBezTo>
                <a:close/>
                <a:moveTo>
                  <a:pt x="79184" y="0"/>
                </a:moveTo>
                <a:cubicBezTo>
                  <a:pt x="87011" y="0"/>
                  <a:pt x="93364" y="6353"/>
                  <a:pt x="93364" y="14237"/>
                </a:cubicBezTo>
                <a:cubicBezTo>
                  <a:pt x="93364" y="22065"/>
                  <a:pt x="87011" y="28418"/>
                  <a:pt x="79184" y="28418"/>
                </a:cubicBezTo>
                <a:cubicBezTo>
                  <a:pt x="71356" y="28418"/>
                  <a:pt x="65003" y="22065"/>
                  <a:pt x="65003" y="14237"/>
                </a:cubicBezTo>
                <a:cubicBezTo>
                  <a:pt x="65003" y="6353"/>
                  <a:pt x="71356" y="0"/>
                  <a:pt x="79184" y="0"/>
                </a:cubicBezTo>
                <a:close/>
              </a:path>
            </a:pathLst>
          </a:custGeom>
          <a:solidFill>
            <a:schemeClr val="accent4"/>
          </a:solidFill>
          <a:ln w="0" cap="flat">
            <a:noFill/>
            <a:prstDash val="solid"/>
            <a:miter/>
          </a:ln>
        </p:spPr>
        <p:txBody>
          <a:bodyPr rtlCol="0" anchor="ctr"/>
          <a:lstStyle/>
          <a:p>
            <a:endParaRPr lang="sv-SE"/>
          </a:p>
        </p:txBody>
      </p:sp>
      <p:pic>
        <p:nvPicPr>
          <p:cNvPr id="7" name="Picture 6" descr="A blue crumpled paper&#10;&#10;AI-generated content may be incorrect.">
            <a:extLst>
              <a:ext uri="{FF2B5EF4-FFF2-40B4-BE49-F238E27FC236}">
                <a16:creationId xmlns:a16="http://schemas.microsoft.com/office/drawing/2014/main" id="{222F9856-F6ED-38A9-31D2-C2E85374D449}"/>
              </a:ext>
            </a:extLst>
          </p:cNvPr>
          <p:cNvPicPr>
            <a:picLocks noChangeAspect="1"/>
          </p:cNvPicPr>
          <p:nvPr/>
        </p:nvPicPr>
        <p:blipFill rotWithShape="1">
          <a:blip r:embed="rId3">
            <a:alphaModFix/>
          </a:blip>
          <a:srcRect l="370" t="59712" r="370" b="-1"/>
          <a:stretch/>
        </p:blipFill>
        <p:spPr>
          <a:xfrm>
            <a:off x="0" y="4094978"/>
            <a:ext cx="12192000" cy="2763022"/>
          </a:xfrm>
          <a:custGeom>
            <a:avLst/>
            <a:gdLst>
              <a:gd name="connsiteX0" fmla="*/ 0 w 12192000"/>
              <a:gd name="connsiteY0" fmla="*/ 0 h 2763022"/>
              <a:gd name="connsiteX1" fmla="*/ 2619587 w 12192000"/>
              <a:gd name="connsiteY1" fmla="*/ 0 h 2763022"/>
              <a:gd name="connsiteX2" fmla="*/ 2619587 w 12192000"/>
              <a:gd name="connsiteY2" fmla="*/ 1014656 h 2763022"/>
              <a:gd name="connsiteX3" fmla="*/ 2537340 w 12192000"/>
              <a:gd name="connsiteY3" fmla="*/ 1014656 h 2763022"/>
              <a:gd name="connsiteX4" fmla="*/ 2419925 w 12192000"/>
              <a:gd name="connsiteY4" fmla="*/ 1132070 h 2763022"/>
              <a:gd name="connsiteX5" fmla="*/ 2419925 w 12192000"/>
              <a:gd name="connsiteY5" fmla="*/ 1945466 h 2763022"/>
              <a:gd name="connsiteX6" fmla="*/ 2537340 w 12192000"/>
              <a:gd name="connsiteY6" fmla="*/ 2062881 h 2763022"/>
              <a:gd name="connsiteX7" fmla="*/ 2826623 w 12192000"/>
              <a:gd name="connsiteY7" fmla="*/ 2062881 h 2763022"/>
              <a:gd name="connsiteX8" fmla="*/ 2944038 w 12192000"/>
              <a:gd name="connsiteY8" fmla="*/ 1945466 h 2763022"/>
              <a:gd name="connsiteX9" fmla="*/ 2944038 w 12192000"/>
              <a:gd name="connsiteY9" fmla="*/ 1132070 h 2763022"/>
              <a:gd name="connsiteX10" fmla="*/ 2826623 w 12192000"/>
              <a:gd name="connsiteY10" fmla="*/ 1014656 h 2763022"/>
              <a:gd name="connsiteX11" fmla="*/ 2744376 w 12192000"/>
              <a:gd name="connsiteY11" fmla="*/ 1014656 h 2763022"/>
              <a:gd name="connsiteX12" fmla="*/ 2744376 w 12192000"/>
              <a:gd name="connsiteY12" fmla="*/ 0 h 2763022"/>
              <a:gd name="connsiteX13" fmla="*/ 12192000 w 12192000"/>
              <a:gd name="connsiteY13" fmla="*/ 0 h 2763022"/>
              <a:gd name="connsiteX14" fmla="*/ 12192000 w 12192000"/>
              <a:gd name="connsiteY14" fmla="*/ 2763022 h 2763022"/>
              <a:gd name="connsiteX15" fmla="*/ 0 w 12192000"/>
              <a:gd name="connsiteY15" fmla="*/ 2763022 h 27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763022">
                <a:moveTo>
                  <a:pt x="0" y="0"/>
                </a:moveTo>
                <a:lnTo>
                  <a:pt x="2619587" y="0"/>
                </a:lnTo>
                <a:lnTo>
                  <a:pt x="2619587" y="1014656"/>
                </a:lnTo>
                <a:lnTo>
                  <a:pt x="2537340" y="1014656"/>
                </a:lnTo>
                <a:lnTo>
                  <a:pt x="2419925" y="1132070"/>
                </a:lnTo>
                <a:lnTo>
                  <a:pt x="2419925" y="1945466"/>
                </a:lnTo>
                <a:lnTo>
                  <a:pt x="2537340" y="2062881"/>
                </a:lnTo>
                <a:lnTo>
                  <a:pt x="2826623" y="2062881"/>
                </a:lnTo>
                <a:lnTo>
                  <a:pt x="2944038" y="1945466"/>
                </a:lnTo>
                <a:lnTo>
                  <a:pt x="2944038" y="1132070"/>
                </a:lnTo>
                <a:lnTo>
                  <a:pt x="2826623" y="1014656"/>
                </a:lnTo>
                <a:lnTo>
                  <a:pt x="2744376" y="1014656"/>
                </a:lnTo>
                <a:lnTo>
                  <a:pt x="2744376" y="0"/>
                </a:lnTo>
                <a:lnTo>
                  <a:pt x="12192000" y="0"/>
                </a:lnTo>
                <a:lnTo>
                  <a:pt x="12192000" y="2763022"/>
                </a:lnTo>
                <a:lnTo>
                  <a:pt x="0" y="2763022"/>
                </a:lnTo>
                <a:close/>
              </a:path>
            </a:pathLst>
          </a:custGeom>
        </p:spPr>
      </p:pic>
      <p:sp>
        <p:nvSpPr>
          <p:cNvPr id="191" name="Freeform 190">
            <a:extLst>
              <a:ext uri="{FF2B5EF4-FFF2-40B4-BE49-F238E27FC236}">
                <a16:creationId xmlns:a16="http://schemas.microsoft.com/office/drawing/2014/main" id="{55704FDE-E824-838E-5504-99FCE06D2EFD}"/>
              </a:ext>
            </a:extLst>
          </p:cNvPr>
          <p:cNvSpPr/>
          <p:nvPr/>
        </p:nvSpPr>
        <p:spPr>
          <a:xfrm>
            <a:off x="2419925" y="3678703"/>
            <a:ext cx="6843076" cy="2479156"/>
          </a:xfrm>
          <a:custGeom>
            <a:avLst/>
            <a:gdLst>
              <a:gd name="connsiteX0" fmla="*/ 4114343 w 6843076"/>
              <a:gd name="connsiteY0" fmla="*/ 0 h 2479156"/>
              <a:gd name="connsiteX1" fmla="*/ 4114343 w 6843076"/>
              <a:gd name="connsiteY1" fmla="*/ 166139 h 2479156"/>
              <a:gd name="connsiteX2" fmla="*/ 6638877 w 6843076"/>
              <a:gd name="connsiteY2" fmla="*/ 166139 h 2479156"/>
              <a:gd name="connsiteX3" fmla="*/ 6843077 w 6843076"/>
              <a:gd name="connsiteY3" fmla="*/ 290928 h 2479156"/>
              <a:gd name="connsiteX4" fmla="*/ 393538 w 6843076"/>
              <a:gd name="connsiteY4" fmla="*/ 290928 h 2479156"/>
              <a:gd name="connsiteX5" fmla="*/ 324451 w 6843076"/>
              <a:gd name="connsiteY5" fmla="*/ 360016 h 2479156"/>
              <a:gd name="connsiteX6" fmla="*/ 324451 w 6843076"/>
              <a:gd name="connsiteY6" fmla="*/ 1430931 h 2479156"/>
              <a:gd name="connsiteX7" fmla="*/ 406698 w 6843076"/>
              <a:gd name="connsiteY7" fmla="*/ 1430931 h 2479156"/>
              <a:gd name="connsiteX8" fmla="*/ 524113 w 6843076"/>
              <a:gd name="connsiteY8" fmla="*/ 1548345 h 2479156"/>
              <a:gd name="connsiteX9" fmla="*/ 524113 w 6843076"/>
              <a:gd name="connsiteY9" fmla="*/ 2361741 h 2479156"/>
              <a:gd name="connsiteX10" fmla="*/ 406698 w 6843076"/>
              <a:gd name="connsiteY10" fmla="*/ 2479156 h 2479156"/>
              <a:gd name="connsiteX11" fmla="*/ 117415 w 6843076"/>
              <a:gd name="connsiteY11" fmla="*/ 2479156 h 2479156"/>
              <a:gd name="connsiteX12" fmla="*/ 0 w 6843076"/>
              <a:gd name="connsiteY12" fmla="*/ 2361741 h 2479156"/>
              <a:gd name="connsiteX13" fmla="*/ 0 w 6843076"/>
              <a:gd name="connsiteY13" fmla="*/ 1548345 h 2479156"/>
              <a:gd name="connsiteX14" fmla="*/ 117415 w 6843076"/>
              <a:gd name="connsiteY14" fmla="*/ 1430931 h 2479156"/>
              <a:gd name="connsiteX15" fmla="*/ 199662 w 6843076"/>
              <a:gd name="connsiteY15" fmla="*/ 1430931 h 2479156"/>
              <a:gd name="connsiteX16" fmla="*/ 199662 w 6843076"/>
              <a:gd name="connsiteY16" fmla="*/ 334207 h 2479156"/>
              <a:gd name="connsiteX17" fmla="*/ 199662 w 6843076"/>
              <a:gd name="connsiteY17" fmla="*/ 308342 h 2479156"/>
              <a:gd name="connsiteX18" fmla="*/ 217927 w 6843076"/>
              <a:gd name="connsiteY18" fmla="*/ 290077 h 2479156"/>
              <a:gd name="connsiteX19" fmla="*/ 323600 w 6843076"/>
              <a:gd name="connsiteY19" fmla="*/ 184404 h 2479156"/>
              <a:gd name="connsiteX20" fmla="*/ 341865 w 6843076"/>
              <a:gd name="connsiteY20" fmla="*/ 166139 h 2479156"/>
              <a:gd name="connsiteX21" fmla="*/ 367730 w 6843076"/>
              <a:gd name="connsiteY21" fmla="*/ 166139 h 2479156"/>
              <a:gd name="connsiteX22" fmla="*/ 3989554 w 6843076"/>
              <a:gd name="connsiteY22" fmla="*/ 166139 h 2479156"/>
              <a:gd name="connsiteX23" fmla="*/ 3989554 w 6843076"/>
              <a:gd name="connsiteY23" fmla="*/ 0 h 247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6" h="2479156">
                <a:moveTo>
                  <a:pt x="4114343" y="0"/>
                </a:moveTo>
                <a:lnTo>
                  <a:pt x="4114343" y="166139"/>
                </a:lnTo>
                <a:lnTo>
                  <a:pt x="6638877" y="166139"/>
                </a:lnTo>
                <a:lnTo>
                  <a:pt x="6843077" y="290928"/>
                </a:lnTo>
                <a:lnTo>
                  <a:pt x="393538" y="290928"/>
                </a:lnTo>
                <a:lnTo>
                  <a:pt x="324451" y="360016"/>
                </a:lnTo>
                <a:lnTo>
                  <a:pt x="324451" y="1430931"/>
                </a:lnTo>
                <a:lnTo>
                  <a:pt x="406698" y="1430931"/>
                </a:lnTo>
                <a:lnTo>
                  <a:pt x="524113" y="1548345"/>
                </a:lnTo>
                <a:lnTo>
                  <a:pt x="524113" y="2361741"/>
                </a:lnTo>
                <a:lnTo>
                  <a:pt x="406698" y="2479156"/>
                </a:lnTo>
                <a:lnTo>
                  <a:pt x="117415" y="2479156"/>
                </a:lnTo>
                <a:lnTo>
                  <a:pt x="0" y="2361741"/>
                </a:lnTo>
                <a:lnTo>
                  <a:pt x="0" y="1548345"/>
                </a:lnTo>
                <a:lnTo>
                  <a:pt x="117415" y="1430931"/>
                </a:lnTo>
                <a:lnTo>
                  <a:pt x="199662" y="1430931"/>
                </a:lnTo>
                <a:lnTo>
                  <a:pt x="199662" y="334207"/>
                </a:lnTo>
                <a:lnTo>
                  <a:pt x="199662" y="308342"/>
                </a:lnTo>
                <a:lnTo>
                  <a:pt x="217927" y="290077"/>
                </a:lnTo>
                <a:lnTo>
                  <a:pt x="323600" y="184404"/>
                </a:lnTo>
                <a:lnTo>
                  <a:pt x="341865" y="166139"/>
                </a:lnTo>
                <a:lnTo>
                  <a:pt x="367730" y="166139"/>
                </a:lnTo>
                <a:lnTo>
                  <a:pt x="3989554" y="166139"/>
                </a:lnTo>
                <a:lnTo>
                  <a:pt x="3989554" y="0"/>
                </a:lnTo>
              </a:path>
            </a:pathLst>
          </a:custGeom>
          <a:noFill/>
          <a:ln w="9525" cap="flat">
            <a:solidFill>
              <a:srgbClr val="FFFFFF"/>
            </a:solidFill>
            <a:prstDash val="solid"/>
            <a:miter/>
          </a:ln>
        </p:spPr>
        <p:txBody>
          <a:bodyPr rtlCol="0" anchor="ctr"/>
          <a:lstStyle/>
          <a:p>
            <a:endParaRPr lang="sv-SE"/>
          </a:p>
        </p:txBody>
      </p:sp>
      <p:grpSp>
        <p:nvGrpSpPr>
          <p:cNvPr id="257" name="!!Hybrit_logo">
            <a:extLst>
              <a:ext uri="{FF2B5EF4-FFF2-40B4-BE49-F238E27FC236}">
                <a16:creationId xmlns:a16="http://schemas.microsoft.com/office/drawing/2014/main" id="{6A09CBD2-09ED-D231-B8E3-33D1BC9240BC}"/>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46A05C1E-C633-6930-DB18-405C99596C94}"/>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259" name="Freeform 258">
              <a:extLst>
                <a:ext uri="{FF2B5EF4-FFF2-40B4-BE49-F238E27FC236}">
                  <a16:creationId xmlns:a16="http://schemas.microsoft.com/office/drawing/2014/main" id="{A7E75E9C-F851-BA28-27D9-04731403FA9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0" name="Freeform 259">
              <a:extLst>
                <a:ext uri="{FF2B5EF4-FFF2-40B4-BE49-F238E27FC236}">
                  <a16:creationId xmlns:a16="http://schemas.microsoft.com/office/drawing/2014/main" id="{6FF18B79-4CEE-B76F-96C4-4ECF1C788879}"/>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1" name="Freeform 260">
              <a:extLst>
                <a:ext uri="{FF2B5EF4-FFF2-40B4-BE49-F238E27FC236}">
                  <a16:creationId xmlns:a16="http://schemas.microsoft.com/office/drawing/2014/main" id="{AFAD18B6-6D4D-F920-AF7F-B02453F458B6}"/>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262" name="Freeform 261">
              <a:extLst>
                <a:ext uri="{FF2B5EF4-FFF2-40B4-BE49-F238E27FC236}">
                  <a16:creationId xmlns:a16="http://schemas.microsoft.com/office/drawing/2014/main" id="{35035C22-D80C-4943-C260-72FD2EBD0846}"/>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sp>
        <p:nvSpPr>
          <p:cNvPr id="143" name="TextBox 142">
            <a:extLst>
              <a:ext uri="{FF2B5EF4-FFF2-40B4-BE49-F238E27FC236}">
                <a16:creationId xmlns:a16="http://schemas.microsoft.com/office/drawing/2014/main" id="{FC04C661-CC8D-8E34-71DC-E78A22EA6ACC}"/>
              </a:ext>
            </a:extLst>
          </p:cNvPr>
          <p:cNvSpPr txBox="1"/>
          <p:nvPr/>
        </p:nvSpPr>
        <p:spPr>
          <a:xfrm>
            <a:off x="546101" y="1788239"/>
            <a:ext cx="3505031" cy="1395254"/>
          </a:xfrm>
          <a:prstGeom prst="rect">
            <a:avLst/>
          </a:prstGeom>
          <a:noFill/>
        </p:spPr>
        <p:txBody>
          <a:bodyPr wrap="square" lIns="0" tIns="0" rIns="0" bIns="0" rtlCol="0">
            <a:spAutoFit/>
          </a:bodyPr>
          <a:lstStyle/>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Begränsad tillgång till el</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Mellannivå på elpriser</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Både direkttillförsel </a:t>
            </a:r>
            <a:br>
              <a:rPr lang="sv-SE" sz="1600" dirty="0">
                <a:solidFill>
                  <a:schemeClr val="bg1"/>
                </a:solidFill>
              </a:rPr>
            </a:br>
            <a:r>
              <a:rPr lang="sv-SE" sz="1600" dirty="0">
                <a:solidFill>
                  <a:schemeClr val="bg1"/>
                </a:solidFill>
              </a:rPr>
              <a:t>och lagrad vätgas</a:t>
            </a:r>
          </a:p>
        </p:txBody>
      </p:sp>
      <p:cxnSp>
        <p:nvCxnSpPr>
          <p:cNvPr id="148" name="Straight Connector 147">
            <a:extLst>
              <a:ext uri="{FF2B5EF4-FFF2-40B4-BE49-F238E27FC236}">
                <a16:creationId xmlns:a16="http://schemas.microsoft.com/office/drawing/2014/main" id="{235B705C-314B-99B9-0D13-DF652A3AB955}"/>
              </a:ext>
            </a:extLst>
          </p:cNvPr>
          <p:cNvCxnSpPr>
            <a:cxnSpLocks/>
          </p:cNvCxnSpPr>
          <p:nvPr/>
        </p:nvCxnSpPr>
        <p:spPr>
          <a:xfrm>
            <a:off x="558800" y="3478167"/>
            <a:ext cx="138656" cy="0"/>
          </a:xfrm>
          <a:prstGeom prst="line">
            <a:avLst/>
          </a:prstGeom>
          <a:ln w="285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5761C39-2B33-9652-096A-BA46894F465B}"/>
              </a:ext>
            </a:extLst>
          </p:cNvPr>
          <p:cNvCxnSpPr>
            <a:cxnSpLocks/>
          </p:cNvCxnSpPr>
          <p:nvPr/>
        </p:nvCxnSpPr>
        <p:spPr>
          <a:xfrm>
            <a:off x="558800" y="3740081"/>
            <a:ext cx="138656" cy="0"/>
          </a:xfrm>
          <a:prstGeom prst="line">
            <a:avLst/>
          </a:prstGeom>
          <a:ln w="28575" cap="rnd">
            <a:solidFill>
              <a:srgbClr val="FDAA48"/>
            </a:solidFill>
            <a:prstDash val="sysDot"/>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3623AC57-0824-D7BA-69E0-651D1FEFD06F}"/>
              </a:ext>
            </a:extLst>
          </p:cNvPr>
          <p:cNvSpPr txBox="1"/>
          <p:nvPr/>
        </p:nvSpPr>
        <p:spPr>
          <a:xfrm>
            <a:off x="840478" y="3358170"/>
            <a:ext cx="823660" cy="239993"/>
          </a:xfrm>
          <a:prstGeom prst="rect">
            <a:avLst/>
          </a:prstGeom>
          <a:noFill/>
        </p:spPr>
        <p:txBody>
          <a:bodyPr wrap="square" lIns="0" tIns="36000" rIns="0" bIns="36000" rtlCol="0" anchor="ctr">
            <a:spAutoFit/>
          </a:bodyPr>
          <a:lstStyle/>
          <a:p>
            <a:pPr>
              <a:lnSpc>
                <a:spcPct val="90000"/>
              </a:lnSpc>
            </a:pPr>
            <a:r>
              <a:rPr lang="sv-SE" sz="1200" dirty="0">
                <a:solidFill>
                  <a:schemeClr val="bg1"/>
                </a:solidFill>
              </a:rPr>
              <a:t>EL</a:t>
            </a:r>
            <a:endParaRPr lang="sv-SE" sz="1200" baseline="-25000" dirty="0">
              <a:solidFill>
                <a:schemeClr val="bg1"/>
              </a:solidFill>
            </a:endParaRPr>
          </a:p>
        </p:txBody>
      </p:sp>
      <p:sp>
        <p:nvSpPr>
          <p:cNvPr id="152" name="TextBox 151">
            <a:extLst>
              <a:ext uri="{FF2B5EF4-FFF2-40B4-BE49-F238E27FC236}">
                <a16:creationId xmlns:a16="http://schemas.microsoft.com/office/drawing/2014/main" id="{3B96515F-3E2A-937E-EBE1-1D6770E9B13C}"/>
              </a:ext>
            </a:extLst>
          </p:cNvPr>
          <p:cNvSpPr txBox="1"/>
          <p:nvPr/>
        </p:nvSpPr>
        <p:spPr>
          <a:xfrm>
            <a:off x="840478" y="3620084"/>
            <a:ext cx="823660" cy="239993"/>
          </a:xfrm>
          <a:prstGeom prst="rect">
            <a:avLst/>
          </a:prstGeom>
          <a:noFill/>
        </p:spPr>
        <p:txBody>
          <a:bodyPr wrap="square" lIns="0" tIns="36000" rIns="0" bIns="36000" rtlCol="0" anchor="ctr">
            <a:spAutoFit/>
          </a:bodyPr>
          <a:lstStyle/>
          <a:p>
            <a:pPr>
              <a:lnSpc>
                <a:spcPct val="90000"/>
              </a:lnSpc>
            </a:pPr>
            <a:r>
              <a:rPr lang="sv-SE" sz="1200" spc="50" dirty="0">
                <a:solidFill>
                  <a:schemeClr val="bg1"/>
                </a:solidFill>
              </a:rPr>
              <a:t>VÄTGAS</a:t>
            </a:r>
          </a:p>
        </p:txBody>
      </p:sp>
      <p:grpSp>
        <p:nvGrpSpPr>
          <p:cNvPr id="366" name="Group 365">
            <a:extLst>
              <a:ext uri="{FF2B5EF4-FFF2-40B4-BE49-F238E27FC236}">
                <a16:creationId xmlns:a16="http://schemas.microsoft.com/office/drawing/2014/main" id="{CB88B101-2A11-1D4B-4FFE-A1A4346FD492}"/>
              </a:ext>
            </a:extLst>
          </p:cNvPr>
          <p:cNvGrpSpPr/>
          <p:nvPr/>
        </p:nvGrpSpPr>
        <p:grpSpPr>
          <a:xfrm>
            <a:off x="10570368" y="2329112"/>
            <a:ext cx="102628" cy="317215"/>
            <a:chOff x="10561371" y="2761582"/>
            <a:chExt cx="102628" cy="317215"/>
          </a:xfrm>
        </p:grpSpPr>
        <p:sp>
          <p:nvSpPr>
            <p:cNvPr id="15" name="Freeform 14">
              <a:extLst>
                <a:ext uri="{FF2B5EF4-FFF2-40B4-BE49-F238E27FC236}">
                  <a16:creationId xmlns:a16="http://schemas.microsoft.com/office/drawing/2014/main" id="{2B686BDB-2AB5-4F35-C954-6A8A740CA718}"/>
                </a:ext>
              </a:extLst>
            </p:cNvPr>
            <p:cNvSpPr/>
            <p:nvPr/>
          </p:nvSpPr>
          <p:spPr>
            <a:xfrm>
              <a:off x="10612685" y="2761582"/>
              <a:ext cx="0" cy="317215"/>
            </a:xfrm>
            <a:custGeom>
              <a:avLst/>
              <a:gdLst>
                <a:gd name="connsiteX0" fmla="*/ 0 w 5520"/>
                <a:gd name="connsiteY0" fmla="*/ 0 h 317215"/>
                <a:gd name="connsiteX1" fmla="*/ 0 w 5520"/>
                <a:gd name="connsiteY1" fmla="*/ 317215 h 317215"/>
              </a:gdLst>
              <a:ahLst/>
              <a:cxnLst>
                <a:cxn ang="0">
                  <a:pos x="connsiteX0" y="connsiteY0"/>
                </a:cxn>
                <a:cxn ang="0">
                  <a:pos x="connsiteX1" y="connsiteY1"/>
                </a:cxn>
              </a:cxnLst>
              <a:rect l="l" t="t" r="r" b="b"/>
              <a:pathLst>
                <a:path w="5520" h="317215">
                  <a:moveTo>
                    <a:pt x="0" y="0"/>
                  </a:moveTo>
                  <a:lnTo>
                    <a:pt x="0" y="317215"/>
                  </a:lnTo>
                </a:path>
              </a:pathLst>
            </a:custGeom>
            <a:ln w="15875" cap="flat">
              <a:solidFill>
                <a:srgbClr val="FFFFFF"/>
              </a:solidFill>
              <a:prstDash val="solid"/>
              <a:miter/>
            </a:ln>
          </p:spPr>
          <p:txBody>
            <a:bodyPr rtlCol="0" anchor="ctr"/>
            <a:lstStyle/>
            <a:p>
              <a:endParaRPr lang="sv-SE"/>
            </a:p>
          </p:txBody>
        </p:sp>
        <p:sp>
          <p:nvSpPr>
            <p:cNvPr id="84" name="Freeform 83">
              <a:extLst>
                <a:ext uri="{FF2B5EF4-FFF2-40B4-BE49-F238E27FC236}">
                  <a16:creationId xmlns:a16="http://schemas.microsoft.com/office/drawing/2014/main" id="{BA0CFBDA-5786-93E8-B26A-EE8AB083CC41}"/>
                </a:ext>
              </a:extLst>
            </p:cNvPr>
            <p:cNvSpPr/>
            <p:nvPr/>
          </p:nvSpPr>
          <p:spPr>
            <a:xfrm>
              <a:off x="10561371" y="2761582"/>
              <a:ext cx="102628" cy="55206"/>
            </a:xfrm>
            <a:custGeom>
              <a:avLst/>
              <a:gdLst>
                <a:gd name="connsiteX0" fmla="*/ 0 w 102628"/>
                <a:gd name="connsiteY0" fmla="*/ 55206 h 55206"/>
                <a:gd name="connsiteX1" fmla="*/ 51287 w 102628"/>
                <a:gd name="connsiteY1" fmla="*/ 0 h 55206"/>
                <a:gd name="connsiteX2" fmla="*/ 102628 w 102628"/>
                <a:gd name="connsiteY2" fmla="*/ 55206 h 55206"/>
              </a:gdLst>
              <a:ahLst/>
              <a:cxnLst>
                <a:cxn ang="0">
                  <a:pos x="connsiteX0" y="connsiteY0"/>
                </a:cxn>
                <a:cxn ang="0">
                  <a:pos x="connsiteX1" y="connsiteY1"/>
                </a:cxn>
                <a:cxn ang="0">
                  <a:pos x="connsiteX2" y="connsiteY2"/>
                </a:cxn>
              </a:cxnLst>
              <a:rect l="l" t="t" r="r" b="b"/>
              <a:pathLst>
                <a:path w="102628" h="55206">
                  <a:moveTo>
                    <a:pt x="0" y="55206"/>
                  </a:moveTo>
                  <a:lnTo>
                    <a:pt x="51287" y="0"/>
                  </a:lnTo>
                  <a:lnTo>
                    <a:pt x="102628" y="55206"/>
                  </a:lnTo>
                </a:path>
              </a:pathLst>
            </a:custGeom>
            <a:noFill/>
            <a:ln w="15875" cap="flat">
              <a:solidFill>
                <a:srgbClr val="FFFFFF"/>
              </a:solidFill>
              <a:prstDash val="solid"/>
              <a:miter/>
            </a:ln>
          </p:spPr>
          <p:txBody>
            <a:bodyPr rtlCol="0" anchor="ctr"/>
            <a:lstStyle/>
            <a:p>
              <a:endParaRPr lang="sv-SE"/>
            </a:p>
          </p:txBody>
        </p:sp>
      </p:grpSp>
      <p:grpSp>
        <p:nvGrpSpPr>
          <p:cNvPr id="370" name="Group 369">
            <a:extLst>
              <a:ext uri="{FF2B5EF4-FFF2-40B4-BE49-F238E27FC236}">
                <a16:creationId xmlns:a16="http://schemas.microsoft.com/office/drawing/2014/main" id="{1AB6E504-194C-D8C4-E170-797368C52C8C}"/>
              </a:ext>
            </a:extLst>
          </p:cNvPr>
          <p:cNvGrpSpPr/>
          <p:nvPr/>
        </p:nvGrpSpPr>
        <p:grpSpPr>
          <a:xfrm>
            <a:off x="7032406" y="2952419"/>
            <a:ext cx="172629" cy="244508"/>
            <a:chOff x="6958031" y="3096794"/>
            <a:chExt cx="172629" cy="244508"/>
          </a:xfrm>
        </p:grpSpPr>
        <p:sp>
          <p:nvSpPr>
            <p:cNvPr id="308" name="Freeform 307">
              <a:extLst>
                <a:ext uri="{FF2B5EF4-FFF2-40B4-BE49-F238E27FC236}">
                  <a16:creationId xmlns:a16="http://schemas.microsoft.com/office/drawing/2014/main" id="{4EED248E-EF1F-273E-C432-DE478FE13CCA}"/>
                </a:ext>
              </a:extLst>
            </p:cNvPr>
            <p:cNvSpPr/>
            <p:nvPr/>
          </p:nvSpPr>
          <p:spPr>
            <a:xfrm>
              <a:off x="6961895" y="3096794"/>
              <a:ext cx="168765" cy="240091"/>
            </a:xfrm>
            <a:custGeom>
              <a:avLst/>
              <a:gdLst>
                <a:gd name="connsiteX0" fmla="*/ 168766 w 168765"/>
                <a:gd name="connsiteY0" fmla="*/ 0 h 240091"/>
                <a:gd name="connsiteX1" fmla="*/ 168766 w 168765"/>
                <a:gd name="connsiteY1" fmla="*/ 71326 h 240091"/>
                <a:gd name="connsiteX2" fmla="*/ 0 w 168765"/>
                <a:gd name="connsiteY2" fmla="*/ 240092 h 240091"/>
              </a:gdLst>
              <a:ahLst/>
              <a:cxnLst>
                <a:cxn ang="0">
                  <a:pos x="connsiteX0" y="connsiteY0"/>
                </a:cxn>
                <a:cxn ang="0">
                  <a:pos x="connsiteX1" y="connsiteY1"/>
                </a:cxn>
                <a:cxn ang="0">
                  <a:pos x="connsiteX2" y="connsiteY2"/>
                </a:cxn>
              </a:cxnLst>
              <a:rect l="l" t="t" r="r" b="b"/>
              <a:pathLst>
                <a:path w="168765" h="240091">
                  <a:moveTo>
                    <a:pt x="168766" y="0"/>
                  </a:moveTo>
                  <a:lnTo>
                    <a:pt x="168766" y="71326"/>
                  </a:lnTo>
                  <a:lnTo>
                    <a:pt x="0" y="240092"/>
                  </a:lnTo>
                </a:path>
              </a:pathLst>
            </a:custGeom>
            <a:noFill/>
            <a:ln w="15875" cap="flat">
              <a:solidFill>
                <a:srgbClr val="FFFFFF"/>
              </a:solidFill>
              <a:prstDash val="solid"/>
              <a:miter/>
            </a:ln>
          </p:spPr>
          <p:txBody>
            <a:bodyPr rtlCol="0" anchor="ctr"/>
            <a:lstStyle/>
            <a:p>
              <a:endParaRPr lang="sv-SE"/>
            </a:p>
          </p:txBody>
        </p:sp>
        <p:sp>
          <p:nvSpPr>
            <p:cNvPr id="309" name="Freeform 308">
              <a:extLst>
                <a:ext uri="{FF2B5EF4-FFF2-40B4-BE49-F238E27FC236}">
                  <a16:creationId xmlns:a16="http://schemas.microsoft.com/office/drawing/2014/main" id="{825A341A-118E-EF8E-D19B-F16842A248B1}"/>
                </a:ext>
              </a:extLst>
            </p:cNvPr>
            <p:cNvSpPr/>
            <p:nvPr/>
          </p:nvSpPr>
          <p:spPr>
            <a:xfrm>
              <a:off x="6958031" y="3272460"/>
              <a:ext cx="68842" cy="68842"/>
            </a:xfrm>
            <a:custGeom>
              <a:avLst/>
              <a:gdLst>
                <a:gd name="connsiteX0" fmla="*/ 68842 w 68842"/>
                <a:gd name="connsiteY0" fmla="*/ 68842 h 68842"/>
                <a:gd name="connsiteX1" fmla="*/ 0 w 68842"/>
                <a:gd name="connsiteY1" fmla="*/ 68842 h 68842"/>
                <a:gd name="connsiteX2" fmla="*/ 0 w 68842"/>
                <a:gd name="connsiteY2" fmla="*/ 0 h 68842"/>
              </a:gdLst>
              <a:ahLst/>
              <a:cxnLst>
                <a:cxn ang="0">
                  <a:pos x="connsiteX0" y="connsiteY0"/>
                </a:cxn>
                <a:cxn ang="0">
                  <a:pos x="connsiteX1" y="connsiteY1"/>
                </a:cxn>
                <a:cxn ang="0">
                  <a:pos x="connsiteX2" y="connsiteY2"/>
                </a:cxn>
              </a:cxnLst>
              <a:rect l="l" t="t" r="r" b="b"/>
              <a:pathLst>
                <a:path w="68842" h="68842">
                  <a:moveTo>
                    <a:pt x="68842" y="68842"/>
                  </a:moveTo>
                  <a:lnTo>
                    <a:pt x="0" y="68842"/>
                  </a:lnTo>
                  <a:lnTo>
                    <a:pt x="0" y="0"/>
                  </a:lnTo>
                </a:path>
              </a:pathLst>
            </a:custGeom>
            <a:noFill/>
            <a:ln w="15875" cap="flat">
              <a:solidFill>
                <a:srgbClr val="FFFFFF"/>
              </a:solidFill>
              <a:prstDash val="solid"/>
              <a:miter/>
            </a:ln>
          </p:spPr>
          <p:txBody>
            <a:bodyPr rtlCol="0" anchor="ctr"/>
            <a:lstStyle/>
            <a:p>
              <a:endParaRPr lang="sv-SE"/>
            </a:p>
          </p:txBody>
        </p:sp>
      </p:grpSp>
      <p:grpSp>
        <p:nvGrpSpPr>
          <p:cNvPr id="371" name="Group 370">
            <a:extLst>
              <a:ext uri="{FF2B5EF4-FFF2-40B4-BE49-F238E27FC236}">
                <a16:creationId xmlns:a16="http://schemas.microsoft.com/office/drawing/2014/main" id="{BE227A05-590C-1631-5500-1983DD064AA9}"/>
              </a:ext>
            </a:extLst>
          </p:cNvPr>
          <p:cNvGrpSpPr/>
          <p:nvPr/>
        </p:nvGrpSpPr>
        <p:grpSpPr>
          <a:xfrm flipV="1">
            <a:off x="2439988" y="4409599"/>
            <a:ext cx="80711" cy="346198"/>
            <a:chOff x="2649182" y="4409599"/>
            <a:chExt cx="80711" cy="346198"/>
          </a:xfrm>
        </p:grpSpPr>
        <p:sp>
          <p:nvSpPr>
            <p:cNvPr id="310" name="Freeform 309">
              <a:extLst>
                <a:ext uri="{FF2B5EF4-FFF2-40B4-BE49-F238E27FC236}">
                  <a16:creationId xmlns:a16="http://schemas.microsoft.com/office/drawing/2014/main" id="{50EB17E6-95E4-5E8C-7C24-368F2EC3E806}"/>
                </a:ext>
              </a:extLst>
            </p:cNvPr>
            <p:cNvSpPr/>
            <p:nvPr/>
          </p:nvSpPr>
          <p:spPr>
            <a:xfrm>
              <a:off x="2689538" y="4409599"/>
              <a:ext cx="0" cy="345425"/>
            </a:xfrm>
            <a:custGeom>
              <a:avLst/>
              <a:gdLst>
                <a:gd name="connsiteX0" fmla="*/ 0 w 5520"/>
                <a:gd name="connsiteY0" fmla="*/ 345425 h 345425"/>
                <a:gd name="connsiteX1" fmla="*/ 0 w 5520"/>
                <a:gd name="connsiteY1" fmla="*/ 0 h 345425"/>
              </a:gdLst>
              <a:ahLst/>
              <a:cxnLst>
                <a:cxn ang="0">
                  <a:pos x="connsiteX0" y="connsiteY0"/>
                </a:cxn>
                <a:cxn ang="0">
                  <a:pos x="connsiteX1" y="connsiteY1"/>
                </a:cxn>
              </a:cxnLst>
              <a:rect l="l" t="t" r="r" b="b"/>
              <a:pathLst>
                <a:path w="5520" h="345425">
                  <a:moveTo>
                    <a:pt x="0" y="345425"/>
                  </a:moveTo>
                  <a:lnTo>
                    <a:pt x="0" y="0"/>
                  </a:lnTo>
                </a:path>
              </a:pathLst>
            </a:custGeom>
            <a:ln w="15875" cap="flat">
              <a:solidFill>
                <a:srgbClr val="FDAA48"/>
              </a:solidFill>
              <a:prstDash val="solid"/>
              <a:miter/>
            </a:ln>
          </p:spPr>
          <p:txBody>
            <a:bodyPr rtlCol="0" anchor="ctr"/>
            <a:lstStyle/>
            <a:p>
              <a:endParaRPr lang="sv-SE"/>
            </a:p>
          </p:txBody>
        </p:sp>
        <p:sp>
          <p:nvSpPr>
            <p:cNvPr id="311" name="Freeform 310">
              <a:extLst>
                <a:ext uri="{FF2B5EF4-FFF2-40B4-BE49-F238E27FC236}">
                  <a16:creationId xmlns:a16="http://schemas.microsoft.com/office/drawing/2014/main" id="{E3DB602F-F5C1-684D-5EC0-3F4FCF6178E3}"/>
                </a:ext>
              </a:extLst>
            </p:cNvPr>
            <p:cNvSpPr/>
            <p:nvPr/>
          </p:nvSpPr>
          <p:spPr>
            <a:xfrm>
              <a:off x="2649182" y="4712405"/>
              <a:ext cx="80711" cy="43392"/>
            </a:xfrm>
            <a:custGeom>
              <a:avLst/>
              <a:gdLst>
                <a:gd name="connsiteX0" fmla="*/ 80712 w 80711"/>
                <a:gd name="connsiteY0" fmla="*/ 0 h 43392"/>
                <a:gd name="connsiteX1" fmla="*/ 40356 w 80711"/>
                <a:gd name="connsiteY1" fmla="*/ 43392 h 43392"/>
                <a:gd name="connsiteX2" fmla="*/ 0 w 80711"/>
                <a:gd name="connsiteY2" fmla="*/ 0 h 43392"/>
              </a:gdLst>
              <a:ahLst/>
              <a:cxnLst>
                <a:cxn ang="0">
                  <a:pos x="connsiteX0" y="connsiteY0"/>
                </a:cxn>
                <a:cxn ang="0">
                  <a:pos x="connsiteX1" y="connsiteY1"/>
                </a:cxn>
                <a:cxn ang="0">
                  <a:pos x="connsiteX2" y="connsiteY2"/>
                </a:cxn>
              </a:cxnLst>
              <a:rect l="l" t="t" r="r" b="b"/>
              <a:pathLst>
                <a:path w="80711" h="43392">
                  <a:moveTo>
                    <a:pt x="80712" y="0"/>
                  </a:moveTo>
                  <a:lnTo>
                    <a:pt x="40356" y="43392"/>
                  </a:lnTo>
                  <a:lnTo>
                    <a:pt x="0" y="0"/>
                  </a:lnTo>
                </a:path>
              </a:pathLst>
            </a:custGeom>
            <a:noFill/>
            <a:ln w="15875" cap="flat">
              <a:solidFill>
                <a:srgbClr val="FDAA48"/>
              </a:solidFill>
              <a:prstDash val="solid"/>
              <a:miter/>
            </a:ln>
          </p:spPr>
          <p:txBody>
            <a:bodyPr rtlCol="0" anchor="ctr"/>
            <a:lstStyle/>
            <a:p>
              <a:endParaRPr lang="sv-SE"/>
            </a:p>
          </p:txBody>
        </p:sp>
      </p:grpSp>
      <p:grpSp>
        <p:nvGrpSpPr>
          <p:cNvPr id="369" name="Group 368">
            <a:extLst>
              <a:ext uri="{FF2B5EF4-FFF2-40B4-BE49-F238E27FC236}">
                <a16:creationId xmlns:a16="http://schemas.microsoft.com/office/drawing/2014/main" id="{4A0C5340-0FAE-1EC7-C64D-28E04905280F}"/>
              </a:ext>
            </a:extLst>
          </p:cNvPr>
          <p:cNvGrpSpPr/>
          <p:nvPr/>
        </p:nvGrpSpPr>
        <p:grpSpPr>
          <a:xfrm>
            <a:off x="5903304" y="2725782"/>
            <a:ext cx="80711" cy="346199"/>
            <a:chOff x="5812501" y="2808617"/>
            <a:chExt cx="80711" cy="346199"/>
          </a:xfrm>
        </p:grpSpPr>
        <p:sp>
          <p:nvSpPr>
            <p:cNvPr id="312" name="Freeform 311">
              <a:extLst>
                <a:ext uri="{FF2B5EF4-FFF2-40B4-BE49-F238E27FC236}">
                  <a16:creationId xmlns:a16="http://schemas.microsoft.com/office/drawing/2014/main" id="{B37FDF27-154E-9BE8-BD98-B86899D5EB72}"/>
                </a:ext>
              </a:extLst>
            </p:cNvPr>
            <p:cNvSpPr/>
            <p:nvPr/>
          </p:nvSpPr>
          <p:spPr>
            <a:xfrm>
              <a:off x="5852857" y="2808617"/>
              <a:ext cx="0" cy="345425"/>
            </a:xfrm>
            <a:custGeom>
              <a:avLst/>
              <a:gdLst>
                <a:gd name="connsiteX0" fmla="*/ 0 w 5520"/>
                <a:gd name="connsiteY0" fmla="*/ 345426 h 345425"/>
                <a:gd name="connsiteX1" fmla="*/ 0 w 5520"/>
                <a:gd name="connsiteY1" fmla="*/ 0 h 345425"/>
              </a:gdLst>
              <a:ahLst/>
              <a:cxnLst>
                <a:cxn ang="0">
                  <a:pos x="connsiteX0" y="connsiteY0"/>
                </a:cxn>
                <a:cxn ang="0">
                  <a:pos x="connsiteX1" y="connsiteY1"/>
                </a:cxn>
              </a:cxnLst>
              <a:rect l="l" t="t" r="r" b="b"/>
              <a:pathLst>
                <a:path w="5520" h="345425">
                  <a:moveTo>
                    <a:pt x="0" y="345426"/>
                  </a:moveTo>
                  <a:lnTo>
                    <a:pt x="0" y="0"/>
                  </a:lnTo>
                </a:path>
              </a:pathLst>
            </a:custGeom>
            <a:ln w="15875" cap="flat">
              <a:solidFill>
                <a:srgbClr val="FFFFFF"/>
              </a:solidFill>
              <a:prstDash val="solid"/>
              <a:miter/>
            </a:ln>
          </p:spPr>
          <p:txBody>
            <a:bodyPr rtlCol="0" anchor="ctr"/>
            <a:lstStyle/>
            <a:p>
              <a:endParaRPr lang="sv-SE"/>
            </a:p>
          </p:txBody>
        </p:sp>
        <p:sp>
          <p:nvSpPr>
            <p:cNvPr id="313" name="Freeform 312">
              <a:extLst>
                <a:ext uri="{FF2B5EF4-FFF2-40B4-BE49-F238E27FC236}">
                  <a16:creationId xmlns:a16="http://schemas.microsoft.com/office/drawing/2014/main" id="{C50C0740-FFD2-5485-F801-ECF68DEF7E86}"/>
                </a:ext>
              </a:extLst>
            </p:cNvPr>
            <p:cNvSpPr/>
            <p:nvPr/>
          </p:nvSpPr>
          <p:spPr>
            <a:xfrm>
              <a:off x="5812501" y="3111424"/>
              <a:ext cx="80711" cy="43392"/>
            </a:xfrm>
            <a:custGeom>
              <a:avLst/>
              <a:gdLst>
                <a:gd name="connsiteX0" fmla="*/ 80712 w 80711"/>
                <a:gd name="connsiteY0" fmla="*/ 0 h 43392"/>
                <a:gd name="connsiteX1" fmla="*/ 40356 w 80711"/>
                <a:gd name="connsiteY1" fmla="*/ 43392 h 43392"/>
                <a:gd name="connsiteX2" fmla="*/ 0 w 80711"/>
                <a:gd name="connsiteY2" fmla="*/ 0 h 43392"/>
              </a:gdLst>
              <a:ahLst/>
              <a:cxnLst>
                <a:cxn ang="0">
                  <a:pos x="connsiteX0" y="connsiteY0"/>
                </a:cxn>
                <a:cxn ang="0">
                  <a:pos x="connsiteX1" y="connsiteY1"/>
                </a:cxn>
                <a:cxn ang="0">
                  <a:pos x="connsiteX2" y="connsiteY2"/>
                </a:cxn>
              </a:cxnLst>
              <a:rect l="l" t="t" r="r" b="b"/>
              <a:pathLst>
                <a:path w="80711" h="43392">
                  <a:moveTo>
                    <a:pt x="80712" y="0"/>
                  </a:moveTo>
                  <a:lnTo>
                    <a:pt x="40356" y="43392"/>
                  </a:lnTo>
                  <a:lnTo>
                    <a:pt x="0" y="0"/>
                  </a:lnTo>
                </a:path>
              </a:pathLst>
            </a:custGeom>
            <a:noFill/>
            <a:ln w="15875" cap="flat">
              <a:solidFill>
                <a:srgbClr val="FFFFFF"/>
              </a:solidFill>
              <a:prstDash val="solid"/>
              <a:miter/>
            </a:ln>
          </p:spPr>
          <p:txBody>
            <a:bodyPr rtlCol="0" anchor="ctr"/>
            <a:lstStyle/>
            <a:p>
              <a:endParaRPr lang="sv-SE"/>
            </a:p>
          </p:txBody>
        </p:sp>
      </p:grpSp>
      <p:grpSp>
        <p:nvGrpSpPr>
          <p:cNvPr id="368" name="Group 367">
            <a:extLst>
              <a:ext uri="{FF2B5EF4-FFF2-40B4-BE49-F238E27FC236}">
                <a16:creationId xmlns:a16="http://schemas.microsoft.com/office/drawing/2014/main" id="{A81E182C-2CF6-699D-79C0-B605B9D88CF3}"/>
              </a:ext>
            </a:extLst>
          </p:cNvPr>
          <p:cNvGrpSpPr/>
          <p:nvPr/>
        </p:nvGrpSpPr>
        <p:grpSpPr>
          <a:xfrm flipH="1">
            <a:off x="4571685" y="3680821"/>
            <a:ext cx="346253" cy="80711"/>
            <a:chOff x="4571685" y="3680821"/>
            <a:chExt cx="346253" cy="80711"/>
          </a:xfrm>
        </p:grpSpPr>
        <p:sp>
          <p:nvSpPr>
            <p:cNvPr id="314" name="Freeform 313">
              <a:extLst>
                <a:ext uri="{FF2B5EF4-FFF2-40B4-BE49-F238E27FC236}">
                  <a16:creationId xmlns:a16="http://schemas.microsoft.com/office/drawing/2014/main" id="{E25ABAFD-6C01-B97A-07DB-842320A89540}"/>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DAA48"/>
              </a:solidFill>
              <a:prstDash val="solid"/>
              <a:miter/>
            </a:ln>
          </p:spPr>
          <p:txBody>
            <a:bodyPr rtlCol="0" anchor="ctr"/>
            <a:lstStyle/>
            <a:p>
              <a:endParaRPr lang="sv-SE"/>
            </a:p>
          </p:txBody>
        </p:sp>
        <p:sp>
          <p:nvSpPr>
            <p:cNvPr id="315" name="Freeform 314">
              <a:extLst>
                <a:ext uri="{FF2B5EF4-FFF2-40B4-BE49-F238E27FC236}">
                  <a16:creationId xmlns:a16="http://schemas.microsoft.com/office/drawing/2014/main" id="{A2FC5384-634F-91E3-4657-AE0DAC799AE1}"/>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DAA48"/>
              </a:solidFill>
              <a:prstDash val="solid"/>
              <a:miter/>
            </a:ln>
          </p:spPr>
          <p:txBody>
            <a:bodyPr rtlCol="0" anchor="ctr"/>
            <a:lstStyle/>
            <a:p>
              <a:endParaRPr lang="sv-SE"/>
            </a:p>
          </p:txBody>
        </p:sp>
      </p:grpSp>
      <p:sp>
        <p:nvSpPr>
          <p:cNvPr id="318" name="!!Line2" hidden="1">
            <a:extLst>
              <a:ext uri="{FF2B5EF4-FFF2-40B4-BE49-F238E27FC236}">
                <a16:creationId xmlns:a16="http://schemas.microsoft.com/office/drawing/2014/main" id="{8A78D81B-5C5F-ED6B-EB1E-2C0E041564E1}"/>
              </a:ext>
            </a:extLst>
          </p:cNvPr>
          <p:cNvSpPr/>
          <p:nvPr/>
        </p:nvSpPr>
        <p:spPr>
          <a:xfrm>
            <a:off x="2883588" y="3919809"/>
            <a:ext cx="4312989" cy="1465229"/>
          </a:xfrm>
          <a:custGeom>
            <a:avLst/>
            <a:gdLst>
              <a:gd name="connsiteX0" fmla="*/ 4312989 w 4312989"/>
              <a:gd name="connsiteY0" fmla="*/ 0 h 1465229"/>
              <a:gd name="connsiteX1" fmla="*/ 102849 w 4312989"/>
              <a:gd name="connsiteY1" fmla="*/ 0 h 1465229"/>
              <a:gd name="connsiteX2" fmla="*/ 0 w 4312989"/>
              <a:gd name="connsiteY2" fmla="*/ 102794 h 1465229"/>
              <a:gd name="connsiteX3" fmla="*/ 0 w 4312989"/>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4312989" h="1465229">
                <a:moveTo>
                  <a:pt x="4312989" y="0"/>
                </a:moveTo>
                <a:lnTo>
                  <a:pt x="102849" y="0"/>
                </a:lnTo>
                <a:lnTo>
                  <a:pt x="0" y="102794"/>
                </a:lnTo>
                <a:lnTo>
                  <a:pt x="0" y="1465229"/>
                </a:lnTo>
              </a:path>
            </a:pathLst>
          </a:custGeom>
          <a:noFill/>
          <a:ln w="22066" cap="rnd">
            <a:solidFill>
              <a:srgbClr val="ED1C24"/>
            </a:solidFill>
            <a:prstDash val="solid"/>
            <a:miter/>
          </a:ln>
        </p:spPr>
        <p:txBody>
          <a:bodyPr rtlCol="0" anchor="ctr"/>
          <a:lstStyle/>
          <a:p>
            <a:endParaRPr lang="sv-SE"/>
          </a:p>
        </p:txBody>
      </p:sp>
      <p:sp>
        <p:nvSpPr>
          <p:cNvPr id="319" name="!!Line3" hidden="1">
            <a:extLst>
              <a:ext uri="{FF2B5EF4-FFF2-40B4-BE49-F238E27FC236}">
                <a16:creationId xmlns:a16="http://schemas.microsoft.com/office/drawing/2014/main" id="{02A2ED84-844C-5781-91EA-BB146D53A5AB}"/>
              </a:ext>
            </a:extLst>
          </p:cNvPr>
          <p:cNvSpPr/>
          <p:nvPr/>
        </p:nvSpPr>
        <p:spPr>
          <a:xfrm>
            <a:off x="2883588" y="3919809"/>
            <a:ext cx="6201043" cy="1465229"/>
          </a:xfrm>
          <a:custGeom>
            <a:avLst/>
            <a:gdLst>
              <a:gd name="connsiteX0" fmla="*/ 6201043 w 6201043"/>
              <a:gd name="connsiteY0" fmla="*/ 0 h 1465229"/>
              <a:gd name="connsiteX1" fmla="*/ 102849 w 6201043"/>
              <a:gd name="connsiteY1" fmla="*/ 0 h 1465229"/>
              <a:gd name="connsiteX2" fmla="*/ 0 w 6201043"/>
              <a:gd name="connsiteY2" fmla="*/ 102794 h 1465229"/>
              <a:gd name="connsiteX3" fmla="*/ 0 w 6201043"/>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6201043" h="1465229">
                <a:moveTo>
                  <a:pt x="6201043" y="0"/>
                </a:moveTo>
                <a:lnTo>
                  <a:pt x="102849" y="0"/>
                </a:lnTo>
                <a:lnTo>
                  <a:pt x="0" y="102794"/>
                </a:lnTo>
                <a:lnTo>
                  <a:pt x="0" y="1465229"/>
                </a:lnTo>
              </a:path>
            </a:pathLst>
          </a:custGeom>
          <a:noFill/>
          <a:ln w="22066" cap="rnd">
            <a:solidFill>
              <a:srgbClr val="3DEA1F"/>
            </a:solidFill>
            <a:prstDash val="solid"/>
            <a:miter/>
          </a:ln>
        </p:spPr>
        <p:txBody>
          <a:bodyPr rtlCol="0" anchor="ctr"/>
          <a:lstStyle/>
          <a:p>
            <a:endParaRPr lang="sv-SE"/>
          </a:p>
        </p:txBody>
      </p:sp>
      <p:grpSp>
        <p:nvGrpSpPr>
          <p:cNvPr id="323" name="!!Grid">
            <a:extLst>
              <a:ext uri="{FF2B5EF4-FFF2-40B4-BE49-F238E27FC236}">
                <a16:creationId xmlns:a16="http://schemas.microsoft.com/office/drawing/2014/main" id="{2A46C2DA-892C-E79B-5214-5EF210B87109}"/>
              </a:ext>
            </a:extLst>
          </p:cNvPr>
          <p:cNvGrpSpPr/>
          <p:nvPr/>
        </p:nvGrpSpPr>
        <p:grpSpPr>
          <a:xfrm>
            <a:off x="4727239" y="2098424"/>
            <a:ext cx="554314" cy="656022"/>
            <a:chOff x="3914104" y="2396347"/>
            <a:chExt cx="657114" cy="777685"/>
          </a:xfrm>
        </p:grpSpPr>
        <p:sp>
          <p:nvSpPr>
            <p:cNvPr id="324" name="Freeform 323">
              <a:extLst>
                <a:ext uri="{FF2B5EF4-FFF2-40B4-BE49-F238E27FC236}">
                  <a16:creationId xmlns:a16="http://schemas.microsoft.com/office/drawing/2014/main" id="{3B077A28-A940-483B-8AAA-4BF946C93954}"/>
                </a:ext>
              </a:extLst>
            </p:cNvPr>
            <p:cNvSpPr/>
            <p:nvPr/>
          </p:nvSpPr>
          <p:spPr>
            <a:xfrm>
              <a:off x="3914104" y="2474150"/>
              <a:ext cx="657114" cy="84466"/>
            </a:xfrm>
            <a:custGeom>
              <a:avLst/>
              <a:gdLst>
                <a:gd name="connsiteX0" fmla="*/ 360171 w 700395"/>
                <a:gd name="connsiteY0" fmla="*/ 90029 h 90029"/>
                <a:gd name="connsiteX1" fmla="*/ 700395 w 700395"/>
                <a:gd name="connsiteY1" fmla="*/ 90029 h 90029"/>
                <a:gd name="connsiteX2" fmla="*/ 533345 w 700395"/>
                <a:gd name="connsiteY2" fmla="*/ 0 h 90029"/>
                <a:gd name="connsiteX3" fmla="*/ 360171 w 700395"/>
                <a:gd name="connsiteY3" fmla="*/ 0 h 90029"/>
                <a:gd name="connsiteX4" fmla="*/ 340224 w 700395"/>
                <a:gd name="connsiteY4" fmla="*/ 0 h 90029"/>
                <a:gd name="connsiteX5" fmla="*/ 167050 w 700395"/>
                <a:gd name="connsiteY5" fmla="*/ 0 h 90029"/>
                <a:gd name="connsiteX6" fmla="*/ 0 w 700395"/>
                <a:gd name="connsiteY6" fmla="*/ 90029 h 90029"/>
                <a:gd name="connsiteX7" fmla="*/ 340224 w 700395"/>
                <a:gd name="connsiteY7" fmla="*/ 90029 h 90029"/>
                <a:gd name="connsiteX8" fmla="*/ 360171 w 700395"/>
                <a:gd name="connsiteY8" fmla="*/ 90029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395" h="90029">
                  <a:moveTo>
                    <a:pt x="360171" y="90029"/>
                  </a:moveTo>
                  <a:lnTo>
                    <a:pt x="700395" y="90029"/>
                  </a:lnTo>
                  <a:lnTo>
                    <a:pt x="533345" y="0"/>
                  </a:lnTo>
                  <a:lnTo>
                    <a:pt x="360171" y="0"/>
                  </a:lnTo>
                  <a:lnTo>
                    <a:pt x="340224" y="0"/>
                  </a:lnTo>
                  <a:lnTo>
                    <a:pt x="167050" y="0"/>
                  </a:lnTo>
                  <a:lnTo>
                    <a:pt x="0" y="90029"/>
                  </a:lnTo>
                  <a:lnTo>
                    <a:pt x="340224" y="90029"/>
                  </a:lnTo>
                  <a:lnTo>
                    <a:pt x="360171" y="90029"/>
                  </a:lnTo>
                  <a:close/>
                </a:path>
              </a:pathLst>
            </a:custGeom>
            <a:noFill/>
            <a:ln w="9525" cap="rnd">
              <a:solidFill>
                <a:srgbClr val="FFFFFF"/>
              </a:solidFill>
              <a:prstDash val="solid"/>
              <a:bevel/>
            </a:ln>
          </p:spPr>
          <p:txBody>
            <a:bodyPr rtlCol="0" anchor="ctr"/>
            <a:lstStyle/>
            <a:p>
              <a:endParaRPr lang="sv-SE"/>
            </a:p>
          </p:txBody>
        </p:sp>
        <p:sp>
          <p:nvSpPr>
            <p:cNvPr id="325" name="Freeform 324">
              <a:extLst>
                <a:ext uri="{FF2B5EF4-FFF2-40B4-BE49-F238E27FC236}">
                  <a16:creationId xmlns:a16="http://schemas.microsoft.com/office/drawing/2014/main" id="{04DF6EF1-3137-68F2-66EA-08783937A7F8}"/>
                </a:ext>
              </a:extLst>
            </p:cNvPr>
            <p:cNvSpPr/>
            <p:nvPr/>
          </p:nvSpPr>
          <p:spPr>
            <a:xfrm>
              <a:off x="4071085" y="2474151"/>
              <a:ext cx="162473" cy="84466"/>
            </a:xfrm>
            <a:custGeom>
              <a:avLst/>
              <a:gdLst>
                <a:gd name="connsiteX0" fmla="*/ 0 w 173174"/>
                <a:gd name="connsiteY0" fmla="*/ 0 h 90029"/>
                <a:gd name="connsiteX1" fmla="*/ 173175 w 173174"/>
                <a:gd name="connsiteY1" fmla="*/ 90029 h 90029"/>
              </a:gdLst>
              <a:ahLst/>
              <a:cxnLst>
                <a:cxn ang="0">
                  <a:pos x="connsiteX0" y="connsiteY0"/>
                </a:cxn>
                <a:cxn ang="0">
                  <a:pos x="connsiteX1" y="connsiteY1"/>
                </a:cxn>
              </a:cxnLst>
              <a:rect l="l" t="t" r="r" b="b"/>
              <a:pathLst>
                <a:path w="173174" h="90029">
                  <a:moveTo>
                    <a:pt x="0" y="0"/>
                  </a:moveTo>
                  <a:lnTo>
                    <a:pt x="173175" y="90029"/>
                  </a:lnTo>
                </a:path>
              </a:pathLst>
            </a:custGeom>
            <a:ln w="9525" cap="rnd">
              <a:solidFill>
                <a:srgbClr val="FFFFFF"/>
              </a:solidFill>
              <a:prstDash val="solid"/>
              <a:bevel/>
            </a:ln>
          </p:spPr>
          <p:txBody>
            <a:bodyPr rtlCol="0" anchor="ctr"/>
            <a:lstStyle/>
            <a:p>
              <a:endParaRPr lang="sv-SE"/>
            </a:p>
          </p:txBody>
        </p:sp>
        <p:sp>
          <p:nvSpPr>
            <p:cNvPr id="326" name="Freeform 325">
              <a:extLst>
                <a:ext uri="{FF2B5EF4-FFF2-40B4-BE49-F238E27FC236}">
                  <a16:creationId xmlns:a16="http://schemas.microsoft.com/office/drawing/2014/main" id="{FD036ED5-9BF6-3C47-CB32-44EEAAC45AAB}"/>
                </a:ext>
              </a:extLst>
            </p:cNvPr>
            <p:cNvSpPr/>
            <p:nvPr/>
          </p:nvSpPr>
          <p:spPr>
            <a:xfrm>
              <a:off x="4251764" y="2474151"/>
              <a:ext cx="162473" cy="84466"/>
            </a:xfrm>
            <a:custGeom>
              <a:avLst/>
              <a:gdLst>
                <a:gd name="connsiteX0" fmla="*/ 173175 w 173174"/>
                <a:gd name="connsiteY0" fmla="*/ 0 h 90029"/>
                <a:gd name="connsiteX1" fmla="*/ 0 w 173174"/>
                <a:gd name="connsiteY1" fmla="*/ 90029 h 90029"/>
              </a:gdLst>
              <a:ahLst/>
              <a:cxnLst>
                <a:cxn ang="0">
                  <a:pos x="connsiteX0" y="connsiteY0"/>
                </a:cxn>
                <a:cxn ang="0">
                  <a:pos x="connsiteX1" y="connsiteY1"/>
                </a:cxn>
              </a:cxnLst>
              <a:rect l="l" t="t" r="r" b="b"/>
              <a:pathLst>
                <a:path w="173174" h="90029">
                  <a:moveTo>
                    <a:pt x="173175" y="0"/>
                  </a:moveTo>
                  <a:lnTo>
                    <a:pt x="0" y="90029"/>
                  </a:lnTo>
                </a:path>
              </a:pathLst>
            </a:custGeom>
            <a:ln w="9525" cap="rnd">
              <a:solidFill>
                <a:srgbClr val="FFFFFF"/>
              </a:solidFill>
              <a:prstDash val="solid"/>
              <a:bevel/>
            </a:ln>
          </p:spPr>
          <p:txBody>
            <a:bodyPr rtlCol="0" anchor="ctr"/>
            <a:lstStyle/>
            <a:p>
              <a:endParaRPr lang="sv-SE"/>
            </a:p>
          </p:txBody>
        </p:sp>
        <p:sp>
          <p:nvSpPr>
            <p:cNvPr id="327" name="Freeform 326">
              <a:extLst>
                <a:ext uri="{FF2B5EF4-FFF2-40B4-BE49-F238E27FC236}">
                  <a16:creationId xmlns:a16="http://schemas.microsoft.com/office/drawing/2014/main" id="{7B043FF1-EAAF-877C-5AC4-F4627A80B9BE}"/>
                </a:ext>
              </a:extLst>
            </p:cNvPr>
            <p:cNvSpPr/>
            <p:nvPr/>
          </p:nvSpPr>
          <p:spPr>
            <a:xfrm>
              <a:off x="4071949"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rgbClr val="FFFFFF"/>
              </a:solidFill>
              <a:prstDash val="solid"/>
              <a:bevel/>
            </a:ln>
          </p:spPr>
          <p:txBody>
            <a:bodyPr rtlCol="0" anchor="ctr"/>
            <a:lstStyle/>
            <a:p>
              <a:endParaRPr lang="sv-SE"/>
            </a:p>
          </p:txBody>
        </p:sp>
        <p:sp>
          <p:nvSpPr>
            <p:cNvPr id="328" name="Freeform 327">
              <a:extLst>
                <a:ext uri="{FF2B5EF4-FFF2-40B4-BE49-F238E27FC236}">
                  <a16:creationId xmlns:a16="http://schemas.microsoft.com/office/drawing/2014/main" id="{361B711D-3788-1B4A-565C-81E896F81F1F}"/>
                </a:ext>
              </a:extLst>
            </p:cNvPr>
            <p:cNvSpPr/>
            <p:nvPr/>
          </p:nvSpPr>
          <p:spPr>
            <a:xfrm>
              <a:off x="4413372"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rgbClr val="FFFFFF"/>
              </a:solidFill>
              <a:prstDash val="solid"/>
              <a:bevel/>
            </a:ln>
          </p:spPr>
          <p:txBody>
            <a:bodyPr rtlCol="0" anchor="ctr"/>
            <a:lstStyle/>
            <a:p>
              <a:endParaRPr lang="sv-SE"/>
            </a:p>
          </p:txBody>
        </p:sp>
        <p:sp>
          <p:nvSpPr>
            <p:cNvPr id="329" name="Freeform 328">
              <a:extLst>
                <a:ext uri="{FF2B5EF4-FFF2-40B4-BE49-F238E27FC236}">
                  <a16:creationId xmlns:a16="http://schemas.microsoft.com/office/drawing/2014/main" id="{C54A8681-2883-8F80-B837-9D3FA3E8FEF5}"/>
                </a:ext>
              </a:extLst>
            </p:cNvPr>
            <p:cNvSpPr/>
            <p:nvPr/>
          </p:nvSpPr>
          <p:spPr>
            <a:xfrm>
              <a:off x="4158959"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rgbClr val="FFFFFF"/>
              </a:solidFill>
              <a:prstDash val="solid"/>
              <a:bevel/>
            </a:ln>
          </p:spPr>
          <p:txBody>
            <a:bodyPr rtlCol="0" anchor="ctr"/>
            <a:lstStyle/>
            <a:p>
              <a:endParaRPr lang="sv-SE"/>
            </a:p>
          </p:txBody>
        </p:sp>
        <p:sp>
          <p:nvSpPr>
            <p:cNvPr id="330" name="Freeform 329">
              <a:extLst>
                <a:ext uri="{FF2B5EF4-FFF2-40B4-BE49-F238E27FC236}">
                  <a16:creationId xmlns:a16="http://schemas.microsoft.com/office/drawing/2014/main" id="{7955E762-B817-0235-9E26-64D4E5084C06}"/>
                </a:ext>
              </a:extLst>
            </p:cNvPr>
            <p:cNvSpPr/>
            <p:nvPr/>
          </p:nvSpPr>
          <p:spPr>
            <a:xfrm>
              <a:off x="4326364"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rgbClr val="FFFFFF"/>
              </a:solidFill>
              <a:prstDash val="solid"/>
              <a:bevel/>
            </a:ln>
          </p:spPr>
          <p:txBody>
            <a:bodyPr rtlCol="0" anchor="ctr"/>
            <a:lstStyle/>
            <a:p>
              <a:endParaRPr lang="sv-SE"/>
            </a:p>
          </p:txBody>
        </p:sp>
        <p:sp>
          <p:nvSpPr>
            <p:cNvPr id="331" name="Freeform 330">
              <a:extLst>
                <a:ext uri="{FF2B5EF4-FFF2-40B4-BE49-F238E27FC236}">
                  <a16:creationId xmlns:a16="http://schemas.microsoft.com/office/drawing/2014/main" id="{F2188DFA-A899-027D-0C05-99F5500FA8BE}"/>
                </a:ext>
              </a:extLst>
            </p:cNvPr>
            <p:cNvSpPr/>
            <p:nvPr/>
          </p:nvSpPr>
          <p:spPr>
            <a:xfrm>
              <a:off x="424266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rgbClr val="FFFFFF"/>
              </a:solidFill>
              <a:prstDash val="solid"/>
              <a:bevel/>
            </a:ln>
          </p:spPr>
          <p:txBody>
            <a:bodyPr rtlCol="0" anchor="ctr"/>
            <a:lstStyle/>
            <a:p>
              <a:endParaRPr lang="sv-SE"/>
            </a:p>
          </p:txBody>
        </p:sp>
        <p:sp>
          <p:nvSpPr>
            <p:cNvPr id="332" name="Freeform 331">
              <a:extLst>
                <a:ext uri="{FF2B5EF4-FFF2-40B4-BE49-F238E27FC236}">
                  <a16:creationId xmlns:a16="http://schemas.microsoft.com/office/drawing/2014/main" id="{25DFFA31-5113-5881-2BD6-7E655C580832}"/>
                </a:ext>
              </a:extLst>
            </p:cNvPr>
            <p:cNvSpPr/>
            <p:nvPr/>
          </p:nvSpPr>
          <p:spPr>
            <a:xfrm>
              <a:off x="4225066" y="2660100"/>
              <a:ext cx="35189" cy="0"/>
            </a:xfrm>
            <a:custGeom>
              <a:avLst/>
              <a:gdLst>
                <a:gd name="connsiteX0" fmla="*/ 0 w 37507"/>
                <a:gd name="connsiteY0" fmla="*/ 0 h 5420"/>
                <a:gd name="connsiteX1" fmla="*/ 37508 w 37507"/>
                <a:gd name="connsiteY1" fmla="*/ 0 h 5420"/>
              </a:gdLst>
              <a:ahLst/>
              <a:cxnLst>
                <a:cxn ang="0">
                  <a:pos x="connsiteX0" y="connsiteY0"/>
                </a:cxn>
                <a:cxn ang="0">
                  <a:pos x="connsiteX1" y="connsiteY1"/>
                </a:cxn>
              </a:cxnLst>
              <a:rect l="l" t="t" r="r" b="b"/>
              <a:pathLst>
                <a:path w="37507" h="5420">
                  <a:moveTo>
                    <a:pt x="0" y="0"/>
                  </a:moveTo>
                  <a:lnTo>
                    <a:pt x="37508" y="0"/>
                  </a:lnTo>
                </a:path>
              </a:pathLst>
            </a:custGeom>
            <a:ln w="9525" cap="rnd">
              <a:solidFill>
                <a:srgbClr val="FFFFFF"/>
              </a:solidFill>
              <a:prstDash val="solid"/>
              <a:bevel/>
            </a:ln>
          </p:spPr>
          <p:txBody>
            <a:bodyPr rtlCol="0" anchor="ctr"/>
            <a:lstStyle/>
            <a:p>
              <a:endParaRPr lang="sv-SE"/>
            </a:p>
          </p:txBody>
        </p:sp>
        <p:sp>
          <p:nvSpPr>
            <p:cNvPr id="333" name="Freeform 332">
              <a:extLst>
                <a:ext uri="{FF2B5EF4-FFF2-40B4-BE49-F238E27FC236}">
                  <a16:creationId xmlns:a16="http://schemas.microsoft.com/office/drawing/2014/main" id="{2A53F2D7-F05A-5E03-7229-4012CF002992}"/>
                </a:ext>
              </a:extLst>
            </p:cNvPr>
            <p:cNvSpPr/>
            <p:nvPr/>
          </p:nvSpPr>
          <p:spPr>
            <a:xfrm>
              <a:off x="4234423" y="2640896"/>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4" name="Freeform 333">
              <a:extLst>
                <a:ext uri="{FF2B5EF4-FFF2-40B4-BE49-F238E27FC236}">
                  <a16:creationId xmlns:a16="http://schemas.microsoft.com/office/drawing/2014/main" id="{8FC52FC5-795E-C807-5DA3-5EEF27C0FB10}"/>
                </a:ext>
              </a:extLst>
            </p:cNvPr>
            <p:cNvSpPr/>
            <p:nvPr/>
          </p:nvSpPr>
          <p:spPr>
            <a:xfrm>
              <a:off x="4234423" y="2624725"/>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5" name="Freeform 334">
              <a:extLst>
                <a:ext uri="{FF2B5EF4-FFF2-40B4-BE49-F238E27FC236}">
                  <a16:creationId xmlns:a16="http://schemas.microsoft.com/office/drawing/2014/main" id="{3869E005-A792-12A2-CE13-986A86F12013}"/>
                </a:ext>
              </a:extLst>
            </p:cNvPr>
            <p:cNvSpPr/>
            <p:nvPr/>
          </p:nvSpPr>
          <p:spPr>
            <a:xfrm>
              <a:off x="4234423" y="2608554"/>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6" name="Freeform 335">
              <a:extLst>
                <a:ext uri="{FF2B5EF4-FFF2-40B4-BE49-F238E27FC236}">
                  <a16:creationId xmlns:a16="http://schemas.microsoft.com/office/drawing/2014/main" id="{CFC5DB11-C37E-D5CB-9112-0B28D78F4D22}"/>
                </a:ext>
              </a:extLst>
            </p:cNvPr>
            <p:cNvSpPr/>
            <p:nvPr/>
          </p:nvSpPr>
          <p:spPr>
            <a:xfrm>
              <a:off x="4234423" y="2592383"/>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7" name="Freeform 336">
              <a:extLst>
                <a:ext uri="{FF2B5EF4-FFF2-40B4-BE49-F238E27FC236}">
                  <a16:creationId xmlns:a16="http://schemas.microsoft.com/office/drawing/2014/main" id="{71574961-14E1-BCB5-D88E-521345487D14}"/>
                </a:ext>
              </a:extLst>
            </p:cNvPr>
            <p:cNvSpPr/>
            <p:nvPr/>
          </p:nvSpPr>
          <p:spPr>
            <a:xfrm>
              <a:off x="4551691" y="2560295"/>
              <a:ext cx="0" cy="97992"/>
            </a:xfrm>
            <a:custGeom>
              <a:avLst/>
              <a:gdLst>
                <a:gd name="connsiteX0" fmla="*/ 0 w 5420"/>
                <a:gd name="connsiteY0" fmla="*/ 0 h 104446"/>
                <a:gd name="connsiteX1" fmla="*/ 0 w 5420"/>
                <a:gd name="connsiteY1" fmla="*/ 104447 h 104446"/>
              </a:gdLst>
              <a:ahLst/>
              <a:cxnLst>
                <a:cxn ang="0">
                  <a:pos x="connsiteX0" y="connsiteY0"/>
                </a:cxn>
                <a:cxn ang="0">
                  <a:pos x="connsiteX1" y="connsiteY1"/>
                </a:cxn>
              </a:cxnLst>
              <a:rect l="l" t="t" r="r" b="b"/>
              <a:pathLst>
                <a:path w="5420" h="104446">
                  <a:moveTo>
                    <a:pt x="0" y="0"/>
                  </a:moveTo>
                  <a:lnTo>
                    <a:pt x="0" y="104447"/>
                  </a:lnTo>
                </a:path>
              </a:pathLst>
            </a:custGeom>
            <a:ln w="9525" cap="sq">
              <a:solidFill>
                <a:srgbClr val="FFFFFF"/>
              </a:solidFill>
              <a:prstDash val="solid"/>
              <a:bevel/>
            </a:ln>
          </p:spPr>
          <p:txBody>
            <a:bodyPr rtlCol="0" anchor="ctr"/>
            <a:lstStyle/>
            <a:p>
              <a:endParaRPr lang="sv-SE"/>
            </a:p>
          </p:txBody>
        </p:sp>
        <p:sp>
          <p:nvSpPr>
            <p:cNvPr id="338" name="Freeform 337">
              <a:extLst>
                <a:ext uri="{FF2B5EF4-FFF2-40B4-BE49-F238E27FC236}">
                  <a16:creationId xmlns:a16="http://schemas.microsoft.com/office/drawing/2014/main" id="{6F50765E-C72B-D510-04AB-8DB8C2551982}"/>
                </a:ext>
              </a:extLst>
            </p:cNvPr>
            <p:cNvSpPr/>
            <p:nvPr/>
          </p:nvSpPr>
          <p:spPr>
            <a:xfrm>
              <a:off x="4534045"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rgbClr val="FFFFFF"/>
              </a:solidFill>
              <a:prstDash val="solid"/>
              <a:bevel/>
            </a:ln>
          </p:spPr>
          <p:txBody>
            <a:bodyPr rtlCol="0" anchor="ctr"/>
            <a:lstStyle/>
            <a:p>
              <a:endParaRPr lang="sv-SE"/>
            </a:p>
          </p:txBody>
        </p:sp>
        <p:sp>
          <p:nvSpPr>
            <p:cNvPr id="339" name="Freeform 338">
              <a:extLst>
                <a:ext uri="{FF2B5EF4-FFF2-40B4-BE49-F238E27FC236}">
                  <a16:creationId xmlns:a16="http://schemas.microsoft.com/office/drawing/2014/main" id="{276AEF1F-2149-38CC-B9DF-237B66728490}"/>
                </a:ext>
              </a:extLst>
            </p:cNvPr>
            <p:cNvSpPr/>
            <p:nvPr/>
          </p:nvSpPr>
          <p:spPr>
            <a:xfrm>
              <a:off x="4543402"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0" name="Freeform 339">
              <a:extLst>
                <a:ext uri="{FF2B5EF4-FFF2-40B4-BE49-F238E27FC236}">
                  <a16:creationId xmlns:a16="http://schemas.microsoft.com/office/drawing/2014/main" id="{4B9106E2-AA89-156B-88E8-4EF37EBB72B0}"/>
                </a:ext>
              </a:extLst>
            </p:cNvPr>
            <p:cNvSpPr/>
            <p:nvPr/>
          </p:nvSpPr>
          <p:spPr>
            <a:xfrm>
              <a:off x="4543402"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1" name="Freeform 340">
              <a:extLst>
                <a:ext uri="{FF2B5EF4-FFF2-40B4-BE49-F238E27FC236}">
                  <a16:creationId xmlns:a16="http://schemas.microsoft.com/office/drawing/2014/main" id="{32EBDBB0-73A5-8EB5-14C9-5A3D67A91860}"/>
                </a:ext>
              </a:extLst>
            </p:cNvPr>
            <p:cNvSpPr/>
            <p:nvPr/>
          </p:nvSpPr>
          <p:spPr>
            <a:xfrm>
              <a:off x="4543402"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2" name="Freeform 341">
              <a:extLst>
                <a:ext uri="{FF2B5EF4-FFF2-40B4-BE49-F238E27FC236}">
                  <a16:creationId xmlns:a16="http://schemas.microsoft.com/office/drawing/2014/main" id="{DE85F99F-CB20-3386-C1BA-4C50000B4C6B}"/>
                </a:ext>
              </a:extLst>
            </p:cNvPr>
            <p:cNvSpPr/>
            <p:nvPr/>
          </p:nvSpPr>
          <p:spPr>
            <a:xfrm>
              <a:off x="4543402"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3" name="Freeform 342">
              <a:extLst>
                <a:ext uri="{FF2B5EF4-FFF2-40B4-BE49-F238E27FC236}">
                  <a16:creationId xmlns:a16="http://schemas.microsoft.com/office/drawing/2014/main" id="{8F1407C0-9FCE-9452-CD47-A07EB9AB2DE6}"/>
                </a:ext>
              </a:extLst>
            </p:cNvPr>
            <p:cNvSpPr/>
            <p:nvPr/>
          </p:nvSpPr>
          <p:spPr>
            <a:xfrm>
              <a:off x="393363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rgbClr val="FFFFFF"/>
              </a:solidFill>
              <a:prstDash val="solid"/>
              <a:bevel/>
            </a:ln>
          </p:spPr>
          <p:txBody>
            <a:bodyPr rtlCol="0" anchor="ctr"/>
            <a:lstStyle/>
            <a:p>
              <a:endParaRPr lang="sv-SE"/>
            </a:p>
          </p:txBody>
        </p:sp>
        <p:sp>
          <p:nvSpPr>
            <p:cNvPr id="344" name="Freeform 343">
              <a:extLst>
                <a:ext uri="{FF2B5EF4-FFF2-40B4-BE49-F238E27FC236}">
                  <a16:creationId xmlns:a16="http://schemas.microsoft.com/office/drawing/2014/main" id="{A2591479-FB89-83F5-5FD0-2217C9FDAFE9}"/>
                </a:ext>
              </a:extLst>
            </p:cNvPr>
            <p:cNvSpPr/>
            <p:nvPr/>
          </p:nvSpPr>
          <p:spPr>
            <a:xfrm>
              <a:off x="3916037"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rgbClr val="FFFFFF"/>
              </a:solidFill>
              <a:prstDash val="solid"/>
              <a:bevel/>
            </a:ln>
          </p:spPr>
          <p:txBody>
            <a:bodyPr rtlCol="0" anchor="ctr"/>
            <a:lstStyle/>
            <a:p>
              <a:endParaRPr lang="sv-SE"/>
            </a:p>
          </p:txBody>
        </p:sp>
        <p:sp>
          <p:nvSpPr>
            <p:cNvPr id="345" name="Freeform 344">
              <a:extLst>
                <a:ext uri="{FF2B5EF4-FFF2-40B4-BE49-F238E27FC236}">
                  <a16:creationId xmlns:a16="http://schemas.microsoft.com/office/drawing/2014/main" id="{EB94FFE0-7A2E-8BD5-A494-16F339C8023F}"/>
                </a:ext>
              </a:extLst>
            </p:cNvPr>
            <p:cNvSpPr/>
            <p:nvPr/>
          </p:nvSpPr>
          <p:spPr>
            <a:xfrm>
              <a:off x="3925393"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6" name="Freeform 345">
              <a:extLst>
                <a:ext uri="{FF2B5EF4-FFF2-40B4-BE49-F238E27FC236}">
                  <a16:creationId xmlns:a16="http://schemas.microsoft.com/office/drawing/2014/main" id="{05A8831B-B9AF-1215-C06A-553AD1C53C2B}"/>
                </a:ext>
              </a:extLst>
            </p:cNvPr>
            <p:cNvSpPr/>
            <p:nvPr/>
          </p:nvSpPr>
          <p:spPr>
            <a:xfrm>
              <a:off x="3925393"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7" name="Freeform 346">
              <a:extLst>
                <a:ext uri="{FF2B5EF4-FFF2-40B4-BE49-F238E27FC236}">
                  <a16:creationId xmlns:a16="http://schemas.microsoft.com/office/drawing/2014/main" id="{432F8777-A615-CFD0-302C-E42FD4766193}"/>
                </a:ext>
              </a:extLst>
            </p:cNvPr>
            <p:cNvSpPr/>
            <p:nvPr/>
          </p:nvSpPr>
          <p:spPr>
            <a:xfrm>
              <a:off x="3925393"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8" name="Freeform 347">
              <a:extLst>
                <a:ext uri="{FF2B5EF4-FFF2-40B4-BE49-F238E27FC236}">
                  <a16:creationId xmlns:a16="http://schemas.microsoft.com/office/drawing/2014/main" id="{B27145E7-23D6-298A-CAB3-EA432CC244B0}"/>
                </a:ext>
              </a:extLst>
            </p:cNvPr>
            <p:cNvSpPr/>
            <p:nvPr/>
          </p:nvSpPr>
          <p:spPr>
            <a:xfrm>
              <a:off x="3925393"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9" name="Freeform 348">
              <a:extLst>
                <a:ext uri="{FF2B5EF4-FFF2-40B4-BE49-F238E27FC236}">
                  <a16:creationId xmlns:a16="http://schemas.microsoft.com/office/drawing/2014/main" id="{EEF9CC02-23B7-85A6-D603-57A62964B9C2}"/>
                </a:ext>
              </a:extLst>
            </p:cNvPr>
            <p:cNvSpPr/>
            <p:nvPr/>
          </p:nvSpPr>
          <p:spPr>
            <a:xfrm>
              <a:off x="3995874" y="2558463"/>
              <a:ext cx="151184" cy="610636"/>
            </a:xfrm>
            <a:custGeom>
              <a:avLst/>
              <a:gdLst>
                <a:gd name="connsiteX0" fmla="*/ 0 w 161142"/>
                <a:gd name="connsiteY0" fmla="*/ 652210 h 652210"/>
                <a:gd name="connsiteX1" fmla="*/ 29107 w 161142"/>
                <a:gd name="connsiteY1" fmla="*/ 0 h 652210"/>
                <a:gd name="connsiteX2" fmla="*/ 136860 w 161142"/>
                <a:gd name="connsiteY2" fmla="*/ 107699 h 652210"/>
                <a:gd name="connsiteX3" fmla="*/ 20434 w 161142"/>
                <a:gd name="connsiteY3" fmla="*/ 231550 h 652210"/>
                <a:gd name="connsiteX4" fmla="*/ 148567 w 161142"/>
                <a:gd name="connsiteY4" fmla="*/ 364344 h 652210"/>
                <a:gd name="connsiteX5" fmla="*/ 7426 w 161142"/>
                <a:gd name="connsiteY5" fmla="*/ 495675 h 652210"/>
                <a:gd name="connsiteX6" fmla="*/ 161142 w 161142"/>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142" h="652210">
                  <a:moveTo>
                    <a:pt x="0" y="652210"/>
                  </a:moveTo>
                  <a:lnTo>
                    <a:pt x="29107" y="0"/>
                  </a:lnTo>
                  <a:lnTo>
                    <a:pt x="136860" y="107699"/>
                  </a:lnTo>
                  <a:lnTo>
                    <a:pt x="20434" y="231550"/>
                  </a:lnTo>
                  <a:lnTo>
                    <a:pt x="148567" y="364344"/>
                  </a:lnTo>
                  <a:lnTo>
                    <a:pt x="7426" y="495675"/>
                  </a:lnTo>
                  <a:lnTo>
                    <a:pt x="161142" y="648958"/>
                  </a:lnTo>
                </a:path>
              </a:pathLst>
            </a:custGeom>
            <a:noFill/>
            <a:ln w="9525" cap="rnd">
              <a:solidFill>
                <a:srgbClr val="FFFFFF"/>
              </a:solidFill>
              <a:prstDash val="solid"/>
              <a:bevel/>
            </a:ln>
          </p:spPr>
          <p:txBody>
            <a:bodyPr rtlCol="0" anchor="ctr"/>
            <a:lstStyle/>
            <a:p>
              <a:endParaRPr lang="sv-SE"/>
            </a:p>
          </p:txBody>
        </p:sp>
        <p:sp>
          <p:nvSpPr>
            <p:cNvPr id="350" name="Freeform 349">
              <a:extLst>
                <a:ext uri="{FF2B5EF4-FFF2-40B4-BE49-F238E27FC236}">
                  <a16:creationId xmlns:a16="http://schemas.microsoft.com/office/drawing/2014/main" id="{80FCCEB4-E49F-7731-F338-310D4378571B}"/>
                </a:ext>
              </a:extLst>
            </p:cNvPr>
            <p:cNvSpPr/>
            <p:nvPr/>
          </p:nvSpPr>
          <p:spPr>
            <a:xfrm>
              <a:off x="4120717" y="2558463"/>
              <a:ext cx="27307" cy="610636"/>
            </a:xfrm>
            <a:custGeom>
              <a:avLst/>
              <a:gdLst>
                <a:gd name="connsiteX0" fmla="*/ 0 w 29106"/>
                <a:gd name="connsiteY0" fmla="*/ 0 h 652210"/>
                <a:gd name="connsiteX1" fmla="*/ 29106 w 29106"/>
                <a:gd name="connsiteY1" fmla="*/ 652210 h 652210"/>
              </a:gdLst>
              <a:ahLst/>
              <a:cxnLst>
                <a:cxn ang="0">
                  <a:pos x="connsiteX0" y="connsiteY0"/>
                </a:cxn>
                <a:cxn ang="0">
                  <a:pos x="connsiteX1" y="connsiteY1"/>
                </a:cxn>
              </a:cxnLst>
              <a:rect l="l" t="t" r="r" b="b"/>
              <a:pathLst>
                <a:path w="29106" h="652210">
                  <a:moveTo>
                    <a:pt x="0" y="0"/>
                  </a:moveTo>
                  <a:lnTo>
                    <a:pt x="29106" y="652210"/>
                  </a:lnTo>
                </a:path>
              </a:pathLst>
            </a:custGeom>
            <a:ln w="9525" cap="sq">
              <a:solidFill>
                <a:srgbClr val="FFFFFF"/>
              </a:solidFill>
              <a:prstDash val="solid"/>
              <a:bevel/>
            </a:ln>
          </p:spPr>
          <p:txBody>
            <a:bodyPr rtlCol="0" anchor="ctr"/>
            <a:lstStyle/>
            <a:p>
              <a:endParaRPr lang="sv-SE"/>
            </a:p>
          </p:txBody>
        </p:sp>
        <p:sp>
          <p:nvSpPr>
            <p:cNvPr id="351" name="Freeform 350">
              <a:extLst>
                <a:ext uri="{FF2B5EF4-FFF2-40B4-BE49-F238E27FC236}">
                  <a16:creationId xmlns:a16="http://schemas.microsoft.com/office/drawing/2014/main" id="{0F6E39E1-997A-CDAA-D1E4-81831DAC51DC}"/>
                </a:ext>
              </a:extLst>
            </p:cNvPr>
            <p:cNvSpPr/>
            <p:nvPr/>
          </p:nvSpPr>
          <p:spPr>
            <a:xfrm>
              <a:off x="4018610"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rgbClr val="FFFFFF"/>
              </a:solidFill>
              <a:prstDash val="solid"/>
              <a:bevel/>
            </a:ln>
          </p:spPr>
          <p:txBody>
            <a:bodyPr rtlCol="0" anchor="ctr"/>
            <a:lstStyle/>
            <a:p>
              <a:endParaRPr lang="sv-SE"/>
            </a:p>
          </p:txBody>
        </p:sp>
        <p:sp>
          <p:nvSpPr>
            <p:cNvPr id="352" name="Freeform 351">
              <a:extLst>
                <a:ext uri="{FF2B5EF4-FFF2-40B4-BE49-F238E27FC236}">
                  <a16:creationId xmlns:a16="http://schemas.microsoft.com/office/drawing/2014/main" id="{07B06C72-F26C-9990-F9D9-347D22ACB4C0}"/>
                </a:ext>
              </a:extLst>
            </p:cNvPr>
            <p:cNvSpPr/>
            <p:nvPr/>
          </p:nvSpPr>
          <p:spPr>
            <a:xfrm>
              <a:off x="4015045"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rgbClr val="FFFFFF"/>
              </a:solidFill>
              <a:prstDash val="solid"/>
              <a:bevel/>
            </a:ln>
          </p:spPr>
          <p:txBody>
            <a:bodyPr rtlCol="0" anchor="ctr"/>
            <a:lstStyle/>
            <a:p>
              <a:endParaRPr lang="sv-SE"/>
            </a:p>
          </p:txBody>
        </p:sp>
        <p:sp>
          <p:nvSpPr>
            <p:cNvPr id="353" name="Freeform 352">
              <a:extLst>
                <a:ext uri="{FF2B5EF4-FFF2-40B4-BE49-F238E27FC236}">
                  <a16:creationId xmlns:a16="http://schemas.microsoft.com/office/drawing/2014/main" id="{2A912F44-5000-5E63-906B-56C94E6BCE0B}"/>
                </a:ext>
              </a:extLst>
            </p:cNvPr>
            <p:cNvSpPr/>
            <p:nvPr/>
          </p:nvSpPr>
          <p:spPr>
            <a:xfrm>
              <a:off x="4008079"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rgbClr val="FFFFFF"/>
              </a:solidFill>
              <a:prstDash val="solid"/>
              <a:bevel/>
            </a:ln>
          </p:spPr>
          <p:txBody>
            <a:bodyPr rtlCol="0" anchor="ctr"/>
            <a:lstStyle/>
            <a:p>
              <a:endParaRPr lang="sv-SE"/>
            </a:p>
          </p:txBody>
        </p:sp>
        <p:sp>
          <p:nvSpPr>
            <p:cNvPr id="354" name="Freeform 353">
              <a:extLst>
                <a:ext uri="{FF2B5EF4-FFF2-40B4-BE49-F238E27FC236}">
                  <a16:creationId xmlns:a16="http://schemas.microsoft.com/office/drawing/2014/main" id="{B80896C4-1E19-CA9A-DDAA-86D0B992BAAC}"/>
                </a:ext>
              </a:extLst>
            </p:cNvPr>
            <p:cNvSpPr/>
            <p:nvPr/>
          </p:nvSpPr>
          <p:spPr>
            <a:xfrm>
              <a:off x="4002841"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rgbClr val="FFFFFF"/>
              </a:solidFill>
              <a:prstDash val="solid"/>
              <a:bevel/>
            </a:ln>
          </p:spPr>
          <p:txBody>
            <a:bodyPr rtlCol="0" anchor="ctr"/>
            <a:lstStyle/>
            <a:p>
              <a:endParaRPr lang="sv-SE"/>
            </a:p>
          </p:txBody>
        </p:sp>
        <p:sp>
          <p:nvSpPr>
            <p:cNvPr id="355" name="Freeform 354">
              <a:extLst>
                <a:ext uri="{FF2B5EF4-FFF2-40B4-BE49-F238E27FC236}">
                  <a16:creationId xmlns:a16="http://schemas.microsoft.com/office/drawing/2014/main" id="{297D50CD-506C-FB8D-B94C-07D91E7710CF}"/>
                </a:ext>
              </a:extLst>
            </p:cNvPr>
            <p:cNvSpPr/>
            <p:nvPr/>
          </p:nvSpPr>
          <p:spPr>
            <a:xfrm>
              <a:off x="4337297" y="2558463"/>
              <a:ext cx="151133" cy="610636"/>
            </a:xfrm>
            <a:custGeom>
              <a:avLst/>
              <a:gdLst>
                <a:gd name="connsiteX0" fmla="*/ 0 w 161087"/>
                <a:gd name="connsiteY0" fmla="*/ 652210 h 652210"/>
                <a:gd name="connsiteX1" fmla="*/ 29106 w 161087"/>
                <a:gd name="connsiteY1" fmla="*/ 0 h 652210"/>
                <a:gd name="connsiteX2" fmla="*/ 136805 w 161087"/>
                <a:gd name="connsiteY2" fmla="*/ 107699 h 652210"/>
                <a:gd name="connsiteX3" fmla="*/ 20434 w 161087"/>
                <a:gd name="connsiteY3" fmla="*/ 231550 h 652210"/>
                <a:gd name="connsiteX4" fmla="*/ 148513 w 161087"/>
                <a:gd name="connsiteY4" fmla="*/ 364344 h 652210"/>
                <a:gd name="connsiteX5" fmla="*/ 7371 w 161087"/>
                <a:gd name="connsiteY5" fmla="*/ 495675 h 652210"/>
                <a:gd name="connsiteX6" fmla="*/ 161088 w 161087"/>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087" h="652210">
                  <a:moveTo>
                    <a:pt x="0" y="652210"/>
                  </a:moveTo>
                  <a:lnTo>
                    <a:pt x="29106" y="0"/>
                  </a:lnTo>
                  <a:lnTo>
                    <a:pt x="136805" y="107699"/>
                  </a:lnTo>
                  <a:lnTo>
                    <a:pt x="20434" y="231550"/>
                  </a:lnTo>
                  <a:lnTo>
                    <a:pt x="148513" y="364344"/>
                  </a:lnTo>
                  <a:lnTo>
                    <a:pt x="7371" y="495675"/>
                  </a:lnTo>
                  <a:lnTo>
                    <a:pt x="161088" y="648958"/>
                  </a:lnTo>
                </a:path>
              </a:pathLst>
            </a:custGeom>
            <a:noFill/>
            <a:ln w="9525" cap="rnd">
              <a:solidFill>
                <a:srgbClr val="FFFFFF"/>
              </a:solidFill>
              <a:prstDash val="solid"/>
              <a:bevel/>
            </a:ln>
          </p:spPr>
          <p:txBody>
            <a:bodyPr rtlCol="0" anchor="ctr"/>
            <a:lstStyle/>
            <a:p>
              <a:endParaRPr lang="sv-SE"/>
            </a:p>
          </p:txBody>
        </p:sp>
        <p:sp>
          <p:nvSpPr>
            <p:cNvPr id="356" name="Freeform 355">
              <a:extLst>
                <a:ext uri="{FF2B5EF4-FFF2-40B4-BE49-F238E27FC236}">
                  <a16:creationId xmlns:a16="http://schemas.microsoft.com/office/drawing/2014/main" id="{31FB8D4D-2898-388D-37A4-4591860C2B5A}"/>
                </a:ext>
              </a:extLst>
            </p:cNvPr>
            <p:cNvSpPr/>
            <p:nvPr/>
          </p:nvSpPr>
          <p:spPr>
            <a:xfrm>
              <a:off x="4462140" y="2558463"/>
              <a:ext cx="27307" cy="610636"/>
            </a:xfrm>
            <a:custGeom>
              <a:avLst/>
              <a:gdLst>
                <a:gd name="connsiteX0" fmla="*/ 0 w 29106"/>
                <a:gd name="connsiteY0" fmla="*/ 0 h 652210"/>
                <a:gd name="connsiteX1" fmla="*/ 29107 w 29106"/>
                <a:gd name="connsiteY1" fmla="*/ 652210 h 652210"/>
              </a:gdLst>
              <a:ahLst/>
              <a:cxnLst>
                <a:cxn ang="0">
                  <a:pos x="connsiteX0" y="connsiteY0"/>
                </a:cxn>
                <a:cxn ang="0">
                  <a:pos x="connsiteX1" y="connsiteY1"/>
                </a:cxn>
              </a:cxnLst>
              <a:rect l="l" t="t" r="r" b="b"/>
              <a:pathLst>
                <a:path w="29106" h="652210">
                  <a:moveTo>
                    <a:pt x="0" y="0"/>
                  </a:moveTo>
                  <a:lnTo>
                    <a:pt x="29107" y="652210"/>
                  </a:lnTo>
                </a:path>
              </a:pathLst>
            </a:custGeom>
            <a:ln w="9525" cap="sq">
              <a:solidFill>
                <a:srgbClr val="FFFFFF"/>
              </a:solidFill>
              <a:prstDash val="solid"/>
              <a:bevel/>
            </a:ln>
          </p:spPr>
          <p:txBody>
            <a:bodyPr rtlCol="0" anchor="ctr"/>
            <a:lstStyle/>
            <a:p>
              <a:endParaRPr lang="sv-SE" dirty="0"/>
            </a:p>
          </p:txBody>
        </p:sp>
        <p:sp>
          <p:nvSpPr>
            <p:cNvPr id="357" name="Freeform 356">
              <a:extLst>
                <a:ext uri="{FF2B5EF4-FFF2-40B4-BE49-F238E27FC236}">
                  <a16:creationId xmlns:a16="http://schemas.microsoft.com/office/drawing/2014/main" id="{7D18102A-D254-CA7B-FA63-877316429E65}"/>
                </a:ext>
              </a:extLst>
            </p:cNvPr>
            <p:cNvSpPr/>
            <p:nvPr/>
          </p:nvSpPr>
          <p:spPr>
            <a:xfrm>
              <a:off x="4359983"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rgbClr val="FFFFFF"/>
              </a:solidFill>
              <a:prstDash val="solid"/>
              <a:bevel/>
            </a:ln>
          </p:spPr>
          <p:txBody>
            <a:bodyPr rtlCol="0" anchor="ctr"/>
            <a:lstStyle/>
            <a:p>
              <a:endParaRPr lang="sv-SE"/>
            </a:p>
          </p:txBody>
        </p:sp>
        <p:sp>
          <p:nvSpPr>
            <p:cNvPr id="358" name="Freeform 357">
              <a:extLst>
                <a:ext uri="{FF2B5EF4-FFF2-40B4-BE49-F238E27FC236}">
                  <a16:creationId xmlns:a16="http://schemas.microsoft.com/office/drawing/2014/main" id="{92B2A655-BD46-8AAA-4A6A-1A79D704631D}"/>
                </a:ext>
              </a:extLst>
            </p:cNvPr>
            <p:cNvSpPr/>
            <p:nvPr/>
          </p:nvSpPr>
          <p:spPr>
            <a:xfrm>
              <a:off x="4356468"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rgbClr val="FFFFFF"/>
              </a:solidFill>
              <a:prstDash val="solid"/>
              <a:bevel/>
            </a:ln>
          </p:spPr>
          <p:txBody>
            <a:bodyPr rtlCol="0" anchor="ctr"/>
            <a:lstStyle/>
            <a:p>
              <a:endParaRPr lang="sv-SE"/>
            </a:p>
          </p:txBody>
        </p:sp>
        <p:sp>
          <p:nvSpPr>
            <p:cNvPr id="359" name="Freeform 358">
              <a:extLst>
                <a:ext uri="{FF2B5EF4-FFF2-40B4-BE49-F238E27FC236}">
                  <a16:creationId xmlns:a16="http://schemas.microsoft.com/office/drawing/2014/main" id="{4DC60892-3A4F-F207-119B-9FBFEE84851F}"/>
                </a:ext>
              </a:extLst>
            </p:cNvPr>
            <p:cNvSpPr/>
            <p:nvPr/>
          </p:nvSpPr>
          <p:spPr>
            <a:xfrm>
              <a:off x="4349451"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rgbClr val="FFFFFF"/>
              </a:solidFill>
              <a:prstDash val="solid"/>
              <a:bevel/>
            </a:ln>
          </p:spPr>
          <p:txBody>
            <a:bodyPr rtlCol="0" anchor="ctr"/>
            <a:lstStyle/>
            <a:p>
              <a:endParaRPr lang="sv-SE"/>
            </a:p>
          </p:txBody>
        </p:sp>
        <p:sp>
          <p:nvSpPr>
            <p:cNvPr id="360" name="Freeform 359">
              <a:extLst>
                <a:ext uri="{FF2B5EF4-FFF2-40B4-BE49-F238E27FC236}">
                  <a16:creationId xmlns:a16="http://schemas.microsoft.com/office/drawing/2014/main" id="{133AF478-BBFB-A5CF-FE79-5E59162CA269}"/>
                </a:ext>
              </a:extLst>
            </p:cNvPr>
            <p:cNvSpPr/>
            <p:nvPr/>
          </p:nvSpPr>
          <p:spPr>
            <a:xfrm>
              <a:off x="4344214"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rgbClr val="FFFFFF"/>
              </a:solidFill>
              <a:prstDash val="solid"/>
              <a:bevel/>
            </a:ln>
          </p:spPr>
          <p:txBody>
            <a:bodyPr rtlCol="0" anchor="ctr"/>
            <a:lstStyle/>
            <a:p>
              <a:endParaRPr lang="sv-SE"/>
            </a:p>
          </p:txBody>
        </p:sp>
        <p:sp>
          <p:nvSpPr>
            <p:cNvPr id="361" name="Freeform 360">
              <a:extLst>
                <a:ext uri="{FF2B5EF4-FFF2-40B4-BE49-F238E27FC236}">
                  <a16:creationId xmlns:a16="http://schemas.microsoft.com/office/drawing/2014/main" id="{55051846-4419-183C-AA65-3B7C010AE099}"/>
                </a:ext>
              </a:extLst>
            </p:cNvPr>
            <p:cNvSpPr/>
            <p:nvPr/>
          </p:nvSpPr>
          <p:spPr>
            <a:xfrm>
              <a:off x="3940598"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rgbClr val="FFFFFF"/>
              </a:solidFill>
              <a:prstDash val="solid"/>
              <a:bevel/>
            </a:ln>
          </p:spPr>
          <p:txBody>
            <a:bodyPr rtlCol="0" anchor="ctr"/>
            <a:lstStyle/>
            <a:p>
              <a:endParaRPr lang="sv-SE"/>
            </a:p>
          </p:txBody>
        </p:sp>
        <p:sp>
          <p:nvSpPr>
            <p:cNvPr id="362" name="Freeform 361">
              <a:extLst>
                <a:ext uri="{FF2B5EF4-FFF2-40B4-BE49-F238E27FC236}">
                  <a16:creationId xmlns:a16="http://schemas.microsoft.com/office/drawing/2014/main" id="{FEFDB320-E05A-FE1B-3ABA-5A75BB15ACDC}"/>
                </a:ext>
              </a:extLst>
            </p:cNvPr>
            <p:cNvSpPr/>
            <p:nvPr/>
          </p:nvSpPr>
          <p:spPr>
            <a:xfrm>
              <a:off x="4281970"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rgbClr val="FFFFFF"/>
              </a:solidFill>
              <a:prstDash val="solid"/>
              <a:bevel/>
            </a:ln>
          </p:spPr>
          <p:txBody>
            <a:bodyPr rtlCol="0" anchor="ctr"/>
            <a:lstStyle/>
            <a:p>
              <a:endParaRPr lang="sv-SE"/>
            </a:p>
          </p:txBody>
        </p:sp>
      </p:grpSp>
      <p:sp>
        <p:nvSpPr>
          <p:cNvPr id="379" name="TextBox 378">
            <a:extLst>
              <a:ext uri="{FF2B5EF4-FFF2-40B4-BE49-F238E27FC236}">
                <a16:creationId xmlns:a16="http://schemas.microsoft.com/office/drawing/2014/main" id="{5F61FD79-09D1-F0DE-FDDE-A6A16411B503}"/>
              </a:ext>
            </a:extLst>
          </p:cNvPr>
          <p:cNvSpPr txBox="1"/>
          <p:nvPr/>
        </p:nvSpPr>
        <p:spPr>
          <a:xfrm>
            <a:off x="4592566" y="178894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FOSSILFRI EL</a:t>
            </a:r>
            <a:endParaRPr lang="sv-SE" sz="800" baseline="-25000" dirty="0">
              <a:solidFill>
                <a:schemeClr val="bg1"/>
              </a:solidFill>
            </a:endParaRPr>
          </a:p>
        </p:txBody>
      </p:sp>
      <p:sp>
        <p:nvSpPr>
          <p:cNvPr id="380" name="TextBox 379">
            <a:extLst>
              <a:ext uri="{FF2B5EF4-FFF2-40B4-BE49-F238E27FC236}">
                <a16:creationId xmlns:a16="http://schemas.microsoft.com/office/drawing/2014/main" id="{A174F4CC-662F-D456-E82E-A42272301FDC}"/>
              </a:ext>
            </a:extLst>
          </p:cNvPr>
          <p:cNvSpPr txBox="1"/>
          <p:nvPr/>
        </p:nvSpPr>
        <p:spPr>
          <a:xfrm>
            <a:off x="3163298" y="4174826"/>
            <a:ext cx="823660" cy="295008"/>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KOMPRESSOR-</a:t>
            </a:r>
            <a:br>
              <a:rPr lang="sv-SE" sz="800" dirty="0">
                <a:solidFill>
                  <a:schemeClr val="bg1"/>
                </a:solidFill>
              </a:rPr>
            </a:br>
            <a:r>
              <a:rPr lang="sv-SE" sz="800" dirty="0">
                <a:solidFill>
                  <a:schemeClr val="bg1"/>
                </a:solidFill>
              </a:rPr>
              <a:t>STATION</a:t>
            </a:r>
            <a:endParaRPr lang="sv-SE" sz="800" baseline="-25000" dirty="0">
              <a:solidFill>
                <a:schemeClr val="bg1"/>
              </a:solidFill>
            </a:endParaRPr>
          </a:p>
        </p:txBody>
      </p:sp>
      <p:sp>
        <p:nvSpPr>
          <p:cNvPr id="381" name="TextBox 380">
            <a:extLst>
              <a:ext uri="{FF2B5EF4-FFF2-40B4-BE49-F238E27FC236}">
                <a16:creationId xmlns:a16="http://schemas.microsoft.com/office/drawing/2014/main" id="{845B6909-CACD-D49C-C8B9-58AE227E2DC0}"/>
              </a:ext>
            </a:extLst>
          </p:cNvPr>
          <p:cNvSpPr txBox="1"/>
          <p:nvPr/>
        </p:nvSpPr>
        <p:spPr>
          <a:xfrm>
            <a:off x="6057132"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ELEKTROLYSÖR</a:t>
            </a:r>
            <a:endParaRPr lang="sv-SE" sz="800" baseline="-25000" dirty="0">
              <a:solidFill>
                <a:schemeClr val="bg1"/>
              </a:solidFill>
            </a:endParaRPr>
          </a:p>
        </p:txBody>
      </p:sp>
      <p:sp>
        <p:nvSpPr>
          <p:cNvPr id="382" name="TextBox 381">
            <a:extLst>
              <a:ext uri="{FF2B5EF4-FFF2-40B4-BE49-F238E27FC236}">
                <a16:creationId xmlns:a16="http://schemas.microsoft.com/office/drawing/2014/main" id="{082CF5F7-B68E-A15B-D67E-EB7D1589B67A}"/>
              </a:ext>
            </a:extLst>
          </p:cNvPr>
          <p:cNvSpPr txBox="1"/>
          <p:nvPr/>
        </p:nvSpPr>
        <p:spPr>
          <a:xfrm>
            <a:off x="9659724"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INDUSTRI</a:t>
            </a:r>
            <a:endParaRPr lang="sv-SE" sz="800" baseline="-25000" dirty="0">
              <a:solidFill>
                <a:schemeClr val="bg1"/>
              </a:solidFill>
            </a:endParaRPr>
          </a:p>
        </p:txBody>
      </p:sp>
      <p:sp>
        <p:nvSpPr>
          <p:cNvPr id="383" name="TextBox 382">
            <a:extLst>
              <a:ext uri="{FF2B5EF4-FFF2-40B4-BE49-F238E27FC236}">
                <a16:creationId xmlns:a16="http://schemas.microsoft.com/office/drawing/2014/main" id="{1A389F5B-3557-20A4-5D6C-3D7B986B733A}"/>
              </a:ext>
            </a:extLst>
          </p:cNvPr>
          <p:cNvSpPr txBox="1"/>
          <p:nvPr/>
        </p:nvSpPr>
        <p:spPr>
          <a:xfrm>
            <a:off x="6799830" y="270598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VATTEN</a:t>
            </a:r>
            <a:endParaRPr lang="sv-SE" sz="800" baseline="-25000" dirty="0">
              <a:solidFill>
                <a:schemeClr val="bg1"/>
              </a:solidFill>
            </a:endParaRPr>
          </a:p>
        </p:txBody>
      </p:sp>
      <p:sp>
        <p:nvSpPr>
          <p:cNvPr id="384" name="TextBox 383">
            <a:extLst>
              <a:ext uri="{FF2B5EF4-FFF2-40B4-BE49-F238E27FC236}">
                <a16:creationId xmlns:a16="http://schemas.microsoft.com/office/drawing/2014/main" id="{8DCB053E-A800-AAF6-E9C8-445891959825}"/>
              </a:ext>
            </a:extLst>
          </p:cNvPr>
          <p:cNvSpPr txBox="1"/>
          <p:nvPr/>
        </p:nvSpPr>
        <p:spPr>
          <a:xfrm>
            <a:off x="10209852" y="2088779"/>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VATTEN</a:t>
            </a:r>
            <a:endParaRPr lang="sv-SE" sz="800" baseline="-25000" dirty="0">
              <a:solidFill>
                <a:schemeClr val="bg1"/>
              </a:solidFill>
            </a:endParaRPr>
          </a:p>
        </p:txBody>
      </p:sp>
      <p:sp>
        <p:nvSpPr>
          <p:cNvPr id="385" name="TextBox 384">
            <a:extLst>
              <a:ext uri="{FF2B5EF4-FFF2-40B4-BE49-F238E27FC236}">
                <a16:creationId xmlns:a16="http://schemas.microsoft.com/office/drawing/2014/main" id="{E165FF41-852F-78B4-0CB3-EC1F613ED960}"/>
              </a:ext>
            </a:extLst>
          </p:cNvPr>
          <p:cNvSpPr txBox="1"/>
          <p:nvPr/>
        </p:nvSpPr>
        <p:spPr>
          <a:xfrm>
            <a:off x="3237201" y="5422869"/>
            <a:ext cx="1031329" cy="295008"/>
          </a:xfrm>
          <a:prstGeom prst="rect">
            <a:avLst/>
          </a:prstGeom>
          <a:noFill/>
        </p:spPr>
        <p:txBody>
          <a:bodyPr wrap="square" lIns="0" tIns="36000" rIns="0" bIns="36000" rtlCol="0" anchor="t">
            <a:spAutoFit/>
          </a:bodyPr>
          <a:lstStyle/>
          <a:p>
            <a:pPr>
              <a:lnSpc>
                <a:spcPct val="90000"/>
              </a:lnSpc>
            </a:pPr>
            <a:r>
              <a:rPr lang="sv-SE" sz="800" dirty="0">
                <a:solidFill>
                  <a:schemeClr val="bg1"/>
                </a:solidFill>
              </a:rPr>
              <a:t>VÄTGASLAGER</a:t>
            </a:r>
          </a:p>
          <a:p>
            <a:pPr>
              <a:lnSpc>
                <a:spcPct val="90000"/>
              </a:lnSpc>
            </a:pPr>
            <a:r>
              <a:rPr lang="sv-SE" sz="800" dirty="0">
                <a:solidFill>
                  <a:schemeClr val="bg1"/>
                </a:solidFill>
              </a:rPr>
              <a:t>LINED ROCK CAVERN</a:t>
            </a:r>
            <a:endParaRPr lang="sv-SE" sz="800" baseline="-25000" dirty="0">
              <a:solidFill>
                <a:schemeClr val="bg1"/>
              </a:solidFill>
            </a:endParaRPr>
          </a:p>
        </p:txBody>
      </p:sp>
      <p:sp>
        <p:nvSpPr>
          <p:cNvPr id="188" name="Freeform 187">
            <a:extLst>
              <a:ext uri="{FF2B5EF4-FFF2-40B4-BE49-F238E27FC236}">
                <a16:creationId xmlns:a16="http://schemas.microsoft.com/office/drawing/2014/main" id="{ADD71AC3-8995-4948-E35A-5BC50218C373}"/>
              </a:ext>
            </a:extLst>
          </p:cNvPr>
          <p:cNvSpPr/>
          <p:nvPr/>
        </p:nvSpPr>
        <p:spPr>
          <a:xfrm>
            <a:off x="9023407" y="2730535"/>
            <a:ext cx="2087829" cy="1356681"/>
          </a:xfrm>
          <a:custGeom>
            <a:avLst/>
            <a:gdLst>
              <a:gd name="connsiteX0" fmla="*/ 1980228 w 2087829"/>
              <a:gd name="connsiteY0" fmla="*/ 575106 h 1356681"/>
              <a:gd name="connsiteX1" fmla="*/ 1789925 w 2087829"/>
              <a:gd name="connsiteY1" fmla="*/ 575106 h 1356681"/>
              <a:gd name="connsiteX2" fmla="*/ 1789925 w 2087829"/>
              <a:gd name="connsiteY2" fmla="*/ 0 h 1356681"/>
              <a:gd name="connsiteX3" fmla="*/ 1665136 w 2087829"/>
              <a:gd name="connsiteY3" fmla="*/ 0 h 1356681"/>
              <a:gd name="connsiteX4" fmla="*/ 1665136 w 2087829"/>
              <a:gd name="connsiteY4" fmla="*/ 575106 h 1356681"/>
              <a:gd name="connsiteX5" fmla="*/ 1534675 w 2087829"/>
              <a:gd name="connsiteY5" fmla="*/ 575106 h 1356681"/>
              <a:gd name="connsiteX6" fmla="*/ 1534675 w 2087829"/>
              <a:gd name="connsiteY6" fmla="*/ 0 h 1356681"/>
              <a:gd name="connsiteX7" fmla="*/ 1409886 w 2087829"/>
              <a:gd name="connsiteY7" fmla="*/ 0 h 1356681"/>
              <a:gd name="connsiteX8" fmla="*/ 1409886 w 2087829"/>
              <a:gd name="connsiteY8" fmla="*/ 575106 h 1356681"/>
              <a:gd name="connsiteX9" fmla="*/ 754802 w 2087829"/>
              <a:gd name="connsiteY9" fmla="*/ 575106 h 1356681"/>
              <a:gd name="connsiteX10" fmla="*/ 754802 w 2087829"/>
              <a:gd name="connsiteY10" fmla="*/ 487811 h 1356681"/>
              <a:gd name="connsiteX11" fmla="*/ 754802 w 2087829"/>
              <a:gd name="connsiteY11" fmla="*/ 380209 h 1356681"/>
              <a:gd name="connsiteX12" fmla="*/ 107602 w 2087829"/>
              <a:gd name="connsiteY12" fmla="*/ 380209 h 1356681"/>
              <a:gd name="connsiteX13" fmla="*/ 0 w 2087829"/>
              <a:gd name="connsiteY13" fmla="*/ 487811 h 1356681"/>
              <a:gd name="connsiteX14" fmla="*/ 0 w 2087829"/>
              <a:gd name="connsiteY14" fmla="*/ 575106 h 1356681"/>
              <a:gd name="connsiteX15" fmla="*/ 0 w 2087829"/>
              <a:gd name="connsiteY15" fmla="*/ 682708 h 1356681"/>
              <a:gd name="connsiteX16" fmla="*/ 0 w 2087829"/>
              <a:gd name="connsiteY16" fmla="*/ 1338190 h 1356681"/>
              <a:gd name="connsiteX17" fmla="*/ 0 w 2087829"/>
              <a:gd name="connsiteY17" fmla="*/ 1356681 h 1356681"/>
              <a:gd name="connsiteX18" fmla="*/ 2087830 w 2087829"/>
              <a:gd name="connsiteY18" fmla="*/ 1356681 h 1356681"/>
              <a:gd name="connsiteX19" fmla="*/ 2087830 w 2087829"/>
              <a:gd name="connsiteY19" fmla="*/ 682708 h 1356681"/>
              <a:gd name="connsiteX20" fmla="*/ 1980228 w 2087829"/>
              <a:gd name="connsiteY20" fmla="*/ 575106 h 135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87829" h="1356681">
                <a:moveTo>
                  <a:pt x="1980228" y="575106"/>
                </a:moveTo>
                <a:lnTo>
                  <a:pt x="1789925" y="575106"/>
                </a:lnTo>
                <a:lnTo>
                  <a:pt x="1789925" y="0"/>
                </a:lnTo>
                <a:lnTo>
                  <a:pt x="1665136" y="0"/>
                </a:lnTo>
                <a:lnTo>
                  <a:pt x="1665136" y="575106"/>
                </a:lnTo>
                <a:lnTo>
                  <a:pt x="1534675" y="575106"/>
                </a:lnTo>
                <a:lnTo>
                  <a:pt x="1534675" y="0"/>
                </a:lnTo>
                <a:lnTo>
                  <a:pt x="1409886" y="0"/>
                </a:lnTo>
                <a:lnTo>
                  <a:pt x="1409886" y="575106"/>
                </a:lnTo>
                <a:lnTo>
                  <a:pt x="754802" y="575106"/>
                </a:lnTo>
                <a:lnTo>
                  <a:pt x="754802" y="487811"/>
                </a:lnTo>
                <a:lnTo>
                  <a:pt x="754802" y="380209"/>
                </a:lnTo>
                <a:lnTo>
                  <a:pt x="107602" y="380209"/>
                </a:lnTo>
                <a:lnTo>
                  <a:pt x="0" y="487811"/>
                </a:lnTo>
                <a:lnTo>
                  <a:pt x="0" y="575106"/>
                </a:lnTo>
                <a:lnTo>
                  <a:pt x="0" y="682708"/>
                </a:lnTo>
                <a:lnTo>
                  <a:pt x="0" y="1338190"/>
                </a:lnTo>
                <a:lnTo>
                  <a:pt x="0" y="1356681"/>
                </a:lnTo>
                <a:lnTo>
                  <a:pt x="2087830" y="1356681"/>
                </a:lnTo>
                <a:lnTo>
                  <a:pt x="2087830" y="682708"/>
                </a:lnTo>
                <a:lnTo>
                  <a:pt x="1980228" y="575106"/>
                </a:lnTo>
                <a:close/>
              </a:path>
            </a:pathLst>
          </a:custGeom>
          <a:solidFill>
            <a:srgbClr val="FFFFFF"/>
          </a:solidFill>
          <a:ln w="0" cap="flat">
            <a:noFill/>
            <a:prstDash val="solid"/>
            <a:miter/>
          </a:ln>
        </p:spPr>
        <p:txBody>
          <a:bodyPr rtlCol="0" anchor="ctr"/>
          <a:lstStyle/>
          <a:p>
            <a:endParaRPr lang="sv-SE"/>
          </a:p>
        </p:txBody>
      </p:sp>
      <p:sp>
        <p:nvSpPr>
          <p:cNvPr id="189" name="Freeform 188">
            <a:extLst>
              <a:ext uri="{FF2B5EF4-FFF2-40B4-BE49-F238E27FC236}">
                <a16:creationId xmlns:a16="http://schemas.microsoft.com/office/drawing/2014/main" id="{2AEA1BBF-9E84-44CA-A861-9A646CC5515F}"/>
              </a:ext>
            </a:extLst>
          </p:cNvPr>
          <p:cNvSpPr/>
          <p:nvPr/>
        </p:nvSpPr>
        <p:spPr>
          <a:xfrm>
            <a:off x="2744206" y="4087216"/>
            <a:ext cx="9446850" cy="0"/>
          </a:xfrm>
          <a:custGeom>
            <a:avLst/>
            <a:gdLst>
              <a:gd name="connsiteX0" fmla="*/ 0 w 9446850"/>
              <a:gd name="connsiteY0" fmla="*/ 0 h 5672"/>
              <a:gd name="connsiteX1" fmla="*/ 9446851 w 9446850"/>
              <a:gd name="connsiteY1" fmla="*/ 0 h 5672"/>
            </a:gdLst>
            <a:ahLst/>
            <a:cxnLst>
              <a:cxn ang="0">
                <a:pos x="connsiteX0" y="connsiteY0"/>
              </a:cxn>
              <a:cxn ang="0">
                <a:pos x="connsiteX1" y="connsiteY1"/>
              </a:cxn>
            </a:cxnLst>
            <a:rect l="l" t="t" r="r" b="b"/>
            <a:pathLst>
              <a:path w="9446850" h="5672">
                <a:moveTo>
                  <a:pt x="0" y="0"/>
                </a:moveTo>
                <a:lnTo>
                  <a:pt x="9446851" y="0"/>
                </a:lnTo>
              </a:path>
            </a:pathLst>
          </a:custGeom>
          <a:ln w="9525" cap="flat">
            <a:solidFill>
              <a:srgbClr val="FFFFFF"/>
            </a:solidFill>
            <a:prstDash val="solid"/>
            <a:miter/>
          </a:ln>
        </p:spPr>
        <p:txBody>
          <a:bodyPr rtlCol="0" anchor="ctr"/>
          <a:lstStyle/>
          <a:p>
            <a:endParaRPr lang="sv-SE"/>
          </a:p>
        </p:txBody>
      </p:sp>
      <p:sp>
        <p:nvSpPr>
          <p:cNvPr id="190" name="Freeform 189">
            <a:extLst>
              <a:ext uri="{FF2B5EF4-FFF2-40B4-BE49-F238E27FC236}">
                <a16:creationId xmlns:a16="http://schemas.microsoft.com/office/drawing/2014/main" id="{43A935E3-C7BC-D958-D899-A06B4C6FA4DA}"/>
              </a:ext>
            </a:extLst>
          </p:cNvPr>
          <p:cNvSpPr/>
          <p:nvPr/>
        </p:nvSpPr>
        <p:spPr>
          <a:xfrm>
            <a:off x="-5" y="4087216"/>
            <a:ext cx="2617200" cy="0"/>
          </a:xfrm>
          <a:custGeom>
            <a:avLst/>
            <a:gdLst>
              <a:gd name="connsiteX0" fmla="*/ 0 w 1318336"/>
              <a:gd name="connsiteY0" fmla="*/ 0 h 5672"/>
              <a:gd name="connsiteX1" fmla="*/ 1318337 w 1318336"/>
              <a:gd name="connsiteY1" fmla="*/ 0 h 5672"/>
            </a:gdLst>
            <a:ahLst/>
            <a:cxnLst>
              <a:cxn ang="0">
                <a:pos x="connsiteX0" y="connsiteY0"/>
              </a:cxn>
              <a:cxn ang="0">
                <a:pos x="connsiteX1" y="connsiteY1"/>
              </a:cxn>
            </a:cxnLst>
            <a:rect l="l" t="t" r="r" b="b"/>
            <a:pathLst>
              <a:path w="1318336" h="5672">
                <a:moveTo>
                  <a:pt x="0" y="0"/>
                </a:moveTo>
                <a:lnTo>
                  <a:pt x="1318337" y="0"/>
                </a:lnTo>
              </a:path>
            </a:pathLst>
          </a:custGeom>
          <a:ln w="9525" cap="flat">
            <a:solidFill>
              <a:srgbClr val="FFFFFF"/>
            </a:solidFill>
            <a:prstDash val="solid"/>
            <a:miter/>
          </a:ln>
        </p:spPr>
        <p:txBody>
          <a:bodyPr rtlCol="0" anchor="ctr"/>
          <a:lstStyle/>
          <a:p>
            <a:endParaRPr lang="sv-SE"/>
          </a:p>
        </p:txBody>
      </p:sp>
      <p:sp>
        <p:nvSpPr>
          <p:cNvPr id="256" name="Freeform 255">
            <a:extLst>
              <a:ext uri="{FF2B5EF4-FFF2-40B4-BE49-F238E27FC236}">
                <a16:creationId xmlns:a16="http://schemas.microsoft.com/office/drawing/2014/main" id="{1D00C04E-1D13-1CDB-31DF-DA6618013FA2}"/>
              </a:ext>
            </a:extLst>
          </p:cNvPr>
          <p:cNvSpPr/>
          <p:nvPr/>
        </p:nvSpPr>
        <p:spPr>
          <a:xfrm>
            <a:off x="10388596"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3" name="Freeform 262">
            <a:extLst>
              <a:ext uri="{FF2B5EF4-FFF2-40B4-BE49-F238E27FC236}">
                <a16:creationId xmlns:a16="http://schemas.microsoft.com/office/drawing/2014/main" id="{52C1D1AF-83EE-6448-9950-31FCF7A43353}"/>
              </a:ext>
            </a:extLst>
          </p:cNvPr>
          <p:cNvSpPr/>
          <p:nvPr/>
        </p:nvSpPr>
        <p:spPr>
          <a:xfrm>
            <a:off x="10570107"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4" name="Freeform 263">
            <a:extLst>
              <a:ext uri="{FF2B5EF4-FFF2-40B4-BE49-F238E27FC236}">
                <a16:creationId xmlns:a16="http://schemas.microsoft.com/office/drawing/2014/main" id="{3C57D226-5909-F707-A40C-539DF09F2959}"/>
              </a:ext>
            </a:extLst>
          </p:cNvPr>
          <p:cNvSpPr/>
          <p:nvPr/>
        </p:nvSpPr>
        <p:spPr>
          <a:xfrm>
            <a:off x="10751618"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5" name="Freeform 264">
            <a:extLst>
              <a:ext uri="{FF2B5EF4-FFF2-40B4-BE49-F238E27FC236}">
                <a16:creationId xmlns:a16="http://schemas.microsoft.com/office/drawing/2014/main" id="{DACCF11F-98D0-7581-8623-78F55EDFD9F4}"/>
              </a:ext>
            </a:extLst>
          </p:cNvPr>
          <p:cNvSpPr/>
          <p:nvPr/>
        </p:nvSpPr>
        <p:spPr>
          <a:xfrm>
            <a:off x="960271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6" name="Freeform 265">
            <a:extLst>
              <a:ext uri="{FF2B5EF4-FFF2-40B4-BE49-F238E27FC236}">
                <a16:creationId xmlns:a16="http://schemas.microsoft.com/office/drawing/2014/main" id="{6D343268-B816-545A-52FC-99250A2DFAD6}"/>
              </a:ext>
            </a:extLst>
          </p:cNvPr>
          <p:cNvSpPr/>
          <p:nvPr/>
        </p:nvSpPr>
        <p:spPr>
          <a:xfrm>
            <a:off x="955132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7" name="Freeform 266">
            <a:extLst>
              <a:ext uri="{FF2B5EF4-FFF2-40B4-BE49-F238E27FC236}">
                <a16:creationId xmlns:a16="http://schemas.microsoft.com/office/drawing/2014/main" id="{1C6E5915-B83A-BBF7-4803-BDAFE38EE4CD}"/>
              </a:ext>
            </a:extLst>
          </p:cNvPr>
          <p:cNvSpPr/>
          <p:nvPr/>
        </p:nvSpPr>
        <p:spPr>
          <a:xfrm>
            <a:off x="949993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8" name="Freeform 267">
            <a:extLst>
              <a:ext uri="{FF2B5EF4-FFF2-40B4-BE49-F238E27FC236}">
                <a16:creationId xmlns:a16="http://schemas.microsoft.com/office/drawing/2014/main" id="{3FC33BC7-89B6-6293-B840-7024DD37B86F}"/>
              </a:ext>
            </a:extLst>
          </p:cNvPr>
          <p:cNvSpPr/>
          <p:nvPr/>
        </p:nvSpPr>
        <p:spPr>
          <a:xfrm>
            <a:off x="944853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457" name="Freeform 456">
            <a:extLst>
              <a:ext uri="{FF2B5EF4-FFF2-40B4-BE49-F238E27FC236}">
                <a16:creationId xmlns:a16="http://schemas.microsoft.com/office/drawing/2014/main" id="{6F73CE1F-87B0-FF75-4B22-0E322EE36FE1}"/>
              </a:ext>
            </a:extLst>
          </p:cNvPr>
          <p:cNvSpPr/>
          <p:nvPr/>
        </p:nvSpPr>
        <p:spPr>
          <a:xfrm>
            <a:off x="2667801" y="3680651"/>
            <a:ext cx="3815927" cy="1746228"/>
          </a:xfrm>
          <a:custGeom>
            <a:avLst/>
            <a:gdLst>
              <a:gd name="connsiteX0" fmla="*/ 16960 w 3815927"/>
              <a:gd name="connsiteY0" fmla="*/ 1718151 h 1746228"/>
              <a:gd name="connsiteX1" fmla="*/ 19626 w 3815927"/>
              <a:gd name="connsiteY1" fmla="*/ 1718945 h 1746228"/>
              <a:gd name="connsiteX2" fmla="*/ 22065 w 3815927"/>
              <a:gd name="connsiteY2" fmla="*/ 1720250 h 1746228"/>
              <a:gd name="connsiteX3" fmla="*/ 24220 w 3815927"/>
              <a:gd name="connsiteY3" fmla="*/ 1722065 h 1746228"/>
              <a:gd name="connsiteX4" fmla="*/ 25979 w 3815927"/>
              <a:gd name="connsiteY4" fmla="*/ 1724220 h 1746228"/>
              <a:gd name="connsiteX5" fmla="*/ 27283 w 3815927"/>
              <a:gd name="connsiteY5" fmla="*/ 1726659 h 1746228"/>
              <a:gd name="connsiteX6" fmla="*/ 28077 w 3815927"/>
              <a:gd name="connsiteY6" fmla="*/ 1729268 h 1746228"/>
              <a:gd name="connsiteX7" fmla="*/ 28361 w 3815927"/>
              <a:gd name="connsiteY7" fmla="*/ 1732048 h 1746228"/>
              <a:gd name="connsiteX8" fmla="*/ 24220 w 3815927"/>
              <a:gd name="connsiteY8" fmla="*/ 1742088 h 1746228"/>
              <a:gd name="connsiteX9" fmla="*/ 22065 w 3815927"/>
              <a:gd name="connsiteY9" fmla="*/ 1743846 h 1746228"/>
              <a:gd name="connsiteX10" fmla="*/ 19626 w 3815927"/>
              <a:gd name="connsiteY10" fmla="*/ 1745151 h 1746228"/>
              <a:gd name="connsiteX11" fmla="*/ 16960 w 3815927"/>
              <a:gd name="connsiteY11" fmla="*/ 1745945 h 1746228"/>
              <a:gd name="connsiteX12" fmla="*/ 14181 w 3815927"/>
              <a:gd name="connsiteY12" fmla="*/ 1746228 h 1746228"/>
              <a:gd name="connsiteX13" fmla="*/ 4141 w 3815927"/>
              <a:gd name="connsiteY13" fmla="*/ 1742088 h 1746228"/>
              <a:gd name="connsiteX14" fmla="*/ 0 w 3815927"/>
              <a:gd name="connsiteY14" fmla="*/ 1732048 h 1746228"/>
              <a:gd name="connsiteX15" fmla="*/ 284 w 3815927"/>
              <a:gd name="connsiteY15" fmla="*/ 1729268 h 1746228"/>
              <a:gd name="connsiteX16" fmla="*/ 1078 w 3815927"/>
              <a:gd name="connsiteY16" fmla="*/ 1726659 h 1746228"/>
              <a:gd name="connsiteX17" fmla="*/ 2382 w 3815927"/>
              <a:gd name="connsiteY17" fmla="*/ 1724220 h 1746228"/>
              <a:gd name="connsiteX18" fmla="*/ 4141 w 3815927"/>
              <a:gd name="connsiteY18" fmla="*/ 1722065 h 1746228"/>
              <a:gd name="connsiteX19" fmla="*/ 16960 w 3815927"/>
              <a:gd name="connsiteY19" fmla="*/ 1718151 h 1746228"/>
              <a:gd name="connsiteX20" fmla="*/ 14181 w 3815927"/>
              <a:gd name="connsiteY20" fmla="*/ 1660521 h 1746228"/>
              <a:gd name="connsiteX21" fmla="*/ 28361 w 3815927"/>
              <a:gd name="connsiteY21" fmla="*/ 1674702 h 1746228"/>
              <a:gd name="connsiteX22" fmla="*/ 14181 w 3815927"/>
              <a:gd name="connsiteY22" fmla="*/ 1688882 h 1746228"/>
              <a:gd name="connsiteX23" fmla="*/ 0 w 3815927"/>
              <a:gd name="connsiteY23" fmla="*/ 1674702 h 1746228"/>
              <a:gd name="connsiteX24" fmla="*/ 14181 w 3815927"/>
              <a:gd name="connsiteY24" fmla="*/ 1660521 h 1746228"/>
              <a:gd name="connsiteX25" fmla="*/ 14181 w 3815927"/>
              <a:gd name="connsiteY25" fmla="*/ 1603118 h 1746228"/>
              <a:gd name="connsiteX26" fmla="*/ 28361 w 3815927"/>
              <a:gd name="connsiteY26" fmla="*/ 1617299 h 1746228"/>
              <a:gd name="connsiteX27" fmla="*/ 14181 w 3815927"/>
              <a:gd name="connsiteY27" fmla="*/ 1631480 h 1746228"/>
              <a:gd name="connsiteX28" fmla="*/ 0 w 3815927"/>
              <a:gd name="connsiteY28" fmla="*/ 1617299 h 1746228"/>
              <a:gd name="connsiteX29" fmla="*/ 14181 w 3815927"/>
              <a:gd name="connsiteY29" fmla="*/ 1603118 h 1746228"/>
              <a:gd name="connsiteX30" fmla="*/ 14181 w 3815927"/>
              <a:gd name="connsiteY30" fmla="*/ 1545716 h 1746228"/>
              <a:gd name="connsiteX31" fmla="*/ 28361 w 3815927"/>
              <a:gd name="connsiteY31" fmla="*/ 1559953 h 1746228"/>
              <a:gd name="connsiteX32" fmla="*/ 14181 w 3815927"/>
              <a:gd name="connsiteY32" fmla="*/ 1574133 h 1746228"/>
              <a:gd name="connsiteX33" fmla="*/ 0 w 3815927"/>
              <a:gd name="connsiteY33" fmla="*/ 1559953 h 1746228"/>
              <a:gd name="connsiteX34" fmla="*/ 14181 w 3815927"/>
              <a:gd name="connsiteY34" fmla="*/ 1545716 h 1746228"/>
              <a:gd name="connsiteX35" fmla="*/ 14181 w 3815927"/>
              <a:gd name="connsiteY35" fmla="*/ 1488370 h 1746228"/>
              <a:gd name="connsiteX36" fmla="*/ 28361 w 3815927"/>
              <a:gd name="connsiteY36" fmla="*/ 1502550 h 1746228"/>
              <a:gd name="connsiteX37" fmla="*/ 14181 w 3815927"/>
              <a:gd name="connsiteY37" fmla="*/ 1516731 h 1746228"/>
              <a:gd name="connsiteX38" fmla="*/ 0 w 3815927"/>
              <a:gd name="connsiteY38" fmla="*/ 1502550 h 1746228"/>
              <a:gd name="connsiteX39" fmla="*/ 14181 w 3815927"/>
              <a:gd name="connsiteY39" fmla="*/ 1488370 h 1746228"/>
              <a:gd name="connsiteX40" fmla="*/ 14181 w 3815927"/>
              <a:gd name="connsiteY40" fmla="*/ 1430967 h 1746228"/>
              <a:gd name="connsiteX41" fmla="*/ 28361 w 3815927"/>
              <a:gd name="connsiteY41" fmla="*/ 1445204 h 1746228"/>
              <a:gd name="connsiteX42" fmla="*/ 14181 w 3815927"/>
              <a:gd name="connsiteY42" fmla="*/ 1459328 h 1746228"/>
              <a:gd name="connsiteX43" fmla="*/ 0 w 3815927"/>
              <a:gd name="connsiteY43" fmla="*/ 1445204 h 1746228"/>
              <a:gd name="connsiteX44" fmla="*/ 14181 w 3815927"/>
              <a:gd name="connsiteY44" fmla="*/ 1430967 h 1746228"/>
              <a:gd name="connsiteX45" fmla="*/ 14181 w 3815927"/>
              <a:gd name="connsiteY45" fmla="*/ 1373621 h 1746228"/>
              <a:gd name="connsiteX46" fmla="*/ 28361 w 3815927"/>
              <a:gd name="connsiteY46" fmla="*/ 1387801 h 1746228"/>
              <a:gd name="connsiteX47" fmla="*/ 14181 w 3815927"/>
              <a:gd name="connsiteY47" fmla="*/ 1401982 h 1746228"/>
              <a:gd name="connsiteX48" fmla="*/ 0 w 3815927"/>
              <a:gd name="connsiteY48" fmla="*/ 1387801 h 1746228"/>
              <a:gd name="connsiteX49" fmla="*/ 14181 w 3815927"/>
              <a:gd name="connsiteY49" fmla="*/ 1373621 h 1746228"/>
              <a:gd name="connsiteX50" fmla="*/ 14181 w 3815927"/>
              <a:gd name="connsiteY50" fmla="*/ 1316218 h 1746228"/>
              <a:gd name="connsiteX51" fmla="*/ 28361 w 3815927"/>
              <a:gd name="connsiteY51" fmla="*/ 1330398 h 1746228"/>
              <a:gd name="connsiteX52" fmla="*/ 14181 w 3815927"/>
              <a:gd name="connsiteY52" fmla="*/ 1344579 h 1746228"/>
              <a:gd name="connsiteX53" fmla="*/ 0 w 3815927"/>
              <a:gd name="connsiteY53" fmla="*/ 1330398 h 1746228"/>
              <a:gd name="connsiteX54" fmla="*/ 14181 w 3815927"/>
              <a:gd name="connsiteY54" fmla="*/ 1316218 h 1746228"/>
              <a:gd name="connsiteX55" fmla="*/ 14181 w 3815927"/>
              <a:gd name="connsiteY55" fmla="*/ 1258872 h 1746228"/>
              <a:gd name="connsiteX56" fmla="*/ 28361 w 3815927"/>
              <a:gd name="connsiteY56" fmla="*/ 1273052 h 1746228"/>
              <a:gd name="connsiteX57" fmla="*/ 14181 w 3815927"/>
              <a:gd name="connsiteY57" fmla="*/ 1287233 h 1746228"/>
              <a:gd name="connsiteX58" fmla="*/ 0 w 3815927"/>
              <a:gd name="connsiteY58" fmla="*/ 1273052 h 1746228"/>
              <a:gd name="connsiteX59" fmla="*/ 14181 w 3815927"/>
              <a:gd name="connsiteY59" fmla="*/ 1258872 h 1746228"/>
              <a:gd name="connsiteX60" fmla="*/ 14181 w 3815927"/>
              <a:gd name="connsiteY60" fmla="*/ 1201469 h 1746228"/>
              <a:gd name="connsiteX61" fmla="*/ 28361 w 3815927"/>
              <a:gd name="connsiteY61" fmla="*/ 1215649 h 1746228"/>
              <a:gd name="connsiteX62" fmla="*/ 14181 w 3815927"/>
              <a:gd name="connsiteY62" fmla="*/ 1229830 h 1746228"/>
              <a:gd name="connsiteX63" fmla="*/ 0 w 3815927"/>
              <a:gd name="connsiteY63" fmla="*/ 1215649 h 1746228"/>
              <a:gd name="connsiteX64" fmla="*/ 14181 w 3815927"/>
              <a:gd name="connsiteY64" fmla="*/ 1201469 h 1746228"/>
              <a:gd name="connsiteX65" fmla="*/ 14181 w 3815927"/>
              <a:gd name="connsiteY65" fmla="*/ 1144123 h 1746228"/>
              <a:gd name="connsiteX66" fmla="*/ 28361 w 3815927"/>
              <a:gd name="connsiteY66" fmla="*/ 1158303 h 1746228"/>
              <a:gd name="connsiteX67" fmla="*/ 14181 w 3815927"/>
              <a:gd name="connsiteY67" fmla="*/ 1172484 h 1746228"/>
              <a:gd name="connsiteX68" fmla="*/ 0 w 3815927"/>
              <a:gd name="connsiteY68" fmla="*/ 1158303 h 1746228"/>
              <a:gd name="connsiteX69" fmla="*/ 14181 w 3815927"/>
              <a:gd name="connsiteY69" fmla="*/ 1144123 h 1746228"/>
              <a:gd name="connsiteX70" fmla="*/ 14181 w 3815927"/>
              <a:gd name="connsiteY70" fmla="*/ 1086720 h 1746228"/>
              <a:gd name="connsiteX71" fmla="*/ 28361 w 3815927"/>
              <a:gd name="connsiteY71" fmla="*/ 1100900 h 1746228"/>
              <a:gd name="connsiteX72" fmla="*/ 14181 w 3815927"/>
              <a:gd name="connsiteY72" fmla="*/ 1115081 h 1746228"/>
              <a:gd name="connsiteX73" fmla="*/ 0 w 3815927"/>
              <a:gd name="connsiteY73" fmla="*/ 1100900 h 1746228"/>
              <a:gd name="connsiteX74" fmla="*/ 14181 w 3815927"/>
              <a:gd name="connsiteY74" fmla="*/ 1086720 h 1746228"/>
              <a:gd name="connsiteX75" fmla="*/ 14181 w 3815927"/>
              <a:gd name="connsiteY75" fmla="*/ 1029317 h 1746228"/>
              <a:gd name="connsiteX76" fmla="*/ 28361 w 3815927"/>
              <a:gd name="connsiteY76" fmla="*/ 1043498 h 1746228"/>
              <a:gd name="connsiteX77" fmla="*/ 14181 w 3815927"/>
              <a:gd name="connsiteY77" fmla="*/ 1057678 h 1746228"/>
              <a:gd name="connsiteX78" fmla="*/ 0 w 3815927"/>
              <a:gd name="connsiteY78" fmla="*/ 1043498 h 1746228"/>
              <a:gd name="connsiteX79" fmla="*/ 14181 w 3815927"/>
              <a:gd name="connsiteY79" fmla="*/ 1029317 h 1746228"/>
              <a:gd name="connsiteX80" fmla="*/ 14181 w 3815927"/>
              <a:gd name="connsiteY80" fmla="*/ 971971 h 1746228"/>
              <a:gd name="connsiteX81" fmla="*/ 28361 w 3815927"/>
              <a:gd name="connsiteY81" fmla="*/ 986152 h 1746228"/>
              <a:gd name="connsiteX82" fmla="*/ 14181 w 3815927"/>
              <a:gd name="connsiteY82" fmla="*/ 1000332 h 1746228"/>
              <a:gd name="connsiteX83" fmla="*/ 0 w 3815927"/>
              <a:gd name="connsiteY83" fmla="*/ 986152 h 1746228"/>
              <a:gd name="connsiteX84" fmla="*/ 14181 w 3815927"/>
              <a:gd name="connsiteY84" fmla="*/ 971971 h 1746228"/>
              <a:gd name="connsiteX85" fmla="*/ 14181 w 3815927"/>
              <a:gd name="connsiteY85" fmla="*/ 914568 h 1746228"/>
              <a:gd name="connsiteX86" fmla="*/ 28361 w 3815927"/>
              <a:gd name="connsiteY86" fmla="*/ 928749 h 1746228"/>
              <a:gd name="connsiteX87" fmla="*/ 14181 w 3815927"/>
              <a:gd name="connsiteY87" fmla="*/ 942929 h 1746228"/>
              <a:gd name="connsiteX88" fmla="*/ 0 w 3815927"/>
              <a:gd name="connsiteY88" fmla="*/ 928749 h 1746228"/>
              <a:gd name="connsiteX89" fmla="*/ 14181 w 3815927"/>
              <a:gd name="connsiteY89" fmla="*/ 914568 h 1746228"/>
              <a:gd name="connsiteX90" fmla="*/ 14181 w 3815927"/>
              <a:gd name="connsiteY90" fmla="*/ 857222 h 1746228"/>
              <a:gd name="connsiteX91" fmla="*/ 28361 w 3815927"/>
              <a:gd name="connsiteY91" fmla="*/ 871402 h 1746228"/>
              <a:gd name="connsiteX92" fmla="*/ 14181 w 3815927"/>
              <a:gd name="connsiteY92" fmla="*/ 885583 h 1746228"/>
              <a:gd name="connsiteX93" fmla="*/ 0 w 3815927"/>
              <a:gd name="connsiteY93" fmla="*/ 871402 h 1746228"/>
              <a:gd name="connsiteX94" fmla="*/ 14181 w 3815927"/>
              <a:gd name="connsiteY94" fmla="*/ 857222 h 1746228"/>
              <a:gd name="connsiteX95" fmla="*/ 14181 w 3815927"/>
              <a:gd name="connsiteY95" fmla="*/ 799819 h 1746228"/>
              <a:gd name="connsiteX96" fmla="*/ 28361 w 3815927"/>
              <a:gd name="connsiteY96" fmla="*/ 814000 h 1746228"/>
              <a:gd name="connsiteX97" fmla="*/ 14181 w 3815927"/>
              <a:gd name="connsiteY97" fmla="*/ 828180 h 1746228"/>
              <a:gd name="connsiteX98" fmla="*/ 0 w 3815927"/>
              <a:gd name="connsiteY98" fmla="*/ 814000 h 1746228"/>
              <a:gd name="connsiteX99" fmla="*/ 14181 w 3815927"/>
              <a:gd name="connsiteY99" fmla="*/ 799819 h 1746228"/>
              <a:gd name="connsiteX100" fmla="*/ 14181 w 3815927"/>
              <a:gd name="connsiteY100" fmla="*/ 742416 h 1746228"/>
              <a:gd name="connsiteX101" fmla="*/ 28361 w 3815927"/>
              <a:gd name="connsiteY101" fmla="*/ 756653 h 1746228"/>
              <a:gd name="connsiteX102" fmla="*/ 14181 w 3815927"/>
              <a:gd name="connsiteY102" fmla="*/ 770834 h 1746228"/>
              <a:gd name="connsiteX103" fmla="*/ 0 w 3815927"/>
              <a:gd name="connsiteY103" fmla="*/ 756653 h 1746228"/>
              <a:gd name="connsiteX104" fmla="*/ 14181 w 3815927"/>
              <a:gd name="connsiteY104" fmla="*/ 742416 h 1746228"/>
              <a:gd name="connsiteX105" fmla="*/ 14181 w 3815927"/>
              <a:gd name="connsiteY105" fmla="*/ 685070 h 1746228"/>
              <a:gd name="connsiteX106" fmla="*/ 28361 w 3815927"/>
              <a:gd name="connsiteY106" fmla="*/ 699251 h 1746228"/>
              <a:gd name="connsiteX107" fmla="*/ 14181 w 3815927"/>
              <a:gd name="connsiteY107" fmla="*/ 713431 h 1746228"/>
              <a:gd name="connsiteX108" fmla="*/ 0 w 3815927"/>
              <a:gd name="connsiteY108" fmla="*/ 699251 h 1746228"/>
              <a:gd name="connsiteX109" fmla="*/ 14181 w 3815927"/>
              <a:gd name="connsiteY109" fmla="*/ 685070 h 1746228"/>
              <a:gd name="connsiteX110" fmla="*/ 14181 w 3815927"/>
              <a:gd name="connsiteY110" fmla="*/ 627667 h 1746228"/>
              <a:gd name="connsiteX111" fmla="*/ 28361 w 3815927"/>
              <a:gd name="connsiteY111" fmla="*/ 641905 h 1746228"/>
              <a:gd name="connsiteX112" fmla="*/ 14181 w 3815927"/>
              <a:gd name="connsiteY112" fmla="*/ 656028 h 1746228"/>
              <a:gd name="connsiteX113" fmla="*/ 0 w 3815927"/>
              <a:gd name="connsiteY113" fmla="*/ 641905 h 1746228"/>
              <a:gd name="connsiteX114" fmla="*/ 14181 w 3815927"/>
              <a:gd name="connsiteY114" fmla="*/ 627667 h 1746228"/>
              <a:gd name="connsiteX115" fmla="*/ 14181 w 3815927"/>
              <a:gd name="connsiteY115" fmla="*/ 570321 h 1746228"/>
              <a:gd name="connsiteX116" fmla="*/ 28361 w 3815927"/>
              <a:gd name="connsiteY116" fmla="*/ 584502 h 1746228"/>
              <a:gd name="connsiteX117" fmla="*/ 14181 w 3815927"/>
              <a:gd name="connsiteY117" fmla="*/ 598682 h 1746228"/>
              <a:gd name="connsiteX118" fmla="*/ 0 w 3815927"/>
              <a:gd name="connsiteY118" fmla="*/ 584502 h 1746228"/>
              <a:gd name="connsiteX119" fmla="*/ 14181 w 3815927"/>
              <a:gd name="connsiteY119" fmla="*/ 570321 h 1746228"/>
              <a:gd name="connsiteX120" fmla="*/ 14181 w 3815927"/>
              <a:gd name="connsiteY120" fmla="*/ 512918 h 1746228"/>
              <a:gd name="connsiteX121" fmla="*/ 28361 w 3815927"/>
              <a:gd name="connsiteY121" fmla="*/ 527099 h 1746228"/>
              <a:gd name="connsiteX122" fmla="*/ 14181 w 3815927"/>
              <a:gd name="connsiteY122" fmla="*/ 541280 h 1746228"/>
              <a:gd name="connsiteX123" fmla="*/ 0 w 3815927"/>
              <a:gd name="connsiteY123" fmla="*/ 527099 h 1746228"/>
              <a:gd name="connsiteX124" fmla="*/ 14181 w 3815927"/>
              <a:gd name="connsiteY124" fmla="*/ 512918 h 1746228"/>
              <a:gd name="connsiteX125" fmla="*/ 14181 w 3815927"/>
              <a:gd name="connsiteY125" fmla="*/ 455572 h 1746228"/>
              <a:gd name="connsiteX126" fmla="*/ 28361 w 3815927"/>
              <a:gd name="connsiteY126" fmla="*/ 469753 h 1746228"/>
              <a:gd name="connsiteX127" fmla="*/ 14181 w 3815927"/>
              <a:gd name="connsiteY127" fmla="*/ 483933 h 1746228"/>
              <a:gd name="connsiteX128" fmla="*/ 0 w 3815927"/>
              <a:gd name="connsiteY128" fmla="*/ 469753 h 1746228"/>
              <a:gd name="connsiteX129" fmla="*/ 14181 w 3815927"/>
              <a:gd name="connsiteY129" fmla="*/ 455572 h 1746228"/>
              <a:gd name="connsiteX130" fmla="*/ 14181 w 3815927"/>
              <a:gd name="connsiteY130" fmla="*/ 398169 h 1746228"/>
              <a:gd name="connsiteX131" fmla="*/ 28361 w 3815927"/>
              <a:gd name="connsiteY131" fmla="*/ 412350 h 1746228"/>
              <a:gd name="connsiteX132" fmla="*/ 14181 w 3815927"/>
              <a:gd name="connsiteY132" fmla="*/ 426530 h 1746228"/>
              <a:gd name="connsiteX133" fmla="*/ 0 w 3815927"/>
              <a:gd name="connsiteY133" fmla="*/ 412350 h 1746228"/>
              <a:gd name="connsiteX134" fmla="*/ 14181 w 3815927"/>
              <a:gd name="connsiteY134" fmla="*/ 398169 h 1746228"/>
              <a:gd name="connsiteX135" fmla="*/ 14181 w 3815927"/>
              <a:gd name="connsiteY135" fmla="*/ 340766 h 1746228"/>
              <a:gd name="connsiteX136" fmla="*/ 28361 w 3815927"/>
              <a:gd name="connsiteY136" fmla="*/ 355004 h 1746228"/>
              <a:gd name="connsiteX137" fmla="*/ 14181 w 3815927"/>
              <a:gd name="connsiteY137" fmla="*/ 369128 h 1746228"/>
              <a:gd name="connsiteX138" fmla="*/ 0 w 3815927"/>
              <a:gd name="connsiteY138" fmla="*/ 355004 h 1746228"/>
              <a:gd name="connsiteX139" fmla="*/ 14181 w 3815927"/>
              <a:gd name="connsiteY139" fmla="*/ 340766 h 1746228"/>
              <a:gd name="connsiteX140" fmla="*/ 38684 w 3815927"/>
              <a:gd name="connsiteY140" fmla="*/ 293545 h 1746228"/>
              <a:gd name="connsiteX141" fmla="*/ 48724 w 3815927"/>
              <a:gd name="connsiteY141" fmla="*/ 297714 h 1746228"/>
              <a:gd name="connsiteX142" fmla="*/ 48724 w 3815927"/>
              <a:gd name="connsiteY142" fmla="*/ 317794 h 1746228"/>
              <a:gd name="connsiteX143" fmla="*/ 38684 w 3815927"/>
              <a:gd name="connsiteY143" fmla="*/ 321935 h 1746228"/>
              <a:gd name="connsiteX144" fmla="*/ 28645 w 3815927"/>
              <a:gd name="connsiteY144" fmla="*/ 317794 h 1746228"/>
              <a:gd name="connsiteX145" fmla="*/ 28645 w 3815927"/>
              <a:gd name="connsiteY145" fmla="*/ 297714 h 1746228"/>
              <a:gd name="connsiteX146" fmla="*/ 38684 w 3815927"/>
              <a:gd name="connsiteY146" fmla="*/ 293545 h 1746228"/>
              <a:gd name="connsiteX147" fmla="*/ 79270 w 3815927"/>
              <a:gd name="connsiteY147" fmla="*/ 252989 h 1746228"/>
              <a:gd name="connsiteX148" fmla="*/ 89281 w 3815927"/>
              <a:gd name="connsiteY148" fmla="*/ 257158 h 1746228"/>
              <a:gd name="connsiteX149" fmla="*/ 89281 w 3815927"/>
              <a:gd name="connsiteY149" fmla="*/ 277181 h 1746228"/>
              <a:gd name="connsiteX150" fmla="*/ 79298 w 3815927"/>
              <a:gd name="connsiteY150" fmla="*/ 281378 h 1746228"/>
              <a:gd name="connsiteX151" fmla="*/ 69258 w 3815927"/>
              <a:gd name="connsiteY151" fmla="*/ 277181 h 1746228"/>
              <a:gd name="connsiteX152" fmla="*/ 69258 w 3815927"/>
              <a:gd name="connsiteY152" fmla="*/ 257158 h 1746228"/>
              <a:gd name="connsiteX153" fmla="*/ 79270 w 3815927"/>
              <a:gd name="connsiteY153" fmla="*/ 252989 h 1746228"/>
              <a:gd name="connsiteX154" fmla="*/ 3743323 w 3815927"/>
              <a:gd name="connsiteY154" fmla="*/ 212688 h 1746228"/>
              <a:gd name="connsiteX155" fmla="*/ 3748882 w 3815927"/>
              <a:gd name="connsiteY155" fmla="*/ 212688 h 1746228"/>
              <a:gd name="connsiteX156" fmla="*/ 3751548 w 3815927"/>
              <a:gd name="connsiteY156" fmla="*/ 213482 h 1746228"/>
              <a:gd name="connsiteX157" fmla="*/ 3753987 w 3815927"/>
              <a:gd name="connsiteY157" fmla="*/ 214786 h 1746228"/>
              <a:gd name="connsiteX158" fmla="*/ 3756142 w 3815927"/>
              <a:gd name="connsiteY158" fmla="*/ 216601 h 1746228"/>
              <a:gd name="connsiteX159" fmla="*/ 3757901 w 3815927"/>
              <a:gd name="connsiteY159" fmla="*/ 218757 h 1746228"/>
              <a:gd name="connsiteX160" fmla="*/ 3759205 w 3815927"/>
              <a:gd name="connsiteY160" fmla="*/ 221196 h 1746228"/>
              <a:gd name="connsiteX161" fmla="*/ 3760000 w 3815927"/>
              <a:gd name="connsiteY161" fmla="*/ 223805 h 1746228"/>
              <a:gd name="connsiteX162" fmla="*/ 3760283 w 3815927"/>
              <a:gd name="connsiteY162" fmla="*/ 226585 h 1746228"/>
              <a:gd name="connsiteX163" fmla="*/ 3760000 w 3815927"/>
              <a:gd name="connsiteY163" fmla="*/ 229364 h 1746228"/>
              <a:gd name="connsiteX164" fmla="*/ 3759205 w 3815927"/>
              <a:gd name="connsiteY164" fmla="*/ 232030 h 1746228"/>
              <a:gd name="connsiteX165" fmla="*/ 3757901 w 3815927"/>
              <a:gd name="connsiteY165" fmla="*/ 234469 h 1746228"/>
              <a:gd name="connsiteX166" fmla="*/ 3756142 w 3815927"/>
              <a:gd name="connsiteY166" fmla="*/ 236625 h 1746228"/>
              <a:gd name="connsiteX167" fmla="*/ 3753987 w 3815927"/>
              <a:gd name="connsiteY167" fmla="*/ 238383 h 1746228"/>
              <a:gd name="connsiteX168" fmla="*/ 3751548 w 3815927"/>
              <a:gd name="connsiteY168" fmla="*/ 239687 h 1746228"/>
              <a:gd name="connsiteX169" fmla="*/ 3748882 w 3815927"/>
              <a:gd name="connsiteY169" fmla="*/ 240482 h 1746228"/>
              <a:gd name="connsiteX170" fmla="*/ 3746103 w 3815927"/>
              <a:gd name="connsiteY170" fmla="*/ 240765 h 1746228"/>
              <a:gd name="connsiteX171" fmla="*/ 3743323 w 3815927"/>
              <a:gd name="connsiteY171" fmla="*/ 240482 h 1746228"/>
              <a:gd name="connsiteX172" fmla="*/ 3740657 w 3815927"/>
              <a:gd name="connsiteY172" fmla="*/ 239687 h 1746228"/>
              <a:gd name="connsiteX173" fmla="*/ 3738218 w 3815927"/>
              <a:gd name="connsiteY173" fmla="*/ 238383 h 1746228"/>
              <a:gd name="connsiteX174" fmla="*/ 3736063 w 3815927"/>
              <a:gd name="connsiteY174" fmla="*/ 236625 h 1746228"/>
              <a:gd name="connsiteX175" fmla="*/ 3734304 w 3815927"/>
              <a:gd name="connsiteY175" fmla="*/ 234469 h 1746228"/>
              <a:gd name="connsiteX176" fmla="*/ 3733000 w 3815927"/>
              <a:gd name="connsiteY176" fmla="*/ 232030 h 1746228"/>
              <a:gd name="connsiteX177" fmla="*/ 3732206 w 3815927"/>
              <a:gd name="connsiteY177" fmla="*/ 229364 h 1746228"/>
              <a:gd name="connsiteX178" fmla="*/ 3731922 w 3815927"/>
              <a:gd name="connsiteY178" fmla="*/ 226585 h 1746228"/>
              <a:gd name="connsiteX179" fmla="*/ 3732206 w 3815927"/>
              <a:gd name="connsiteY179" fmla="*/ 223805 h 1746228"/>
              <a:gd name="connsiteX180" fmla="*/ 3733000 w 3815927"/>
              <a:gd name="connsiteY180" fmla="*/ 221196 h 1746228"/>
              <a:gd name="connsiteX181" fmla="*/ 3734304 w 3815927"/>
              <a:gd name="connsiteY181" fmla="*/ 218757 h 1746228"/>
              <a:gd name="connsiteX182" fmla="*/ 3736063 w 3815927"/>
              <a:gd name="connsiteY182" fmla="*/ 216601 h 1746228"/>
              <a:gd name="connsiteX183" fmla="*/ 3738218 w 3815927"/>
              <a:gd name="connsiteY183" fmla="*/ 214786 h 1746228"/>
              <a:gd name="connsiteX184" fmla="*/ 3740657 w 3815927"/>
              <a:gd name="connsiteY184" fmla="*/ 213482 h 1746228"/>
              <a:gd name="connsiteX185" fmla="*/ 3743323 w 3815927"/>
              <a:gd name="connsiteY185" fmla="*/ 212688 h 1746228"/>
              <a:gd name="connsiteX186" fmla="*/ 117074 w 3815927"/>
              <a:gd name="connsiteY186" fmla="*/ 212688 h 1746228"/>
              <a:gd name="connsiteX187" fmla="*/ 122633 w 3815927"/>
              <a:gd name="connsiteY187" fmla="*/ 212688 h 1746228"/>
              <a:gd name="connsiteX188" fmla="*/ 125242 w 3815927"/>
              <a:gd name="connsiteY188" fmla="*/ 213482 h 1746228"/>
              <a:gd name="connsiteX189" fmla="*/ 127738 w 3815927"/>
              <a:gd name="connsiteY189" fmla="*/ 214786 h 1746228"/>
              <a:gd name="connsiteX190" fmla="*/ 129893 w 3815927"/>
              <a:gd name="connsiteY190" fmla="*/ 216601 h 1746228"/>
              <a:gd name="connsiteX191" fmla="*/ 131652 w 3815927"/>
              <a:gd name="connsiteY191" fmla="*/ 218757 h 1746228"/>
              <a:gd name="connsiteX192" fmla="*/ 132956 w 3815927"/>
              <a:gd name="connsiteY192" fmla="*/ 221196 h 1746228"/>
              <a:gd name="connsiteX193" fmla="*/ 133750 w 3815927"/>
              <a:gd name="connsiteY193" fmla="*/ 223805 h 1746228"/>
              <a:gd name="connsiteX194" fmla="*/ 134034 w 3815927"/>
              <a:gd name="connsiteY194" fmla="*/ 226585 h 1746228"/>
              <a:gd name="connsiteX195" fmla="*/ 129893 w 3815927"/>
              <a:gd name="connsiteY195" fmla="*/ 236625 h 1746228"/>
              <a:gd name="connsiteX196" fmla="*/ 127738 w 3815927"/>
              <a:gd name="connsiteY196" fmla="*/ 238383 h 1746228"/>
              <a:gd name="connsiteX197" fmla="*/ 125242 w 3815927"/>
              <a:gd name="connsiteY197" fmla="*/ 239687 h 1746228"/>
              <a:gd name="connsiteX198" fmla="*/ 122633 w 3815927"/>
              <a:gd name="connsiteY198" fmla="*/ 240482 h 1746228"/>
              <a:gd name="connsiteX199" fmla="*/ 119854 w 3815927"/>
              <a:gd name="connsiteY199" fmla="*/ 240765 h 1746228"/>
              <a:gd name="connsiteX200" fmla="*/ 117074 w 3815927"/>
              <a:gd name="connsiteY200" fmla="*/ 240482 h 1746228"/>
              <a:gd name="connsiteX201" fmla="*/ 114408 w 3815927"/>
              <a:gd name="connsiteY201" fmla="*/ 239687 h 1746228"/>
              <a:gd name="connsiteX202" fmla="*/ 111969 w 3815927"/>
              <a:gd name="connsiteY202" fmla="*/ 238383 h 1746228"/>
              <a:gd name="connsiteX203" fmla="*/ 109814 w 3815927"/>
              <a:gd name="connsiteY203" fmla="*/ 236625 h 1746228"/>
              <a:gd name="connsiteX204" fmla="*/ 108055 w 3815927"/>
              <a:gd name="connsiteY204" fmla="*/ 234469 h 1746228"/>
              <a:gd name="connsiteX205" fmla="*/ 106751 w 3815927"/>
              <a:gd name="connsiteY205" fmla="*/ 232030 h 1746228"/>
              <a:gd name="connsiteX206" fmla="*/ 105957 w 3815927"/>
              <a:gd name="connsiteY206" fmla="*/ 229364 h 1746228"/>
              <a:gd name="connsiteX207" fmla="*/ 105673 w 3815927"/>
              <a:gd name="connsiteY207" fmla="*/ 226585 h 1746228"/>
              <a:gd name="connsiteX208" fmla="*/ 105957 w 3815927"/>
              <a:gd name="connsiteY208" fmla="*/ 223805 h 1746228"/>
              <a:gd name="connsiteX209" fmla="*/ 106751 w 3815927"/>
              <a:gd name="connsiteY209" fmla="*/ 221196 h 1746228"/>
              <a:gd name="connsiteX210" fmla="*/ 108055 w 3815927"/>
              <a:gd name="connsiteY210" fmla="*/ 218757 h 1746228"/>
              <a:gd name="connsiteX211" fmla="*/ 109814 w 3815927"/>
              <a:gd name="connsiteY211" fmla="*/ 216601 h 1746228"/>
              <a:gd name="connsiteX212" fmla="*/ 111969 w 3815927"/>
              <a:gd name="connsiteY212" fmla="*/ 214786 h 1746228"/>
              <a:gd name="connsiteX213" fmla="*/ 114408 w 3815927"/>
              <a:gd name="connsiteY213" fmla="*/ 213482 h 1746228"/>
              <a:gd name="connsiteX214" fmla="*/ 117074 w 3815927"/>
              <a:gd name="connsiteY214" fmla="*/ 212688 h 1746228"/>
              <a:gd name="connsiteX215" fmla="*/ 3801768 w 3815927"/>
              <a:gd name="connsiteY215" fmla="*/ 212602 h 1746228"/>
              <a:gd name="connsiteX216" fmla="*/ 3811786 w 3815927"/>
              <a:gd name="connsiteY216" fmla="*/ 216601 h 1746228"/>
              <a:gd name="connsiteX217" fmla="*/ 3813545 w 3815927"/>
              <a:gd name="connsiteY217" fmla="*/ 218756 h 1746228"/>
              <a:gd name="connsiteX218" fmla="*/ 3814849 w 3815927"/>
              <a:gd name="connsiteY218" fmla="*/ 221195 h 1746228"/>
              <a:gd name="connsiteX219" fmla="*/ 3815644 w 3815927"/>
              <a:gd name="connsiteY219" fmla="*/ 223805 h 1746228"/>
              <a:gd name="connsiteX220" fmla="*/ 3815927 w 3815927"/>
              <a:gd name="connsiteY220" fmla="*/ 226584 h 1746228"/>
              <a:gd name="connsiteX221" fmla="*/ 3815644 w 3815927"/>
              <a:gd name="connsiteY221" fmla="*/ 229363 h 1746228"/>
              <a:gd name="connsiteX222" fmla="*/ 3814849 w 3815927"/>
              <a:gd name="connsiteY222" fmla="*/ 232030 h 1746228"/>
              <a:gd name="connsiteX223" fmla="*/ 3813545 w 3815927"/>
              <a:gd name="connsiteY223" fmla="*/ 234469 h 1746228"/>
              <a:gd name="connsiteX224" fmla="*/ 3811786 w 3815927"/>
              <a:gd name="connsiteY224" fmla="*/ 236624 h 1746228"/>
              <a:gd name="connsiteX225" fmla="*/ 3801747 w 3815927"/>
              <a:gd name="connsiteY225" fmla="*/ 240765 h 1746228"/>
              <a:gd name="connsiteX226" fmla="*/ 3791707 w 3815927"/>
              <a:gd name="connsiteY226" fmla="*/ 236624 h 1746228"/>
              <a:gd name="connsiteX227" fmla="*/ 3787566 w 3815927"/>
              <a:gd name="connsiteY227" fmla="*/ 226584 h 1746228"/>
              <a:gd name="connsiteX228" fmla="*/ 3787850 w 3815927"/>
              <a:gd name="connsiteY228" fmla="*/ 223805 h 1746228"/>
              <a:gd name="connsiteX229" fmla="*/ 3788644 w 3815927"/>
              <a:gd name="connsiteY229" fmla="*/ 221195 h 1746228"/>
              <a:gd name="connsiteX230" fmla="*/ 3789948 w 3815927"/>
              <a:gd name="connsiteY230" fmla="*/ 218756 h 1746228"/>
              <a:gd name="connsiteX231" fmla="*/ 3791707 w 3815927"/>
              <a:gd name="connsiteY231" fmla="*/ 216601 h 1746228"/>
              <a:gd name="connsiteX232" fmla="*/ 3801768 w 3815927"/>
              <a:gd name="connsiteY232" fmla="*/ 212602 h 1746228"/>
              <a:gd name="connsiteX233" fmla="*/ 3689437 w 3815927"/>
              <a:gd name="connsiteY233" fmla="*/ 212404 h 1746228"/>
              <a:gd name="connsiteX234" fmla="*/ 3703618 w 3815927"/>
              <a:gd name="connsiteY234" fmla="*/ 226585 h 1746228"/>
              <a:gd name="connsiteX235" fmla="*/ 3689437 w 3815927"/>
              <a:gd name="connsiteY235" fmla="*/ 240765 h 1746228"/>
              <a:gd name="connsiteX236" fmla="*/ 3675257 w 3815927"/>
              <a:gd name="connsiteY236" fmla="*/ 226585 h 1746228"/>
              <a:gd name="connsiteX237" fmla="*/ 3689437 w 3815927"/>
              <a:gd name="connsiteY237" fmla="*/ 212404 h 1746228"/>
              <a:gd name="connsiteX238" fmla="*/ 3632772 w 3815927"/>
              <a:gd name="connsiteY238" fmla="*/ 212404 h 1746228"/>
              <a:gd name="connsiteX239" fmla="*/ 3646952 w 3815927"/>
              <a:gd name="connsiteY239" fmla="*/ 226585 h 1746228"/>
              <a:gd name="connsiteX240" fmla="*/ 3632772 w 3815927"/>
              <a:gd name="connsiteY240" fmla="*/ 240765 h 1746228"/>
              <a:gd name="connsiteX241" fmla="*/ 3618591 w 3815927"/>
              <a:gd name="connsiteY241" fmla="*/ 226585 h 1746228"/>
              <a:gd name="connsiteX242" fmla="*/ 3632772 w 3815927"/>
              <a:gd name="connsiteY242" fmla="*/ 212404 h 1746228"/>
              <a:gd name="connsiteX243" fmla="*/ 3576106 w 3815927"/>
              <a:gd name="connsiteY243" fmla="*/ 212404 h 1746228"/>
              <a:gd name="connsiteX244" fmla="*/ 3590287 w 3815927"/>
              <a:gd name="connsiteY244" fmla="*/ 226585 h 1746228"/>
              <a:gd name="connsiteX245" fmla="*/ 3576106 w 3815927"/>
              <a:gd name="connsiteY245" fmla="*/ 240765 h 1746228"/>
              <a:gd name="connsiteX246" fmla="*/ 3561926 w 3815927"/>
              <a:gd name="connsiteY246" fmla="*/ 226585 h 1746228"/>
              <a:gd name="connsiteX247" fmla="*/ 3576106 w 3815927"/>
              <a:gd name="connsiteY247" fmla="*/ 212404 h 1746228"/>
              <a:gd name="connsiteX248" fmla="*/ 3519441 w 3815927"/>
              <a:gd name="connsiteY248" fmla="*/ 212404 h 1746228"/>
              <a:gd name="connsiteX249" fmla="*/ 3533621 w 3815927"/>
              <a:gd name="connsiteY249" fmla="*/ 226585 h 1746228"/>
              <a:gd name="connsiteX250" fmla="*/ 3519441 w 3815927"/>
              <a:gd name="connsiteY250" fmla="*/ 240765 h 1746228"/>
              <a:gd name="connsiteX251" fmla="*/ 3505260 w 3815927"/>
              <a:gd name="connsiteY251" fmla="*/ 226585 h 1746228"/>
              <a:gd name="connsiteX252" fmla="*/ 3519441 w 3815927"/>
              <a:gd name="connsiteY252" fmla="*/ 212404 h 1746228"/>
              <a:gd name="connsiteX253" fmla="*/ 3462832 w 3815927"/>
              <a:gd name="connsiteY253" fmla="*/ 212404 h 1746228"/>
              <a:gd name="connsiteX254" fmla="*/ 3477013 w 3815927"/>
              <a:gd name="connsiteY254" fmla="*/ 226585 h 1746228"/>
              <a:gd name="connsiteX255" fmla="*/ 3462832 w 3815927"/>
              <a:gd name="connsiteY255" fmla="*/ 240765 h 1746228"/>
              <a:gd name="connsiteX256" fmla="*/ 3448652 w 3815927"/>
              <a:gd name="connsiteY256" fmla="*/ 226585 h 1746228"/>
              <a:gd name="connsiteX257" fmla="*/ 3462832 w 3815927"/>
              <a:gd name="connsiteY257" fmla="*/ 212404 h 1746228"/>
              <a:gd name="connsiteX258" fmla="*/ 3406167 w 3815927"/>
              <a:gd name="connsiteY258" fmla="*/ 212404 h 1746228"/>
              <a:gd name="connsiteX259" fmla="*/ 3420347 w 3815927"/>
              <a:gd name="connsiteY259" fmla="*/ 226585 h 1746228"/>
              <a:gd name="connsiteX260" fmla="*/ 3406167 w 3815927"/>
              <a:gd name="connsiteY260" fmla="*/ 240765 h 1746228"/>
              <a:gd name="connsiteX261" fmla="*/ 3391929 w 3815927"/>
              <a:gd name="connsiteY261" fmla="*/ 226585 h 1746228"/>
              <a:gd name="connsiteX262" fmla="*/ 3406167 w 3815927"/>
              <a:gd name="connsiteY262" fmla="*/ 212404 h 1746228"/>
              <a:gd name="connsiteX263" fmla="*/ 3349501 w 3815927"/>
              <a:gd name="connsiteY263" fmla="*/ 212404 h 1746228"/>
              <a:gd name="connsiteX264" fmla="*/ 3363682 w 3815927"/>
              <a:gd name="connsiteY264" fmla="*/ 226585 h 1746228"/>
              <a:gd name="connsiteX265" fmla="*/ 3349501 w 3815927"/>
              <a:gd name="connsiteY265" fmla="*/ 240765 h 1746228"/>
              <a:gd name="connsiteX266" fmla="*/ 3335321 w 3815927"/>
              <a:gd name="connsiteY266" fmla="*/ 226585 h 1746228"/>
              <a:gd name="connsiteX267" fmla="*/ 3349501 w 3815927"/>
              <a:gd name="connsiteY267" fmla="*/ 212404 h 1746228"/>
              <a:gd name="connsiteX268" fmla="*/ 3292836 w 3815927"/>
              <a:gd name="connsiteY268" fmla="*/ 212404 h 1746228"/>
              <a:gd name="connsiteX269" fmla="*/ 3307016 w 3815927"/>
              <a:gd name="connsiteY269" fmla="*/ 226585 h 1746228"/>
              <a:gd name="connsiteX270" fmla="*/ 3292836 w 3815927"/>
              <a:gd name="connsiteY270" fmla="*/ 240765 h 1746228"/>
              <a:gd name="connsiteX271" fmla="*/ 3278655 w 3815927"/>
              <a:gd name="connsiteY271" fmla="*/ 226585 h 1746228"/>
              <a:gd name="connsiteX272" fmla="*/ 3292836 w 3815927"/>
              <a:gd name="connsiteY272" fmla="*/ 212404 h 1746228"/>
              <a:gd name="connsiteX273" fmla="*/ 3236170 w 3815927"/>
              <a:gd name="connsiteY273" fmla="*/ 212404 h 1746228"/>
              <a:gd name="connsiteX274" fmla="*/ 3250351 w 3815927"/>
              <a:gd name="connsiteY274" fmla="*/ 226585 h 1746228"/>
              <a:gd name="connsiteX275" fmla="*/ 3236170 w 3815927"/>
              <a:gd name="connsiteY275" fmla="*/ 240765 h 1746228"/>
              <a:gd name="connsiteX276" fmla="*/ 3221990 w 3815927"/>
              <a:gd name="connsiteY276" fmla="*/ 226585 h 1746228"/>
              <a:gd name="connsiteX277" fmla="*/ 3236170 w 3815927"/>
              <a:gd name="connsiteY277" fmla="*/ 212404 h 1746228"/>
              <a:gd name="connsiteX278" fmla="*/ 3179505 w 3815927"/>
              <a:gd name="connsiteY278" fmla="*/ 212404 h 1746228"/>
              <a:gd name="connsiteX279" fmla="*/ 3193685 w 3815927"/>
              <a:gd name="connsiteY279" fmla="*/ 226585 h 1746228"/>
              <a:gd name="connsiteX280" fmla="*/ 3179505 w 3815927"/>
              <a:gd name="connsiteY280" fmla="*/ 240765 h 1746228"/>
              <a:gd name="connsiteX281" fmla="*/ 3165324 w 3815927"/>
              <a:gd name="connsiteY281" fmla="*/ 226585 h 1746228"/>
              <a:gd name="connsiteX282" fmla="*/ 3179505 w 3815927"/>
              <a:gd name="connsiteY282" fmla="*/ 212404 h 1746228"/>
              <a:gd name="connsiteX283" fmla="*/ 3122839 w 3815927"/>
              <a:gd name="connsiteY283" fmla="*/ 212404 h 1746228"/>
              <a:gd name="connsiteX284" fmla="*/ 3137020 w 3815927"/>
              <a:gd name="connsiteY284" fmla="*/ 226585 h 1746228"/>
              <a:gd name="connsiteX285" fmla="*/ 3122839 w 3815927"/>
              <a:gd name="connsiteY285" fmla="*/ 240765 h 1746228"/>
              <a:gd name="connsiteX286" fmla="*/ 3108659 w 3815927"/>
              <a:gd name="connsiteY286" fmla="*/ 226585 h 1746228"/>
              <a:gd name="connsiteX287" fmla="*/ 3122839 w 3815927"/>
              <a:gd name="connsiteY287" fmla="*/ 212404 h 1746228"/>
              <a:gd name="connsiteX288" fmla="*/ 3066174 w 3815927"/>
              <a:gd name="connsiteY288" fmla="*/ 212404 h 1746228"/>
              <a:gd name="connsiteX289" fmla="*/ 3080355 w 3815927"/>
              <a:gd name="connsiteY289" fmla="*/ 226585 h 1746228"/>
              <a:gd name="connsiteX290" fmla="*/ 3066174 w 3815927"/>
              <a:gd name="connsiteY290" fmla="*/ 240765 h 1746228"/>
              <a:gd name="connsiteX291" fmla="*/ 3051993 w 3815927"/>
              <a:gd name="connsiteY291" fmla="*/ 226585 h 1746228"/>
              <a:gd name="connsiteX292" fmla="*/ 3066174 w 3815927"/>
              <a:gd name="connsiteY292" fmla="*/ 212404 h 1746228"/>
              <a:gd name="connsiteX293" fmla="*/ 3009509 w 3815927"/>
              <a:gd name="connsiteY293" fmla="*/ 212404 h 1746228"/>
              <a:gd name="connsiteX294" fmla="*/ 3023689 w 3815927"/>
              <a:gd name="connsiteY294" fmla="*/ 226585 h 1746228"/>
              <a:gd name="connsiteX295" fmla="*/ 3009509 w 3815927"/>
              <a:gd name="connsiteY295" fmla="*/ 240765 h 1746228"/>
              <a:gd name="connsiteX296" fmla="*/ 2995328 w 3815927"/>
              <a:gd name="connsiteY296" fmla="*/ 226585 h 1746228"/>
              <a:gd name="connsiteX297" fmla="*/ 3009509 w 3815927"/>
              <a:gd name="connsiteY297" fmla="*/ 212404 h 1746228"/>
              <a:gd name="connsiteX298" fmla="*/ 2952843 w 3815927"/>
              <a:gd name="connsiteY298" fmla="*/ 212404 h 1746228"/>
              <a:gd name="connsiteX299" fmla="*/ 2967024 w 3815927"/>
              <a:gd name="connsiteY299" fmla="*/ 226585 h 1746228"/>
              <a:gd name="connsiteX300" fmla="*/ 2952843 w 3815927"/>
              <a:gd name="connsiteY300" fmla="*/ 240765 h 1746228"/>
              <a:gd name="connsiteX301" fmla="*/ 2938663 w 3815927"/>
              <a:gd name="connsiteY301" fmla="*/ 226585 h 1746228"/>
              <a:gd name="connsiteX302" fmla="*/ 2952843 w 3815927"/>
              <a:gd name="connsiteY302" fmla="*/ 212404 h 1746228"/>
              <a:gd name="connsiteX303" fmla="*/ 2896177 w 3815927"/>
              <a:gd name="connsiteY303" fmla="*/ 212404 h 1746228"/>
              <a:gd name="connsiteX304" fmla="*/ 2910358 w 3815927"/>
              <a:gd name="connsiteY304" fmla="*/ 226585 h 1746228"/>
              <a:gd name="connsiteX305" fmla="*/ 2896177 w 3815927"/>
              <a:gd name="connsiteY305" fmla="*/ 240765 h 1746228"/>
              <a:gd name="connsiteX306" fmla="*/ 2881997 w 3815927"/>
              <a:gd name="connsiteY306" fmla="*/ 226585 h 1746228"/>
              <a:gd name="connsiteX307" fmla="*/ 2896177 w 3815927"/>
              <a:gd name="connsiteY307" fmla="*/ 212404 h 1746228"/>
              <a:gd name="connsiteX308" fmla="*/ 2839569 w 3815927"/>
              <a:gd name="connsiteY308" fmla="*/ 212404 h 1746228"/>
              <a:gd name="connsiteX309" fmla="*/ 2853693 w 3815927"/>
              <a:gd name="connsiteY309" fmla="*/ 226585 h 1746228"/>
              <a:gd name="connsiteX310" fmla="*/ 2839569 w 3815927"/>
              <a:gd name="connsiteY310" fmla="*/ 240765 h 1746228"/>
              <a:gd name="connsiteX311" fmla="*/ 2825388 w 3815927"/>
              <a:gd name="connsiteY311" fmla="*/ 226585 h 1746228"/>
              <a:gd name="connsiteX312" fmla="*/ 2839569 w 3815927"/>
              <a:gd name="connsiteY312" fmla="*/ 212404 h 1746228"/>
              <a:gd name="connsiteX313" fmla="*/ 2782847 w 3815927"/>
              <a:gd name="connsiteY313" fmla="*/ 212404 h 1746228"/>
              <a:gd name="connsiteX314" fmla="*/ 2797084 w 3815927"/>
              <a:gd name="connsiteY314" fmla="*/ 226585 h 1746228"/>
              <a:gd name="connsiteX315" fmla="*/ 2782847 w 3815927"/>
              <a:gd name="connsiteY315" fmla="*/ 240765 h 1746228"/>
              <a:gd name="connsiteX316" fmla="*/ 2768723 w 3815927"/>
              <a:gd name="connsiteY316" fmla="*/ 226585 h 1746228"/>
              <a:gd name="connsiteX317" fmla="*/ 2782847 w 3815927"/>
              <a:gd name="connsiteY317" fmla="*/ 212404 h 1746228"/>
              <a:gd name="connsiteX318" fmla="*/ 2726238 w 3815927"/>
              <a:gd name="connsiteY318" fmla="*/ 212404 h 1746228"/>
              <a:gd name="connsiteX319" fmla="*/ 2740419 w 3815927"/>
              <a:gd name="connsiteY319" fmla="*/ 226585 h 1746228"/>
              <a:gd name="connsiteX320" fmla="*/ 2726238 w 3815927"/>
              <a:gd name="connsiteY320" fmla="*/ 240765 h 1746228"/>
              <a:gd name="connsiteX321" fmla="*/ 2712058 w 3815927"/>
              <a:gd name="connsiteY321" fmla="*/ 226585 h 1746228"/>
              <a:gd name="connsiteX322" fmla="*/ 2726238 w 3815927"/>
              <a:gd name="connsiteY322" fmla="*/ 212404 h 1746228"/>
              <a:gd name="connsiteX323" fmla="*/ 2669573 w 3815927"/>
              <a:gd name="connsiteY323" fmla="*/ 212404 h 1746228"/>
              <a:gd name="connsiteX324" fmla="*/ 2683753 w 3815927"/>
              <a:gd name="connsiteY324" fmla="*/ 226585 h 1746228"/>
              <a:gd name="connsiteX325" fmla="*/ 2669573 w 3815927"/>
              <a:gd name="connsiteY325" fmla="*/ 240765 h 1746228"/>
              <a:gd name="connsiteX326" fmla="*/ 2655392 w 3815927"/>
              <a:gd name="connsiteY326" fmla="*/ 226585 h 1746228"/>
              <a:gd name="connsiteX327" fmla="*/ 2669573 w 3815927"/>
              <a:gd name="connsiteY327" fmla="*/ 212404 h 1746228"/>
              <a:gd name="connsiteX328" fmla="*/ 2612907 w 3815927"/>
              <a:gd name="connsiteY328" fmla="*/ 212404 h 1746228"/>
              <a:gd name="connsiteX329" fmla="*/ 2627087 w 3815927"/>
              <a:gd name="connsiteY329" fmla="*/ 226585 h 1746228"/>
              <a:gd name="connsiteX330" fmla="*/ 2612907 w 3815927"/>
              <a:gd name="connsiteY330" fmla="*/ 240765 h 1746228"/>
              <a:gd name="connsiteX331" fmla="*/ 2598726 w 3815927"/>
              <a:gd name="connsiteY331" fmla="*/ 226585 h 1746228"/>
              <a:gd name="connsiteX332" fmla="*/ 2612907 w 3815927"/>
              <a:gd name="connsiteY332" fmla="*/ 212404 h 1746228"/>
              <a:gd name="connsiteX333" fmla="*/ 2556242 w 3815927"/>
              <a:gd name="connsiteY333" fmla="*/ 212404 h 1746228"/>
              <a:gd name="connsiteX334" fmla="*/ 2570422 w 3815927"/>
              <a:gd name="connsiteY334" fmla="*/ 226585 h 1746228"/>
              <a:gd name="connsiteX335" fmla="*/ 2556242 w 3815927"/>
              <a:gd name="connsiteY335" fmla="*/ 240765 h 1746228"/>
              <a:gd name="connsiteX336" fmla="*/ 2542061 w 3815927"/>
              <a:gd name="connsiteY336" fmla="*/ 226585 h 1746228"/>
              <a:gd name="connsiteX337" fmla="*/ 2556242 w 3815927"/>
              <a:gd name="connsiteY337" fmla="*/ 212404 h 1746228"/>
              <a:gd name="connsiteX338" fmla="*/ 2499576 w 3815927"/>
              <a:gd name="connsiteY338" fmla="*/ 212404 h 1746228"/>
              <a:gd name="connsiteX339" fmla="*/ 2513757 w 3815927"/>
              <a:gd name="connsiteY339" fmla="*/ 226585 h 1746228"/>
              <a:gd name="connsiteX340" fmla="*/ 2499576 w 3815927"/>
              <a:gd name="connsiteY340" fmla="*/ 240765 h 1746228"/>
              <a:gd name="connsiteX341" fmla="*/ 2485396 w 3815927"/>
              <a:gd name="connsiteY341" fmla="*/ 226585 h 1746228"/>
              <a:gd name="connsiteX342" fmla="*/ 2499576 w 3815927"/>
              <a:gd name="connsiteY342" fmla="*/ 212404 h 1746228"/>
              <a:gd name="connsiteX343" fmla="*/ 2442911 w 3815927"/>
              <a:gd name="connsiteY343" fmla="*/ 212404 h 1746228"/>
              <a:gd name="connsiteX344" fmla="*/ 2457091 w 3815927"/>
              <a:gd name="connsiteY344" fmla="*/ 226585 h 1746228"/>
              <a:gd name="connsiteX345" fmla="*/ 2442911 w 3815927"/>
              <a:gd name="connsiteY345" fmla="*/ 240765 h 1746228"/>
              <a:gd name="connsiteX346" fmla="*/ 2428730 w 3815927"/>
              <a:gd name="connsiteY346" fmla="*/ 226585 h 1746228"/>
              <a:gd name="connsiteX347" fmla="*/ 2442911 w 3815927"/>
              <a:gd name="connsiteY347" fmla="*/ 212404 h 1746228"/>
              <a:gd name="connsiteX348" fmla="*/ 2386245 w 3815927"/>
              <a:gd name="connsiteY348" fmla="*/ 212404 h 1746228"/>
              <a:gd name="connsiteX349" fmla="*/ 2400426 w 3815927"/>
              <a:gd name="connsiteY349" fmla="*/ 226585 h 1746228"/>
              <a:gd name="connsiteX350" fmla="*/ 2386245 w 3815927"/>
              <a:gd name="connsiteY350" fmla="*/ 240765 h 1746228"/>
              <a:gd name="connsiteX351" fmla="*/ 2372065 w 3815927"/>
              <a:gd name="connsiteY351" fmla="*/ 226585 h 1746228"/>
              <a:gd name="connsiteX352" fmla="*/ 2386245 w 3815927"/>
              <a:gd name="connsiteY352" fmla="*/ 212404 h 1746228"/>
              <a:gd name="connsiteX353" fmla="*/ 2329580 w 3815927"/>
              <a:gd name="connsiteY353" fmla="*/ 212404 h 1746228"/>
              <a:gd name="connsiteX354" fmla="*/ 2343761 w 3815927"/>
              <a:gd name="connsiteY354" fmla="*/ 226585 h 1746228"/>
              <a:gd name="connsiteX355" fmla="*/ 2329580 w 3815927"/>
              <a:gd name="connsiteY355" fmla="*/ 240765 h 1746228"/>
              <a:gd name="connsiteX356" fmla="*/ 2315399 w 3815927"/>
              <a:gd name="connsiteY356" fmla="*/ 226585 h 1746228"/>
              <a:gd name="connsiteX357" fmla="*/ 2329580 w 3815927"/>
              <a:gd name="connsiteY357" fmla="*/ 212404 h 1746228"/>
              <a:gd name="connsiteX358" fmla="*/ 2272915 w 3815927"/>
              <a:gd name="connsiteY358" fmla="*/ 212404 h 1746228"/>
              <a:gd name="connsiteX359" fmla="*/ 2287095 w 3815927"/>
              <a:gd name="connsiteY359" fmla="*/ 226585 h 1746228"/>
              <a:gd name="connsiteX360" fmla="*/ 2272915 w 3815927"/>
              <a:gd name="connsiteY360" fmla="*/ 240765 h 1746228"/>
              <a:gd name="connsiteX361" fmla="*/ 2258734 w 3815927"/>
              <a:gd name="connsiteY361" fmla="*/ 226585 h 1746228"/>
              <a:gd name="connsiteX362" fmla="*/ 2272915 w 3815927"/>
              <a:gd name="connsiteY362" fmla="*/ 212404 h 1746228"/>
              <a:gd name="connsiteX363" fmla="*/ 2216306 w 3815927"/>
              <a:gd name="connsiteY363" fmla="*/ 212404 h 1746228"/>
              <a:gd name="connsiteX364" fmla="*/ 2230429 w 3815927"/>
              <a:gd name="connsiteY364" fmla="*/ 226585 h 1746228"/>
              <a:gd name="connsiteX365" fmla="*/ 2216306 w 3815927"/>
              <a:gd name="connsiteY365" fmla="*/ 240765 h 1746228"/>
              <a:gd name="connsiteX366" fmla="*/ 2202125 w 3815927"/>
              <a:gd name="connsiteY366" fmla="*/ 226585 h 1746228"/>
              <a:gd name="connsiteX367" fmla="*/ 2216306 w 3815927"/>
              <a:gd name="connsiteY367" fmla="*/ 212404 h 1746228"/>
              <a:gd name="connsiteX368" fmla="*/ 2159640 w 3815927"/>
              <a:gd name="connsiteY368" fmla="*/ 212404 h 1746228"/>
              <a:gd name="connsiteX369" fmla="*/ 2173821 w 3815927"/>
              <a:gd name="connsiteY369" fmla="*/ 226585 h 1746228"/>
              <a:gd name="connsiteX370" fmla="*/ 2159640 w 3815927"/>
              <a:gd name="connsiteY370" fmla="*/ 240765 h 1746228"/>
              <a:gd name="connsiteX371" fmla="*/ 2145403 w 3815927"/>
              <a:gd name="connsiteY371" fmla="*/ 226585 h 1746228"/>
              <a:gd name="connsiteX372" fmla="*/ 2159640 w 3815927"/>
              <a:gd name="connsiteY372" fmla="*/ 212404 h 1746228"/>
              <a:gd name="connsiteX373" fmla="*/ 2102975 w 3815927"/>
              <a:gd name="connsiteY373" fmla="*/ 212404 h 1746228"/>
              <a:gd name="connsiteX374" fmla="*/ 2117155 w 3815927"/>
              <a:gd name="connsiteY374" fmla="*/ 226585 h 1746228"/>
              <a:gd name="connsiteX375" fmla="*/ 2102975 w 3815927"/>
              <a:gd name="connsiteY375" fmla="*/ 240765 h 1746228"/>
              <a:gd name="connsiteX376" fmla="*/ 2088794 w 3815927"/>
              <a:gd name="connsiteY376" fmla="*/ 226585 h 1746228"/>
              <a:gd name="connsiteX377" fmla="*/ 2102975 w 3815927"/>
              <a:gd name="connsiteY377" fmla="*/ 212404 h 1746228"/>
              <a:gd name="connsiteX378" fmla="*/ 2046309 w 3815927"/>
              <a:gd name="connsiteY378" fmla="*/ 212404 h 1746228"/>
              <a:gd name="connsiteX379" fmla="*/ 2060490 w 3815927"/>
              <a:gd name="connsiteY379" fmla="*/ 226585 h 1746228"/>
              <a:gd name="connsiteX380" fmla="*/ 2046309 w 3815927"/>
              <a:gd name="connsiteY380" fmla="*/ 240765 h 1746228"/>
              <a:gd name="connsiteX381" fmla="*/ 2032129 w 3815927"/>
              <a:gd name="connsiteY381" fmla="*/ 226585 h 1746228"/>
              <a:gd name="connsiteX382" fmla="*/ 2046309 w 3815927"/>
              <a:gd name="connsiteY382" fmla="*/ 212404 h 1746228"/>
              <a:gd name="connsiteX383" fmla="*/ 1989644 w 3815927"/>
              <a:gd name="connsiteY383" fmla="*/ 212404 h 1746228"/>
              <a:gd name="connsiteX384" fmla="*/ 2003825 w 3815927"/>
              <a:gd name="connsiteY384" fmla="*/ 226585 h 1746228"/>
              <a:gd name="connsiteX385" fmla="*/ 1989644 w 3815927"/>
              <a:gd name="connsiteY385" fmla="*/ 240765 h 1746228"/>
              <a:gd name="connsiteX386" fmla="*/ 1975463 w 3815927"/>
              <a:gd name="connsiteY386" fmla="*/ 226585 h 1746228"/>
              <a:gd name="connsiteX387" fmla="*/ 1989644 w 3815927"/>
              <a:gd name="connsiteY387" fmla="*/ 212404 h 1746228"/>
              <a:gd name="connsiteX388" fmla="*/ 1932978 w 3815927"/>
              <a:gd name="connsiteY388" fmla="*/ 212404 h 1746228"/>
              <a:gd name="connsiteX389" fmla="*/ 1947159 w 3815927"/>
              <a:gd name="connsiteY389" fmla="*/ 226585 h 1746228"/>
              <a:gd name="connsiteX390" fmla="*/ 1932978 w 3815927"/>
              <a:gd name="connsiteY390" fmla="*/ 240765 h 1746228"/>
              <a:gd name="connsiteX391" fmla="*/ 1918798 w 3815927"/>
              <a:gd name="connsiteY391" fmla="*/ 226585 h 1746228"/>
              <a:gd name="connsiteX392" fmla="*/ 1932978 w 3815927"/>
              <a:gd name="connsiteY392" fmla="*/ 212404 h 1746228"/>
              <a:gd name="connsiteX393" fmla="*/ 1876313 w 3815927"/>
              <a:gd name="connsiteY393" fmla="*/ 212404 h 1746228"/>
              <a:gd name="connsiteX394" fmla="*/ 1890493 w 3815927"/>
              <a:gd name="connsiteY394" fmla="*/ 226585 h 1746228"/>
              <a:gd name="connsiteX395" fmla="*/ 1876313 w 3815927"/>
              <a:gd name="connsiteY395" fmla="*/ 240765 h 1746228"/>
              <a:gd name="connsiteX396" fmla="*/ 1862132 w 3815927"/>
              <a:gd name="connsiteY396" fmla="*/ 226585 h 1746228"/>
              <a:gd name="connsiteX397" fmla="*/ 1876313 w 3815927"/>
              <a:gd name="connsiteY397" fmla="*/ 212404 h 1746228"/>
              <a:gd name="connsiteX398" fmla="*/ 1819647 w 3815927"/>
              <a:gd name="connsiteY398" fmla="*/ 212404 h 1746228"/>
              <a:gd name="connsiteX399" fmla="*/ 1833828 w 3815927"/>
              <a:gd name="connsiteY399" fmla="*/ 226585 h 1746228"/>
              <a:gd name="connsiteX400" fmla="*/ 1819647 w 3815927"/>
              <a:gd name="connsiteY400" fmla="*/ 240765 h 1746228"/>
              <a:gd name="connsiteX401" fmla="*/ 1805467 w 3815927"/>
              <a:gd name="connsiteY401" fmla="*/ 226585 h 1746228"/>
              <a:gd name="connsiteX402" fmla="*/ 1819647 w 3815927"/>
              <a:gd name="connsiteY402" fmla="*/ 212404 h 1746228"/>
              <a:gd name="connsiteX403" fmla="*/ 1762982 w 3815927"/>
              <a:gd name="connsiteY403" fmla="*/ 212404 h 1746228"/>
              <a:gd name="connsiteX404" fmla="*/ 1777163 w 3815927"/>
              <a:gd name="connsiteY404" fmla="*/ 226585 h 1746228"/>
              <a:gd name="connsiteX405" fmla="*/ 1762982 w 3815927"/>
              <a:gd name="connsiteY405" fmla="*/ 240765 h 1746228"/>
              <a:gd name="connsiteX406" fmla="*/ 1748802 w 3815927"/>
              <a:gd name="connsiteY406" fmla="*/ 226585 h 1746228"/>
              <a:gd name="connsiteX407" fmla="*/ 1762982 w 3815927"/>
              <a:gd name="connsiteY407" fmla="*/ 212404 h 1746228"/>
              <a:gd name="connsiteX408" fmla="*/ 1706317 w 3815927"/>
              <a:gd name="connsiteY408" fmla="*/ 212404 h 1746228"/>
              <a:gd name="connsiteX409" fmla="*/ 1720497 w 3815927"/>
              <a:gd name="connsiteY409" fmla="*/ 226585 h 1746228"/>
              <a:gd name="connsiteX410" fmla="*/ 1706317 w 3815927"/>
              <a:gd name="connsiteY410" fmla="*/ 240765 h 1746228"/>
              <a:gd name="connsiteX411" fmla="*/ 1692136 w 3815927"/>
              <a:gd name="connsiteY411" fmla="*/ 226585 h 1746228"/>
              <a:gd name="connsiteX412" fmla="*/ 1706317 w 3815927"/>
              <a:gd name="connsiteY412" fmla="*/ 212404 h 1746228"/>
              <a:gd name="connsiteX413" fmla="*/ 1649651 w 3815927"/>
              <a:gd name="connsiteY413" fmla="*/ 212404 h 1746228"/>
              <a:gd name="connsiteX414" fmla="*/ 1663832 w 3815927"/>
              <a:gd name="connsiteY414" fmla="*/ 226585 h 1746228"/>
              <a:gd name="connsiteX415" fmla="*/ 1649651 w 3815927"/>
              <a:gd name="connsiteY415" fmla="*/ 240765 h 1746228"/>
              <a:gd name="connsiteX416" fmla="*/ 1635471 w 3815927"/>
              <a:gd name="connsiteY416" fmla="*/ 226585 h 1746228"/>
              <a:gd name="connsiteX417" fmla="*/ 1649651 w 3815927"/>
              <a:gd name="connsiteY417" fmla="*/ 212404 h 1746228"/>
              <a:gd name="connsiteX418" fmla="*/ 1593042 w 3815927"/>
              <a:gd name="connsiteY418" fmla="*/ 212404 h 1746228"/>
              <a:gd name="connsiteX419" fmla="*/ 1607223 w 3815927"/>
              <a:gd name="connsiteY419" fmla="*/ 226585 h 1746228"/>
              <a:gd name="connsiteX420" fmla="*/ 1593042 w 3815927"/>
              <a:gd name="connsiteY420" fmla="*/ 240765 h 1746228"/>
              <a:gd name="connsiteX421" fmla="*/ 1578862 w 3815927"/>
              <a:gd name="connsiteY421" fmla="*/ 226585 h 1746228"/>
              <a:gd name="connsiteX422" fmla="*/ 1593042 w 3815927"/>
              <a:gd name="connsiteY422" fmla="*/ 212404 h 1746228"/>
              <a:gd name="connsiteX423" fmla="*/ 1536377 w 3815927"/>
              <a:gd name="connsiteY423" fmla="*/ 212404 h 1746228"/>
              <a:gd name="connsiteX424" fmla="*/ 1550557 w 3815927"/>
              <a:gd name="connsiteY424" fmla="*/ 226585 h 1746228"/>
              <a:gd name="connsiteX425" fmla="*/ 1536377 w 3815927"/>
              <a:gd name="connsiteY425" fmla="*/ 240765 h 1746228"/>
              <a:gd name="connsiteX426" fmla="*/ 1522140 w 3815927"/>
              <a:gd name="connsiteY426" fmla="*/ 226585 h 1746228"/>
              <a:gd name="connsiteX427" fmla="*/ 1536377 w 3815927"/>
              <a:gd name="connsiteY427" fmla="*/ 212404 h 1746228"/>
              <a:gd name="connsiteX428" fmla="*/ 1479712 w 3815927"/>
              <a:gd name="connsiteY428" fmla="*/ 212404 h 1746228"/>
              <a:gd name="connsiteX429" fmla="*/ 1493892 w 3815927"/>
              <a:gd name="connsiteY429" fmla="*/ 226585 h 1746228"/>
              <a:gd name="connsiteX430" fmla="*/ 1479712 w 3815927"/>
              <a:gd name="connsiteY430" fmla="*/ 240765 h 1746228"/>
              <a:gd name="connsiteX431" fmla="*/ 1465531 w 3815927"/>
              <a:gd name="connsiteY431" fmla="*/ 226585 h 1746228"/>
              <a:gd name="connsiteX432" fmla="*/ 1479712 w 3815927"/>
              <a:gd name="connsiteY432" fmla="*/ 212404 h 1746228"/>
              <a:gd name="connsiteX433" fmla="*/ 1423046 w 3815927"/>
              <a:gd name="connsiteY433" fmla="*/ 212404 h 1746228"/>
              <a:gd name="connsiteX434" fmla="*/ 1437227 w 3815927"/>
              <a:gd name="connsiteY434" fmla="*/ 226585 h 1746228"/>
              <a:gd name="connsiteX435" fmla="*/ 1423046 w 3815927"/>
              <a:gd name="connsiteY435" fmla="*/ 240765 h 1746228"/>
              <a:gd name="connsiteX436" fmla="*/ 1408866 w 3815927"/>
              <a:gd name="connsiteY436" fmla="*/ 226585 h 1746228"/>
              <a:gd name="connsiteX437" fmla="*/ 1423046 w 3815927"/>
              <a:gd name="connsiteY437" fmla="*/ 212404 h 1746228"/>
              <a:gd name="connsiteX438" fmla="*/ 1366381 w 3815927"/>
              <a:gd name="connsiteY438" fmla="*/ 212404 h 1746228"/>
              <a:gd name="connsiteX439" fmla="*/ 1380561 w 3815927"/>
              <a:gd name="connsiteY439" fmla="*/ 226585 h 1746228"/>
              <a:gd name="connsiteX440" fmla="*/ 1366381 w 3815927"/>
              <a:gd name="connsiteY440" fmla="*/ 240765 h 1746228"/>
              <a:gd name="connsiteX441" fmla="*/ 1352200 w 3815927"/>
              <a:gd name="connsiteY441" fmla="*/ 226585 h 1746228"/>
              <a:gd name="connsiteX442" fmla="*/ 1366381 w 3815927"/>
              <a:gd name="connsiteY442" fmla="*/ 212404 h 1746228"/>
              <a:gd name="connsiteX443" fmla="*/ 1309715 w 3815927"/>
              <a:gd name="connsiteY443" fmla="*/ 212404 h 1746228"/>
              <a:gd name="connsiteX444" fmla="*/ 1323896 w 3815927"/>
              <a:gd name="connsiteY444" fmla="*/ 226585 h 1746228"/>
              <a:gd name="connsiteX445" fmla="*/ 1309715 w 3815927"/>
              <a:gd name="connsiteY445" fmla="*/ 240765 h 1746228"/>
              <a:gd name="connsiteX446" fmla="*/ 1295535 w 3815927"/>
              <a:gd name="connsiteY446" fmla="*/ 226585 h 1746228"/>
              <a:gd name="connsiteX447" fmla="*/ 1309715 w 3815927"/>
              <a:gd name="connsiteY447" fmla="*/ 212404 h 1746228"/>
              <a:gd name="connsiteX448" fmla="*/ 1253050 w 3815927"/>
              <a:gd name="connsiteY448" fmla="*/ 212404 h 1746228"/>
              <a:gd name="connsiteX449" fmla="*/ 1267230 w 3815927"/>
              <a:gd name="connsiteY449" fmla="*/ 226585 h 1746228"/>
              <a:gd name="connsiteX450" fmla="*/ 1253050 w 3815927"/>
              <a:gd name="connsiteY450" fmla="*/ 240765 h 1746228"/>
              <a:gd name="connsiteX451" fmla="*/ 1238869 w 3815927"/>
              <a:gd name="connsiteY451" fmla="*/ 226585 h 1746228"/>
              <a:gd name="connsiteX452" fmla="*/ 1253050 w 3815927"/>
              <a:gd name="connsiteY452" fmla="*/ 212404 h 1746228"/>
              <a:gd name="connsiteX453" fmla="*/ 1196384 w 3815927"/>
              <a:gd name="connsiteY453" fmla="*/ 212404 h 1746228"/>
              <a:gd name="connsiteX454" fmla="*/ 1210565 w 3815927"/>
              <a:gd name="connsiteY454" fmla="*/ 226585 h 1746228"/>
              <a:gd name="connsiteX455" fmla="*/ 1196384 w 3815927"/>
              <a:gd name="connsiteY455" fmla="*/ 240765 h 1746228"/>
              <a:gd name="connsiteX456" fmla="*/ 1182204 w 3815927"/>
              <a:gd name="connsiteY456" fmla="*/ 226585 h 1746228"/>
              <a:gd name="connsiteX457" fmla="*/ 1196384 w 3815927"/>
              <a:gd name="connsiteY457" fmla="*/ 212404 h 1746228"/>
              <a:gd name="connsiteX458" fmla="*/ 1139719 w 3815927"/>
              <a:gd name="connsiteY458" fmla="*/ 212404 h 1746228"/>
              <a:gd name="connsiteX459" fmla="*/ 1153899 w 3815927"/>
              <a:gd name="connsiteY459" fmla="*/ 226585 h 1746228"/>
              <a:gd name="connsiteX460" fmla="*/ 1139719 w 3815927"/>
              <a:gd name="connsiteY460" fmla="*/ 240765 h 1746228"/>
              <a:gd name="connsiteX461" fmla="*/ 1125538 w 3815927"/>
              <a:gd name="connsiteY461" fmla="*/ 226585 h 1746228"/>
              <a:gd name="connsiteX462" fmla="*/ 1139719 w 3815927"/>
              <a:gd name="connsiteY462" fmla="*/ 212404 h 1746228"/>
              <a:gd name="connsiteX463" fmla="*/ 1083053 w 3815927"/>
              <a:gd name="connsiteY463" fmla="*/ 212404 h 1746228"/>
              <a:gd name="connsiteX464" fmla="*/ 1097234 w 3815927"/>
              <a:gd name="connsiteY464" fmla="*/ 226585 h 1746228"/>
              <a:gd name="connsiteX465" fmla="*/ 1083053 w 3815927"/>
              <a:gd name="connsiteY465" fmla="*/ 240765 h 1746228"/>
              <a:gd name="connsiteX466" fmla="*/ 1068873 w 3815927"/>
              <a:gd name="connsiteY466" fmla="*/ 226585 h 1746228"/>
              <a:gd name="connsiteX467" fmla="*/ 1083053 w 3815927"/>
              <a:gd name="connsiteY467" fmla="*/ 212404 h 1746228"/>
              <a:gd name="connsiteX468" fmla="*/ 1026388 w 3815927"/>
              <a:gd name="connsiteY468" fmla="*/ 212404 h 1746228"/>
              <a:gd name="connsiteX469" fmla="*/ 1040568 w 3815927"/>
              <a:gd name="connsiteY469" fmla="*/ 226585 h 1746228"/>
              <a:gd name="connsiteX470" fmla="*/ 1026388 w 3815927"/>
              <a:gd name="connsiteY470" fmla="*/ 240765 h 1746228"/>
              <a:gd name="connsiteX471" fmla="*/ 1012207 w 3815927"/>
              <a:gd name="connsiteY471" fmla="*/ 226585 h 1746228"/>
              <a:gd name="connsiteX472" fmla="*/ 1026388 w 3815927"/>
              <a:gd name="connsiteY472" fmla="*/ 212404 h 1746228"/>
              <a:gd name="connsiteX473" fmla="*/ 969779 w 3815927"/>
              <a:gd name="connsiteY473" fmla="*/ 212404 h 1746228"/>
              <a:gd name="connsiteX474" fmla="*/ 983903 w 3815927"/>
              <a:gd name="connsiteY474" fmla="*/ 226585 h 1746228"/>
              <a:gd name="connsiteX475" fmla="*/ 969779 w 3815927"/>
              <a:gd name="connsiteY475" fmla="*/ 240765 h 1746228"/>
              <a:gd name="connsiteX476" fmla="*/ 955599 w 3815927"/>
              <a:gd name="connsiteY476" fmla="*/ 226585 h 1746228"/>
              <a:gd name="connsiteX477" fmla="*/ 969779 w 3815927"/>
              <a:gd name="connsiteY477" fmla="*/ 212404 h 1746228"/>
              <a:gd name="connsiteX478" fmla="*/ 913057 w 3815927"/>
              <a:gd name="connsiteY478" fmla="*/ 212404 h 1746228"/>
              <a:gd name="connsiteX479" fmla="*/ 927294 w 3815927"/>
              <a:gd name="connsiteY479" fmla="*/ 226585 h 1746228"/>
              <a:gd name="connsiteX480" fmla="*/ 913057 w 3815927"/>
              <a:gd name="connsiteY480" fmla="*/ 240765 h 1746228"/>
              <a:gd name="connsiteX481" fmla="*/ 898876 w 3815927"/>
              <a:gd name="connsiteY481" fmla="*/ 226585 h 1746228"/>
              <a:gd name="connsiteX482" fmla="*/ 913057 w 3815927"/>
              <a:gd name="connsiteY482" fmla="*/ 212404 h 1746228"/>
              <a:gd name="connsiteX483" fmla="*/ 856448 w 3815927"/>
              <a:gd name="connsiteY483" fmla="*/ 212404 h 1746228"/>
              <a:gd name="connsiteX484" fmla="*/ 870629 w 3815927"/>
              <a:gd name="connsiteY484" fmla="*/ 226585 h 1746228"/>
              <a:gd name="connsiteX485" fmla="*/ 856448 w 3815927"/>
              <a:gd name="connsiteY485" fmla="*/ 240765 h 1746228"/>
              <a:gd name="connsiteX486" fmla="*/ 842268 w 3815927"/>
              <a:gd name="connsiteY486" fmla="*/ 226585 h 1746228"/>
              <a:gd name="connsiteX487" fmla="*/ 856448 w 3815927"/>
              <a:gd name="connsiteY487" fmla="*/ 212404 h 1746228"/>
              <a:gd name="connsiteX488" fmla="*/ 799783 w 3815927"/>
              <a:gd name="connsiteY488" fmla="*/ 212404 h 1746228"/>
              <a:gd name="connsiteX489" fmla="*/ 813963 w 3815927"/>
              <a:gd name="connsiteY489" fmla="*/ 226585 h 1746228"/>
              <a:gd name="connsiteX490" fmla="*/ 799783 w 3815927"/>
              <a:gd name="connsiteY490" fmla="*/ 240765 h 1746228"/>
              <a:gd name="connsiteX491" fmla="*/ 785602 w 3815927"/>
              <a:gd name="connsiteY491" fmla="*/ 226585 h 1746228"/>
              <a:gd name="connsiteX492" fmla="*/ 799783 w 3815927"/>
              <a:gd name="connsiteY492" fmla="*/ 212404 h 1746228"/>
              <a:gd name="connsiteX493" fmla="*/ 743117 w 3815927"/>
              <a:gd name="connsiteY493" fmla="*/ 212404 h 1746228"/>
              <a:gd name="connsiteX494" fmla="*/ 757298 w 3815927"/>
              <a:gd name="connsiteY494" fmla="*/ 226585 h 1746228"/>
              <a:gd name="connsiteX495" fmla="*/ 743117 w 3815927"/>
              <a:gd name="connsiteY495" fmla="*/ 240765 h 1746228"/>
              <a:gd name="connsiteX496" fmla="*/ 728937 w 3815927"/>
              <a:gd name="connsiteY496" fmla="*/ 226585 h 1746228"/>
              <a:gd name="connsiteX497" fmla="*/ 743117 w 3815927"/>
              <a:gd name="connsiteY497" fmla="*/ 212404 h 1746228"/>
              <a:gd name="connsiteX498" fmla="*/ 686452 w 3815927"/>
              <a:gd name="connsiteY498" fmla="*/ 212404 h 1746228"/>
              <a:gd name="connsiteX499" fmla="*/ 700632 w 3815927"/>
              <a:gd name="connsiteY499" fmla="*/ 226585 h 1746228"/>
              <a:gd name="connsiteX500" fmla="*/ 686452 w 3815927"/>
              <a:gd name="connsiteY500" fmla="*/ 240765 h 1746228"/>
              <a:gd name="connsiteX501" fmla="*/ 672271 w 3815927"/>
              <a:gd name="connsiteY501" fmla="*/ 226585 h 1746228"/>
              <a:gd name="connsiteX502" fmla="*/ 686452 w 3815927"/>
              <a:gd name="connsiteY502" fmla="*/ 212404 h 1746228"/>
              <a:gd name="connsiteX503" fmla="*/ 629786 w 3815927"/>
              <a:gd name="connsiteY503" fmla="*/ 212404 h 1746228"/>
              <a:gd name="connsiteX504" fmla="*/ 643967 w 3815927"/>
              <a:gd name="connsiteY504" fmla="*/ 226585 h 1746228"/>
              <a:gd name="connsiteX505" fmla="*/ 629786 w 3815927"/>
              <a:gd name="connsiteY505" fmla="*/ 240765 h 1746228"/>
              <a:gd name="connsiteX506" fmla="*/ 615606 w 3815927"/>
              <a:gd name="connsiteY506" fmla="*/ 226585 h 1746228"/>
              <a:gd name="connsiteX507" fmla="*/ 629786 w 3815927"/>
              <a:gd name="connsiteY507" fmla="*/ 212404 h 1746228"/>
              <a:gd name="connsiteX508" fmla="*/ 573121 w 3815927"/>
              <a:gd name="connsiteY508" fmla="*/ 212404 h 1746228"/>
              <a:gd name="connsiteX509" fmla="*/ 587301 w 3815927"/>
              <a:gd name="connsiteY509" fmla="*/ 226585 h 1746228"/>
              <a:gd name="connsiteX510" fmla="*/ 573121 w 3815927"/>
              <a:gd name="connsiteY510" fmla="*/ 240765 h 1746228"/>
              <a:gd name="connsiteX511" fmla="*/ 558940 w 3815927"/>
              <a:gd name="connsiteY511" fmla="*/ 226585 h 1746228"/>
              <a:gd name="connsiteX512" fmla="*/ 573121 w 3815927"/>
              <a:gd name="connsiteY512" fmla="*/ 212404 h 1746228"/>
              <a:gd name="connsiteX513" fmla="*/ 516455 w 3815927"/>
              <a:gd name="connsiteY513" fmla="*/ 212404 h 1746228"/>
              <a:gd name="connsiteX514" fmla="*/ 530636 w 3815927"/>
              <a:gd name="connsiteY514" fmla="*/ 226585 h 1746228"/>
              <a:gd name="connsiteX515" fmla="*/ 516455 w 3815927"/>
              <a:gd name="connsiteY515" fmla="*/ 240765 h 1746228"/>
              <a:gd name="connsiteX516" fmla="*/ 502275 w 3815927"/>
              <a:gd name="connsiteY516" fmla="*/ 226585 h 1746228"/>
              <a:gd name="connsiteX517" fmla="*/ 516455 w 3815927"/>
              <a:gd name="connsiteY517" fmla="*/ 212404 h 1746228"/>
              <a:gd name="connsiteX518" fmla="*/ 459790 w 3815927"/>
              <a:gd name="connsiteY518" fmla="*/ 212404 h 1746228"/>
              <a:gd name="connsiteX519" fmla="*/ 473971 w 3815927"/>
              <a:gd name="connsiteY519" fmla="*/ 226585 h 1746228"/>
              <a:gd name="connsiteX520" fmla="*/ 459790 w 3815927"/>
              <a:gd name="connsiteY520" fmla="*/ 240765 h 1746228"/>
              <a:gd name="connsiteX521" fmla="*/ 445610 w 3815927"/>
              <a:gd name="connsiteY521" fmla="*/ 226585 h 1746228"/>
              <a:gd name="connsiteX522" fmla="*/ 459790 w 3815927"/>
              <a:gd name="connsiteY522" fmla="*/ 212404 h 1746228"/>
              <a:gd name="connsiteX523" fmla="*/ 403125 w 3815927"/>
              <a:gd name="connsiteY523" fmla="*/ 212404 h 1746228"/>
              <a:gd name="connsiteX524" fmla="*/ 417305 w 3815927"/>
              <a:gd name="connsiteY524" fmla="*/ 226585 h 1746228"/>
              <a:gd name="connsiteX525" fmla="*/ 403125 w 3815927"/>
              <a:gd name="connsiteY525" fmla="*/ 240765 h 1746228"/>
              <a:gd name="connsiteX526" fmla="*/ 388944 w 3815927"/>
              <a:gd name="connsiteY526" fmla="*/ 226585 h 1746228"/>
              <a:gd name="connsiteX527" fmla="*/ 403125 w 3815927"/>
              <a:gd name="connsiteY527" fmla="*/ 212404 h 1746228"/>
              <a:gd name="connsiteX528" fmla="*/ 346516 w 3815927"/>
              <a:gd name="connsiteY528" fmla="*/ 212404 h 1746228"/>
              <a:gd name="connsiteX529" fmla="*/ 360640 w 3815927"/>
              <a:gd name="connsiteY529" fmla="*/ 226585 h 1746228"/>
              <a:gd name="connsiteX530" fmla="*/ 346516 w 3815927"/>
              <a:gd name="connsiteY530" fmla="*/ 240765 h 1746228"/>
              <a:gd name="connsiteX531" fmla="*/ 332279 w 3815927"/>
              <a:gd name="connsiteY531" fmla="*/ 226585 h 1746228"/>
              <a:gd name="connsiteX532" fmla="*/ 346516 w 3815927"/>
              <a:gd name="connsiteY532" fmla="*/ 212404 h 1746228"/>
              <a:gd name="connsiteX533" fmla="*/ 289851 w 3815927"/>
              <a:gd name="connsiteY533" fmla="*/ 212404 h 1746228"/>
              <a:gd name="connsiteX534" fmla="*/ 304031 w 3815927"/>
              <a:gd name="connsiteY534" fmla="*/ 226585 h 1746228"/>
              <a:gd name="connsiteX535" fmla="*/ 289851 w 3815927"/>
              <a:gd name="connsiteY535" fmla="*/ 240765 h 1746228"/>
              <a:gd name="connsiteX536" fmla="*/ 275613 w 3815927"/>
              <a:gd name="connsiteY536" fmla="*/ 226585 h 1746228"/>
              <a:gd name="connsiteX537" fmla="*/ 289851 w 3815927"/>
              <a:gd name="connsiteY537" fmla="*/ 212404 h 1746228"/>
              <a:gd name="connsiteX538" fmla="*/ 233185 w 3815927"/>
              <a:gd name="connsiteY538" fmla="*/ 212404 h 1746228"/>
              <a:gd name="connsiteX539" fmla="*/ 247365 w 3815927"/>
              <a:gd name="connsiteY539" fmla="*/ 226585 h 1746228"/>
              <a:gd name="connsiteX540" fmla="*/ 233185 w 3815927"/>
              <a:gd name="connsiteY540" fmla="*/ 240765 h 1746228"/>
              <a:gd name="connsiteX541" fmla="*/ 219004 w 3815927"/>
              <a:gd name="connsiteY541" fmla="*/ 226585 h 1746228"/>
              <a:gd name="connsiteX542" fmla="*/ 233185 w 3815927"/>
              <a:gd name="connsiteY542" fmla="*/ 212404 h 1746228"/>
              <a:gd name="connsiteX543" fmla="*/ 176520 w 3815927"/>
              <a:gd name="connsiteY543" fmla="*/ 212404 h 1746228"/>
              <a:gd name="connsiteX544" fmla="*/ 190700 w 3815927"/>
              <a:gd name="connsiteY544" fmla="*/ 226585 h 1746228"/>
              <a:gd name="connsiteX545" fmla="*/ 176520 w 3815927"/>
              <a:gd name="connsiteY545" fmla="*/ 240765 h 1746228"/>
              <a:gd name="connsiteX546" fmla="*/ 162339 w 3815927"/>
              <a:gd name="connsiteY546" fmla="*/ 226585 h 1746228"/>
              <a:gd name="connsiteX547" fmla="*/ 176520 w 3815927"/>
              <a:gd name="connsiteY547" fmla="*/ 212404 h 1746228"/>
              <a:gd name="connsiteX548" fmla="*/ 3801747 w 3815927"/>
              <a:gd name="connsiteY548" fmla="*/ 159312 h 1746228"/>
              <a:gd name="connsiteX549" fmla="*/ 3815927 w 3815927"/>
              <a:gd name="connsiteY549" fmla="*/ 173492 h 1746228"/>
              <a:gd name="connsiteX550" fmla="*/ 3801747 w 3815927"/>
              <a:gd name="connsiteY550" fmla="*/ 187673 h 1746228"/>
              <a:gd name="connsiteX551" fmla="*/ 3787566 w 3815927"/>
              <a:gd name="connsiteY551" fmla="*/ 173492 h 1746228"/>
              <a:gd name="connsiteX552" fmla="*/ 3801747 w 3815927"/>
              <a:gd name="connsiteY552" fmla="*/ 159312 h 1746228"/>
              <a:gd name="connsiteX553" fmla="*/ 3801747 w 3815927"/>
              <a:gd name="connsiteY553" fmla="*/ 106220 h 1746228"/>
              <a:gd name="connsiteX554" fmla="*/ 3815927 w 3815927"/>
              <a:gd name="connsiteY554" fmla="*/ 120400 h 1746228"/>
              <a:gd name="connsiteX555" fmla="*/ 3801747 w 3815927"/>
              <a:gd name="connsiteY555" fmla="*/ 134581 h 1746228"/>
              <a:gd name="connsiteX556" fmla="*/ 3787566 w 3815927"/>
              <a:gd name="connsiteY556" fmla="*/ 120400 h 1746228"/>
              <a:gd name="connsiteX557" fmla="*/ 3801747 w 3815927"/>
              <a:gd name="connsiteY557" fmla="*/ 106220 h 1746228"/>
              <a:gd name="connsiteX558" fmla="*/ 3801747 w 3815927"/>
              <a:gd name="connsiteY558" fmla="*/ 53071 h 1746228"/>
              <a:gd name="connsiteX559" fmla="*/ 3815927 w 3815927"/>
              <a:gd name="connsiteY559" fmla="*/ 67252 h 1746228"/>
              <a:gd name="connsiteX560" fmla="*/ 3801747 w 3815927"/>
              <a:gd name="connsiteY560" fmla="*/ 81432 h 1746228"/>
              <a:gd name="connsiteX561" fmla="*/ 3787566 w 3815927"/>
              <a:gd name="connsiteY561" fmla="*/ 67252 h 1746228"/>
              <a:gd name="connsiteX562" fmla="*/ 3801747 w 3815927"/>
              <a:gd name="connsiteY562" fmla="*/ 53071 h 1746228"/>
              <a:gd name="connsiteX563" fmla="*/ 3798967 w 3815927"/>
              <a:gd name="connsiteY563" fmla="*/ 263 h 1746228"/>
              <a:gd name="connsiteX564" fmla="*/ 3811786 w 3815927"/>
              <a:gd name="connsiteY564" fmla="*/ 4121 h 1746228"/>
              <a:gd name="connsiteX565" fmla="*/ 3815927 w 3815927"/>
              <a:gd name="connsiteY565" fmla="*/ 14160 h 1746228"/>
              <a:gd name="connsiteX566" fmla="*/ 3811786 w 3815927"/>
              <a:gd name="connsiteY566" fmla="*/ 24200 h 1746228"/>
              <a:gd name="connsiteX567" fmla="*/ 3801747 w 3815927"/>
              <a:gd name="connsiteY567" fmla="*/ 28341 h 1746228"/>
              <a:gd name="connsiteX568" fmla="*/ 3798967 w 3815927"/>
              <a:gd name="connsiteY568" fmla="*/ 28057 h 1746228"/>
              <a:gd name="connsiteX569" fmla="*/ 3796358 w 3815927"/>
              <a:gd name="connsiteY569" fmla="*/ 27263 h 1746228"/>
              <a:gd name="connsiteX570" fmla="*/ 3793919 w 3815927"/>
              <a:gd name="connsiteY570" fmla="*/ 25958 h 1746228"/>
              <a:gd name="connsiteX571" fmla="*/ 3791763 w 3815927"/>
              <a:gd name="connsiteY571" fmla="*/ 24200 h 1746228"/>
              <a:gd name="connsiteX572" fmla="*/ 3787566 w 3815927"/>
              <a:gd name="connsiteY572" fmla="*/ 14160 h 1746228"/>
              <a:gd name="connsiteX573" fmla="*/ 3791763 w 3815927"/>
              <a:gd name="connsiteY573" fmla="*/ 4121 h 1746228"/>
              <a:gd name="connsiteX574" fmla="*/ 3793919 w 3815927"/>
              <a:gd name="connsiteY574" fmla="*/ 2362 h 1746228"/>
              <a:gd name="connsiteX575" fmla="*/ 3796358 w 3815927"/>
              <a:gd name="connsiteY575" fmla="*/ 1057 h 1746228"/>
              <a:gd name="connsiteX576" fmla="*/ 3798967 w 3815927"/>
              <a:gd name="connsiteY576" fmla="*/ 263 h 17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Lst>
            <a:rect l="l" t="t" r="r" b="b"/>
            <a:pathLst>
              <a:path w="3815927" h="1746228">
                <a:moveTo>
                  <a:pt x="16960" y="1718151"/>
                </a:moveTo>
                <a:cubicBezTo>
                  <a:pt x="17867" y="1718321"/>
                  <a:pt x="18775" y="1718605"/>
                  <a:pt x="19626" y="1718945"/>
                </a:cubicBezTo>
                <a:cubicBezTo>
                  <a:pt x="20477" y="1719342"/>
                  <a:pt x="21328" y="1719739"/>
                  <a:pt x="22065" y="1720250"/>
                </a:cubicBezTo>
                <a:cubicBezTo>
                  <a:pt x="22859" y="1720817"/>
                  <a:pt x="23596" y="1721384"/>
                  <a:pt x="24220" y="1722065"/>
                </a:cubicBezTo>
                <a:cubicBezTo>
                  <a:pt x="24901" y="1722689"/>
                  <a:pt x="25468" y="1723426"/>
                  <a:pt x="25979" y="1724220"/>
                </a:cubicBezTo>
                <a:cubicBezTo>
                  <a:pt x="26489" y="1724958"/>
                  <a:pt x="26943" y="1725808"/>
                  <a:pt x="27283" y="1726659"/>
                </a:cubicBezTo>
                <a:cubicBezTo>
                  <a:pt x="27624" y="1727510"/>
                  <a:pt x="27907" y="1728361"/>
                  <a:pt x="28077" y="1729268"/>
                </a:cubicBezTo>
                <a:cubicBezTo>
                  <a:pt x="28304" y="1730233"/>
                  <a:pt x="28361" y="1731140"/>
                  <a:pt x="28361" y="1732048"/>
                </a:cubicBezTo>
                <a:cubicBezTo>
                  <a:pt x="28361" y="1735791"/>
                  <a:pt x="26886" y="1739479"/>
                  <a:pt x="24220" y="1742088"/>
                </a:cubicBezTo>
                <a:cubicBezTo>
                  <a:pt x="23596" y="1742768"/>
                  <a:pt x="22859" y="1743336"/>
                  <a:pt x="22065" y="1743846"/>
                </a:cubicBezTo>
                <a:cubicBezTo>
                  <a:pt x="21328" y="1744357"/>
                  <a:pt x="20477" y="1744810"/>
                  <a:pt x="19626" y="1745151"/>
                </a:cubicBezTo>
                <a:cubicBezTo>
                  <a:pt x="18775" y="1745491"/>
                  <a:pt x="17867" y="1745775"/>
                  <a:pt x="16960" y="1745945"/>
                </a:cubicBezTo>
                <a:cubicBezTo>
                  <a:pt x="16052" y="1746172"/>
                  <a:pt x="15145" y="1746228"/>
                  <a:pt x="14181" y="1746228"/>
                </a:cubicBezTo>
                <a:cubicBezTo>
                  <a:pt x="10494" y="1746228"/>
                  <a:pt x="6807" y="1744754"/>
                  <a:pt x="4141" y="1742088"/>
                </a:cubicBezTo>
                <a:cubicBezTo>
                  <a:pt x="1531" y="1739479"/>
                  <a:pt x="0" y="1735791"/>
                  <a:pt x="0" y="1732048"/>
                </a:cubicBezTo>
                <a:cubicBezTo>
                  <a:pt x="0" y="1731140"/>
                  <a:pt x="113" y="1730233"/>
                  <a:pt x="284" y="1729268"/>
                </a:cubicBezTo>
                <a:cubicBezTo>
                  <a:pt x="454" y="1728361"/>
                  <a:pt x="737" y="1727510"/>
                  <a:pt x="1078" y="1726659"/>
                </a:cubicBezTo>
                <a:cubicBezTo>
                  <a:pt x="1475" y="1725808"/>
                  <a:pt x="1872" y="1724958"/>
                  <a:pt x="2382" y="1724220"/>
                </a:cubicBezTo>
                <a:cubicBezTo>
                  <a:pt x="2949" y="1723426"/>
                  <a:pt x="3517" y="1722689"/>
                  <a:pt x="4141" y="1722065"/>
                </a:cubicBezTo>
                <a:cubicBezTo>
                  <a:pt x="7487" y="1718775"/>
                  <a:pt x="12365" y="1717243"/>
                  <a:pt x="16960" y="1718151"/>
                </a:cubicBezTo>
                <a:close/>
                <a:moveTo>
                  <a:pt x="14181" y="1660521"/>
                </a:moveTo>
                <a:cubicBezTo>
                  <a:pt x="22008" y="1660521"/>
                  <a:pt x="28361" y="1666874"/>
                  <a:pt x="28361" y="1674702"/>
                </a:cubicBezTo>
                <a:cubicBezTo>
                  <a:pt x="28361" y="1682529"/>
                  <a:pt x="22008" y="1688882"/>
                  <a:pt x="14181" y="1688882"/>
                </a:cubicBezTo>
                <a:cubicBezTo>
                  <a:pt x="6353" y="1688882"/>
                  <a:pt x="0" y="1682529"/>
                  <a:pt x="0" y="1674702"/>
                </a:cubicBezTo>
                <a:cubicBezTo>
                  <a:pt x="0" y="1666874"/>
                  <a:pt x="6353" y="1660521"/>
                  <a:pt x="14181" y="1660521"/>
                </a:cubicBezTo>
                <a:close/>
                <a:moveTo>
                  <a:pt x="14181" y="1603118"/>
                </a:moveTo>
                <a:cubicBezTo>
                  <a:pt x="22008" y="1603118"/>
                  <a:pt x="28361" y="1609471"/>
                  <a:pt x="28361" y="1617299"/>
                </a:cubicBezTo>
                <a:cubicBezTo>
                  <a:pt x="28361" y="1625127"/>
                  <a:pt x="22008" y="1631480"/>
                  <a:pt x="14181" y="1631480"/>
                </a:cubicBezTo>
                <a:cubicBezTo>
                  <a:pt x="6353" y="1631480"/>
                  <a:pt x="0" y="1625127"/>
                  <a:pt x="0" y="1617299"/>
                </a:cubicBezTo>
                <a:cubicBezTo>
                  <a:pt x="0" y="1609471"/>
                  <a:pt x="6353" y="1603118"/>
                  <a:pt x="14181" y="1603118"/>
                </a:cubicBezTo>
                <a:close/>
                <a:moveTo>
                  <a:pt x="14181" y="1545716"/>
                </a:moveTo>
                <a:cubicBezTo>
                  <a:pt x="22008" y="1545716"/>
                  <a:pt x="28361" y="1552068"/>
                  <a:pt x="28361" y="1559953"/>
                </a:cubicBezTo>
                <a:cubicBezTo>
                  <a:pt x="28361" y="1567781"/>
                  <a:pt x="22008" y="1574133"/>
                  <a:pt x="14181" y="1574133"/>
                </a:cubicBezTo>
                <a:cubicBezTo>
                  <a:pt x="6353" y="1574133"/>
                  <a:pt x="0" y="1567781"/>
                  <a:pt x="0" y="1559953"/>
                </a:cubicBezTo>
                <a:cubicBezTo>
                  <a:pt x="0" y="1552068"/>
                  <a:pt x="6353" y="1545716"/>
                  <a:pt x="14181" y="1545716"/>
                </a:cubicBezTo>
                <a:close/>
                <a:moveTo>
                  <a:pt x="14181" y="1488370"/>
                </a:moveTo>
                <a:cubicBezTo>
                  <a:pt x="22008" y="1488370"/>
                  <a:pt x="28361" y="1494722"/>
                  <a:pt x="28361" y="1502550"/>
                </a:cubicBezTo>
                <a:cubicBezTo>
                  <a:pt x="28361" y="1510378"/>
                  <a:pt x="22008" y="1516731"/>
                  <a:pt x="14181" y="1516731"/>
                </a:cubicBezTo>
                <a:cubicBezTo>
                  <a:pt x="6353" y="1516731"/>
                  <a:pt x="0" y="1510378"/>
                  <a:pt x="0" y="1502550"/>
                </a:cubicBezTo>
                <a:cubicBezTo>
                  <a:pt x="0" y="1494722"/>
                  <a:pt x="6353" y="1488370"/>
                  <a:pt x="14181" y="1488370"/>
                </a:cubicBezTo>
                <a:close/>
                <a:moveTo>
                  <a:pt x="14181" y="1430967"/>
                </a:moveTo>
                <a:cubicBezTo>
                  <a:pt x="22008" y="1430967"/>
                  <a:pt x="28361" y="1437320"/>
                  <a:pt x="28361" y="1445204"/>
                </a:cubicBezTo>
                <a:cubicBezTo>
                  <a:pt x="28361" y="1452975"/>
                  <a:pt x="22008" y="1459328"/>
                  <a:pt x="14181" y="1459328"/>
                </a:cubicBezTo>
                <a:cubicBezTo>
                  <a:pt x="6353" y="1459328"/>
                  <a:pt x="0" y="1452975"/>
                  <a:pt x="0" y="1445204"/>
                </a:cubicBezTo>
                <a:cubicBezTo>
                  <a:pt x="0" y="1437320"/>
                  <a:pt x="6353" y="1430967"/>
                  <a:pt x="14181" y="1430967"/>
                </a:cubicBezTo>
                <a:close/>
                <a:moveTo>
                  <a:pt x="14181" y="1373621"/>
                </a:moveTo>
                <a:cubicBezTo>
                  <a:pt x="22008" y="1373621"/>
                  <a:pt x="28361" y="1379974"/>
                  <a:pt x="28361" y="1387801"/>
                </a:cubicBezTo>
                <a:cubicBezTo>
                  <a:pt x="28361" y="1395629"/>
                  <a:pt x="22008" y="1401982"/>
                  <a:pt x="14181" y="1401982"/>
                </a:cubicBezTo>
                <a:cubicBezTo>
                  <a:pt x="6353" y="1401982"/>
                  <a:pt x="0" y="1395629"/>
                  <a:pt x="0" y="1387801"/>
                </a:cubicBezTo>
                <a:cubicBezTo>
                  <a:pt x="0" y="1379974"/>
                  <a:pt x="6353" y="1373621"/>
                  <a:pt x="14181" y="1373621"/>
                </a:cubicBezTo>
                <a:close/>
                <a:moveTo>
                  <a:pt x="14181" y="1316218"/>
                </a:moveTo>
                <a:cubicBezTo>
                  <a:pt x="22008" y="1316218"/>
                  <a:pt x="28361" y="1322571"/>
                  <a:pt x="28361" y="1330398"/>
                </a:cubicBezTo>
                <a:cubicBezTo>
                  <a:pt x="28361" y="1338226"/>
                  <a:pt x="22008" y="1344579"/>
                  <a:pt x="14181" y="1344579"/>
                </a:cubicBezTo>
                <a:cubicBezTo>
                  <a:pt x="6353" y="1344579"/>
                  <a:pt x="0" y="1338226"/>
                  <a:pt x="0" y="1330398"/>
                </a:cubicBezTo>
                <a:cubicBezTo>
                  <a:pt x="0" y="1322571"/>
                  <a:pt x="6353" y="1316218"/>
                  <a:pt x="14181" y="1316218"/>
                </a:cubicBezTo>
                <a:close/>
                <a:moveTo>
                  <a:pt x="14181" y="1258872"/>
                </a:moveTo>
                <a:cubicBezTo>
                  <a:pt x="22008" y="1258872"/>
                  <a:pt x="28361" y="1265224"/>
                  <a:pt x="28361" y="1273052"/>
                </a:cubicBezTo>
                <a:cubicBezTo>
                  <a:pt x="28361" y="1280880"/>
                  <a:pt x="22008" y="1287233"/>
                  <a:pt x="14181" y="1287233"/>
                </a:cubicBezTo>
                <a:cubicBezTo>
                  <a:pt x="6353" y="1287233"/>
                  <a:pt x="0" y="1280880"/>
                  <a:pt x="0" y="1273052"/>
                </a:cubicBezTo>
                <a:cubicBezTo>
                  <a:pt x="0" y="1265224"/>
                  <a:pt x="6353" y="1258872"/>
                  <a:pt x="14181" y="1258872"/>
                </a:cubicBezTo>
                <a:close/>
                <a:moveTo>
                  <a:pt x="14181" y="1201469"/>
                </a:moveTo>
                <a:cubicBezTo>
                  <a:pt x="22008" y="1201469"/>
                  <a:pt x="28361" y="1207822"/>
                  <a:pt x="28361" y="1215649"/>
                </a:cubicBezTo>
                <a:cubicBezTo>
                  <a:pt x="28361" y="1223477"/>
                  <a:pt x="22008" y="1229830"/>
                  <a:pt x="14181" y="1229830"/>
                </a:cubicBezTo>
                <a:cubicBezTo>
                  <a:pt x="6353" y="1229830"/>
                  <a:pt x="0" y="1223477"/>
                  <a:pt x="0" y="1215649"/>
                </a:cubicBezTo>
                <a:cubicBezTo>
                  <a:pt x="0" y="1207822"/>
                  <a:pt x="6353" y="1201469"/>
                  <a:pt x="14181" y="1201469"/>
                </a:cubicBezTo>
                <a:close/>
                <a:moveTo>
                  <a:pt x="14181" y="1144123"/>
                </a:moveTo>
                <a:cubicBezTo>
                  <a:pt x="22008" y="1144123"/>
                  <a:pt x="28361" y="1150419"/>
                  <a:pt x="28361" y="1158303"/>
                </a:cubicBezTo>
                <a:cubicBezTo>
                  <a:pt x="28361" y="1166131"/>
                  <a:pt x="22008" y="1172484"/>
                  <a:pt x="14181" y="1172484"/>
                </a:cubicBezTo>
                <a:cubicBezTo>
                  <a:pt x="6353" y="1172484"/>
                  <a:pt x="0" y="1166131"/>
                  <a:pt x="0" y="1158303"/>
                </a:cubicBezTo>
                <a:cubicBezTo>
                  <a:pt x="0" y="1150419"/>
                  <a:pt x="6353" y="1144123"/>
                  <a:pt x="14181" y="1144123"/>
                </a:cubicBezTo>
                <a:close/>
                <a:moveTo>
                  <a:pt x="14181" y="1086720"/>
                </a:moveTo>
                <a:cubicBezTo>
                  <a:pt x="22008" y="1086720"/>
                  <a:pt x="28361" y="1093073"/>
                  <a:pt x="28361" y="1100900"/>
                </a:cubicBezTo>
                <a:cubicBezTo>
                  <a:pt x="28361" y="1108728"/>
                  <a:pt x="22008" y="1115081"/>
                  <a:pt x="14181" y="1115081"/>
                </a:cubicBezTo>
                <a:cubicBezTo>
                  <a:pt x="6353" y="1115081"/>
                  <a:pt x="0" y="1108728"/>
                  <a:pt x="0" y="1100900"/>
                </a:cubicBezTo>
                <a:cubicBezTo>
                  <a:pt x="0" y="1093073"/>
                  <a:pt x="6353" y="1086720"/>
                  <a:pt x="14181" y="1086720"/>
                </a:cubicBezTo>
                <a:close/>
                <a:moveTo>
                  <a:pt x="14181" y="1029317"/>
                </a:moveTo>
                <a:cubicBezTo>
                  <a:pt x="22008" y="1029317"/>
                  <a:pt x="28361" y="1035670"/>
                  <a:pt x="28361" y="1043498"/>
                </a:cubicBezTo>
                <a:cubicBezTo>
                  <a:pt x="28361" y="1051382"/>
                  <a:pt x="22008" y="1057678"/>
                  <a:pt x="14181" y="1057678"/>
                </a:cubicBezTo>
                <a:cubicBezTo>
                  <a:pt x="6353" y="1057678"/>
                  <a:pt x="0" y="1051382"/>
                  <a:pt x="0" y="1043498"/>
                </a:cubicBezTo>
                <a:cubicBezTo>
                  <a:pt x="0" y="1035670"/>
                  <a:pt x="6353" y="1029317"/>
                  <a:pt x="14181" y="1029317"/>
                </a:cubicBezTo>
                <a:close/>
                <a:moveTo>
                  <a:pt x="14181" y="971971"/>
                </a:moveTo>
                <a:cubicBezTo>
                  <a:pt x="22008" y="971971"/>
                  <a:pt x="28361" y="978324"/>
                  <a:pt x="28361" y="986152"/>
                </a:cubicBezTo>
                <a:cubicBezTo>
                  <a:pt x="28361" y="993979"/>
                  <a:pt x="22008" y="1000332"/>
                  <a:pt x="14181" y="1000332"/>
                </a:cubicBezTo>
                <a:cubicBezTo>
                  <a:pt x="6353" y="1000332"/>
                  <a:pt x="0" y="993979"/>
                  <a:pt x="0" y="986152"/>
                </a:cubicBezTo>
                <a:cubicBezTo>
                  <a:pt x="0" y="978324"/>
                  <a:pt x="6353" y="971971"/>
                  <a:pt x="14181" y="971971"/>
                </a:cubicBezTo>
                <a:close/>
                <a:moveTo>
                  <a:pt x="14181" y="914568"/>
                </a:moveTo>
                <a:cubicBezTo>
                  <a:pt x="22008" y="914568"/>
                  <a:pt x="28361" y="920921"/>
                  <a:pt x="28361" y="928749"/>
                </a:cubicBezTo>
                <a:cubicBezTo>
                  <a:pt x="28361" y="936576"/>
                  <a:pt x="22008" y="942929"/>
                  <a:pt x="14181" y="942929"/>
                </a:cubicBezTo>
                <a:cubicBezTo>
                  <a:pt x="6353" y="942929"/>
                  <a:pt x="0" y="936576"/>
                  <a:pt x="0" y="928749"/>
                </a:cubicBezTo>
                <a:cubicBezTo>
                  <a:pt x="0" y="920921"/>
                  <a:pt x="6353" y="914568"/>
                  <a:pt x="14181" y="914568"/>
                </a:cubicBezTo>
                <a:close/>
                <a:moveTo>
                  <a:pt x="14181" y="857222"/>
                </a:moveTo>
                <a:cubicBezTo>
                  <a:pt x="22008" y="857222"/>
                  <a:pt x="28361" y="863575"/>
                  <a:pt x="28361" y="871402"/>
                </a:cubicBezTo>
                <a:cubicBezTo>
                  <a:pt x="28361" y="879230"/>
                  <a:pt x="22008" y="885583"/>
                  <a:pt x="14181" y="885583"/>
                </a:cubicBezTo>
                <a:cubicBezTo>
                  <a:pt x="6353" y="885583"/>
                  <a:pt x="0" y="879230"/>
                  <a:pt x="0" y="871402"/>
                </a:cubicBezTo>
                <a:cubicBezTo>
                  <a:pt x="0" y="863575"/>
                  <a:pt x="6353" y="857222"/>
                  <a:pt x="14181" y="857222"/>
                </a:cubicBezTo>
                <a:close/>
                <a:moveTo>
                  <a:pt x="14181" y="799819"/>
                </a:moveTo>
                <a:cubicBezTo>
                  <a:pt x="22008" y="799819"/>
                  <a:pt x="28361" y="806172"/>
                  <a:pt x="28361" y="814000"/>
                </a:cubicBezTo>
                <a:cubicBezTo>
                  <a:pt x="28361" y="821827"/>
                  <a:pt x="22008" y="828180"/>
                  <a:pt x="14181" y="828180"/>
                </a:cubicBezTo>
                <a:cubicBezTo>
                  <a:pt x="6353" y="828180"/>
                  <a:pt x="0" y="821827"/>
                  <a:pt x="0" y="814000"/>
                </a:cubicBezTo>
                <a:cubicBezTo>
                  <a:pt x="0" y="806172"/>
                  <a:pt x="6353" y="799819"/>
                  <a:pt x="14181" y="799819"/>
                </a:cubicBezTo>
                <a:close/>
                <a:moveTo>
                  <a:pt x="14181" y="742416"/>
                </a:moveTo>
                <a:cubicBezTo>
                  <a:pt x="22008" y="742416"/>
                  <a:pt x="28361" y="748769"/>
                  <a:pt x="28361" y="756653"/>
                </a:cubicBezTo>
                <a:cubicBezTo>
                  <a:pt x="28361" y="764481"/>
                  <a:pt x="22008" y="770834"/>
                  <a:pt x="14181" y="770834"/>
                </a:cubicBezTo>
                <a:cubicBezTo>
                  <a:pt x="6353" y="770834"/>
                  <a:pt x="0" y="764481"/>
                  <a:pt x="0" y="756653"/>
                </a:cubicBezTo>
                <a:cubicBezTo>
                  <a:pt x="0" y="748769"/>
                  <a:pt x="6353" y="742416"/>
                  <a:pt x="14181" y="742416"/>
                </a:cubicBezTo>
                <a:close/>
                <a:moveTo>
                  <a:pt x="14181" y="685070"/>
                </a:moveTo>
                <a:cubicBezTo>
                  <a:pt x="22008" y="685070"/>
                  <a:pt x="28361" y="691423"/>
                  <a:pt x="28361" y="699251"/>
                </a:cubicBezTo>
                <a:cubicBezTo>
                  <a:pt x="28361" y="707078"/>
                  <a:pt x="22008" y="713431"/>
                  <a:pt x="14181" y="713431"/>
                </a:cubicBezTo>
                <a:cubicBezTo>
                  <a:pt x="6353" y="713431"/>
                  <a:pt x="0" y="707078"/>
                  <a:pt x="0" y="699251"/>
                </a:cubicBezTo>
                <a:cubicBezTo>
                  <a:pt x="0" y="691423"/>
                  <a:pt x="6353" y="685070"/>
                  <a:pt x="14181" y="685070"/>
                </a:cubicBezTo>
                <a:close/>
                <a:moveTo>
                  <a:pt x="14181" y="627667"/>
                </a:moveTo>
                <a:cubicBezTo>
                  <a:pt x="22008" y="627667"/>
                  <a:pt x="28361" y="634020"/>
                  <a:pt x="28361" y="641905"/>
                </a:cubicBezTo>
                <a:cubicBezTo>
                  <a:pt x="28361" y="649732"/>
                  <a:pt x="22008" y="656028"/>
                  <a:pt x="14181" y="656028"/>
                </a:cubicBezTo>
                <a:cubicBezTo>
                  <a:pt x="6353" y="656028"/>
                  <a:pt x="0" y="649732"/>
                  <a:pt x="0" y="641905"/>
                </a:cubicBezTo>
                <a:cubicBezTo>
                  <a:pt x="0" y="634020"/>
                  <a:pt x="6353" y="627667"/>
                  <a:pt x="14181" y="627667"/>
                </a:cubicBezTo>
                <a:close/>
                <a:moveTo>
                  <a:pt x="14181" y="570321"/>
                </a:moveTo>
                <a:cubicBezTo>
                  <a:pt x="22008" y="570321"/>
                  <a:pt x="28361" y="576674"/>
                  <a:pt x="28361" y="584502"/>
                </a:cubicBezTo>
                <a:cubicBezTo>
                  <a:pt x="28361" y="592330"/>
                  <a:pt x="22008" y="598682"/>
                  <a:pt x="14181" y="598682"/>
                </a:cubicBezTo>
                <a:cubicBezTo>
                  <a:pt x="6353" y="598682"/>
                  <a:pt x="0" y="592330"/>
                  <a:pt x="0" y="584502"/>
                </a:cubicBezTo>
                <a:cubicBezTo>
                  <a:pt x="0" y="576674"/>
                  <a:pt x="6353" y="570321"/>
                  <a:pt x="14181" y="570321"/>
                </a:cubicBezTo>
                <a:close/>
                <a:moveTo>
                  <a:pt x="14181" y="512918"/>
                </a:moveTo>
                <a:cubicBezTo>
                  <a:pt x="22008" y="512918"/>
                  <a:pt x="28361" y="519271"/>
                  <a:pt x="28361" y="527099"/>
                </a:cubicBezTo>
                <a:cubicBezTo>
                  <a:pt x="28361" y="534926"/>
                  <a:pt x="22008" y="541280"/>
                  <a:pt x="14181" y="541280"/>
                </a:cubicBezTo>
                <a:cubicBezTo>
                  <a:pt x="6353" y="541280"/>
                  <a:pt x="0" y="534926"/>
                  <a:pt x="0" y="527099"/>
                </a:cubicBezTo>
                <a:cubicBezTo>
                  <a:pt x="0" y="519271"/>
                  <a:pt x="6353" y="512918"/>
                  <a:pt x="14181" y="512918"/>
                </a:cubicBezTo>
                <a:close/>
                <a:moveTo>
                  <a:pt x="14181" y="455572"/>
                </a:moveTo>
                <a:cubicBezTo>
                  <a:pt x="22008" y="455572"/>
                  <a:pt x="28361" y="461868"/>
                  <a:pt x="28361" y="469753"/>
                </a:cubicBezTo>
                <a:cubicBezTo>
                  <a:pt x="28361" y="477580"/>
                  <a:pt x="22008" y="483933"/>
                  <a:pt x="14181" y="483933"/>
                </a:cubicBezTo>
                <a:cubicBezTo>
                  <a:pt x="6353" y="483933"/>
                  <a:pt x="0" y="477580"/>
                  <a:pt x="0" y="469753"/>
                </a:cubicBezTo>
                <a:cubicBezTo>
                  <a:pt x="0" y="461868"/>
                  <a:pt x="6353" y="455572"/>
                  <a:pt x="14181" y="455572"/>
                </a:cubicBezTo>
                <a:close/>
                <a:moveTo>
                  <a:pt x="14181" y="398169"/>
                </a:moveTo>
                <a:cubicBezTo>
                  <a:pt x="22008" y="398169"/>
                  <a:pt x="28361" y="404522"/>
                  <a:pt x="28361" y="412350"/>
                </a:cubicBezTo>
                <a:cubicBezTo>
                  <a:pt x="28361" y="420177"/>
                  <a:pt x="22008" y="426530"/>
                  <a:pt x="14181" y="426530"/>
                </a:cubicBezTo>
                <a:cubicBezTo>
                  <a:pt x="6353" y="426530"/>
                  <a:pt x="0" y="420177"/>
                  <a:pt x="0" y="412350"/>
                </a:cubicBezTo>
                <a:cubicBezTo>
                  <a:pt x="0" y="404522"/>
                  <a:pt x="6353" y="398169"/>
                  <a:pt x="14181" y="398169"/>
                </a:cubicBezTo>
                <a:close/>
                <a:moveTo>
                  <a:pt x="14181" y="340766"/>
                </a:moveTo>
                <a:cubicBezTo>
                  <a:pt x="22008" y="340766"/>
                  <a:pt x="28361" y="347119"/>
                  <a:pt x="28361" y="355004"/>
                </a:cubicBezTo>
                <a:cubicBezTo>
                  <a:pt x="28361" y="362831"/>
                  <a:pt x="22008" y="369128"/>
                  <a:pt x="14181" y="369128"/>
                </a:cubicBezTo>
                <a:cubicBezTo>
                  <a:pt x="6353" y="369128"/>
                  <a:pt x="0" y="362831"/>
                  <a:pt x="0" y="355004"/>
                </a:cubicBezTo>
                <a:cubicBezTo>
                  <a:pt x="0" y="347119"/>
                  <a:pt x="6353" y="340766"/>
                  <a:pt x="14181" y="340766"/>
                </a:cubicBezTo>
                <a:close/>
                <a:moveTo>
                  <a:pt x="38684" y="293545"/>
                </a:moveTo>
                <a:cubicBezTo>
                  <a:pt x="42314" y="293545"/>
                  <a:pt x="45945" y="294934"/>
                  <a:pt x="48724" y="297714"/>
                </a:cubicBezTo>
                <a:cubicBezTo>
                  <a:pt x="54283" y="303273"/>
                  <a:pt x="54283" y="312235"/>
                  <a:pt x="48724" y="317794"/>
                </a:cubicBezTo>
                <a:cubicBezTo>
                  <a:pt x="45945" y="320517"/>
                  <a:pt x="42315" y="321935"/>
                  <a:pt x="38684" y="321935"/>
                </a:cubicBezTo>
                <a:cubicBezTo>
                  <a:pt x="35054" y="321935"/>
                  <a:pt x="31424" y="320517"/>
                  <a:pt x="28645" y="317794"/>
                </a:cubicBezTo>
                <a:cubicBezTo>
                  <a:pt x="23143" y="312235"/>
                  <a:pt x="23143" y="303273"/>
                  <a:pt x="28645" y="297714"/>
                </a:cubicBezTo>
                <a:cubicBezTo>
                  <a:pt x="31424" y="294934"/>
                  <a:pt x="35054" y="293545"/>
                  <a:pt x="38684" y="293545"/>
                </a:cubicBezTo>
                <a:close/>
                <a:moveTo>
                  <a:pt x="79270" y="252989"/>
                </a:moveTo>
                <a:cubicBezTo>
                  <a:pt x="82900" y="252989"/>
                  <a:pt x="86530" y="254378"/>
                  <a:pt x="89281" y="257158"/>
                </a:cubicBezTo>
                <a:cubicBezTo>
                  <a:pt x="94839" y="262717"/>
                  <a:pt x="94839" y="271679"/>
                  <a:pt x="89281" y="277181"/>
                </a:cubicBezTo>
                <a:cubicBezTo>
                  <a:pt x="86558" y="279960"/>
                  <a:pt x="82928" y="281378"/>
                  <a:pt x="79298" y="281378"/>
                </a:cubicBezTo>
                <a:cubicBezTo>
                  <a:pt x="75667" y="281378"/>
                  <a:pt x="72037" y="279960"/>
                  <a:pt x="69258" y="277181"/>
                </a:cubicBezTo>
                <a:cubicBezTo>
                  <a:pt x="63699" y="271679"/>
                  <a:pt x="63699" y="262717"/>
                  <a:pt x="69258" y="257158"/>
                </a:cubicBezTo>
                <a:cubicBezTo>
                  <a:pt x="72009" y="254378"/>
                  <a:pt x="75639" y="252989"/>
                  <a:pt x="79270" y="252989"/>
                </a:cubicBezTo>
                <a:close/>
                <a:moveTo>
                  <a:pt x="3743323" y="212688"/>
                </a:moveTo>
                <a:cubicBezTo>
                  <a:pt x="3745138" y="212291"/>
                  <a:pt x="3747067" y="212291"/>
                  <a:pt x="3748882" y="212688"/>
                </a:cubicBezTo>
                <a:cubicBezTo>
                  <a:pt x="3749790" y="212858"/>
                  <a:pt x="3750697" y="213141"/>
                  <a:pt x="3751548" y="213482"/>
                </a:cubicBezTo>
                <a:cubicBezTo>
                  <a:pt x="3752399" y="213879"/>
                  <a:pt x="3753193" y="214276"/>
                  <a:pt x="3753987" y="214786"/>
                </a:cubicBezTo>
                <a:cubicBezTo>
                  <a:pt x="3754781" y="215297"/>
                  <a:pt x="3755462" y="215921"/>
                  <a:pt x="3756142" y="216601"/>
                </a:cubicBezTo>
                <a:cubicBezTo>
                  <a:pt x="3756766" y="217226"/>
                  <a:pt x="3757390" y="217963"/>
                  <a:pt x="3757901" y="218757"/>
                </a:cubicBezTo>
                <a:cubicBezTo>
                  <a:pt x="3758411" y="219494"/>
                  <a:pt x="3758865" y="220345"/>
                  <a:pt x="3759205" y="221196"/>
                </a:cubicBezTo>
                <a:cubicBezTo>
                  <a:pt x="3759546" y="222047"/>
                  <a:pt x="3759829" y="222898"/>
                  <a:pt x="3760000" y="223805"/>
                </a:cubicBezTo>
                <a:cubicBezTo>
                  <a:pt x="3760170" y="224769"/>
                  <a:pt x="3760283" y="225677"/>
                  <a:pt x="3760283" y="226585"/>
                </a:cubicBezTo>
                <a:cubicBezTo>
                  <a:pt x="3760283" y="227549"/>
                  <a:pt x="3760170" y="228456"/>
                  <a:pt x="3760000" y="229364"/>
                </a:cubicBezTo>
                <a:cubicBezTo>
                  <a:pt x="3759829" y="230272"/>
                  <a:pt x="3759546" y="231179"/>
                  <a:pt x="3759205" y="232030"/>
                </a:cubicBezTo>
                <a:cubicBezTo>
                  <a:pt x="3758865" y="232881"/>
                  <a:pt x="3758411" y="233732"/>
                  <a:pt x="3757901" y="234469"/>
                </a:cubicBezTo>
                <a:cubicBezTo>
                  <a:pt x="3757390" y="235263"/>
                  <a:pt x="3756766" y="235944"/>
                  <a:pt x="3756142" y="236625"/>
                </a:cubicBezTo>
                <a:cubicBezTo>
                  <a:pt x="3755462" y="237305"/>
                  <a:pt x="3754781" y="237872"/>
                  <a:pt x="3753987" y="238383"/>
                </a:cubicBezTo>
                <a:cubicBezTo>
                  <a:pt x="3753193" y="238893"/>
                  <a:pt x="3752399" y="239347"/>
                  <a:pt x="3751548" y="239687"/>
                </a:cubicBezTo>
                <a:cubicBezTo>
                  <a:pt x="3750697" y="240028"/>
                  <a:pt x="3749790" y="240311"/>
                  <a:pt x="3748882" y="240482"/>
                </a:cubicBezTo>
                <a:cubicBezTo>
                  <a:pt x="3747974" y="240708"/>
                  <a:pt x="3747010" y="240765"/>
                  <a:pt x="3746103" y="240765"/>
                </a:cubicBezTo>
                <a:cubicBezTo>
                  <a:pt x="3745195" y="240765"/>
                  <a:pt x="3744231" y="240765"/>
                  <a:pt x="3743323" y="240482"/>
                </a:cubicBezTo>
                <a:cubicBezTo>
                  <a:pt x="3742415" y="240311"/>
                  <a:pt x="3741565" y="240028"/>
                  <a:pt x="3740657" y="239687"/>
                </a:cubicBezTo>
                <a:cubicBezTo>
                  <a:pt x="3739806" y="239347"/>
                  <a:pt x="3739012" y="238893"/>
                  <a:pt x="3738218" y="238383"/>
                </a:cubicBezTo>
                <a:cubicBezTo>
                  <a:pt x="3737481" y="237872"/>
                  <a:pt x="3736743" y="237305"/>
                  <a:pt x="3736063" y="236625"/>
                </a:cubicBezTo>
                <a:cubicBezTo>
                  <a:pt x="3735439" y="235944"/>
                  <a:pt x="3734815" y="235263"/>
                  <a:pt x="3734304" y="234469"/>
                </a:cubicBezTo>
                <a:cubicBezTo>
                  <a:pt x="3733794" y="233675"/>
                  <a:pt x="3733340" y="232881"/>
                  <a:pt x="3733000" y="232030"/>
                </a:cubicBezTo>
                <a:cubicBezTo>
                  <a:pt x="3732659" y="231179"/>
                  <a:pt x="3732376" y="230272"/>
                  <a:pt x="3732206" y="229364"/>
                </a:cubicBezTo>
                <a:cubicBezTo>
                  <a:pt x="3732036" y="228456"/>
                  <a:pt x="3731922" y="227549"/>
                  <a:pt x="3731922" y="226585"/>
                </a:cubicBezTo>
                <a:cubicBezTo>
                  <a:pt x="3731922" y="225677"/>
                  <a:pt x="3732036" y="224769"/>
                  <a:pt x="3732206" y="223805"/>
                </a:cubicBezTo>
                <a:cubicBezTo>
                  <a:pt x="3732376" y="222898"/>
                  <a:pt x="3732659" y="222047"/>
                  <a:pt x="3733000" y="221196"/>
                </a:cubicBezTo>
                <a:cubicBezTo>
                  <a:pt x="3733340" y="220345"/>
                  <a:pt x="3733794" y="219494"/>
                  <a:pt x="3734304" y="218757"/>
                </a:cubicBezTo>
                <a:cubicBezTo>
                  <a:pt x="3734815" y="217963"/>
                  <a:pt x="3735439" y="217226"/>
                  <a:pt x="3736063" y="216601"/>
                </a:cubicBezTo>
                <a:cubicBezTo>
                  <a:pt x="3736743" y="215921"/>
                  <a:pt x="3737481" y="215297"/>
                  <a:pt x="3738218" y="214786"/>
                </a:cubicBezTo>
                <a:cubicBezTo>
                  <a:pt x="3739012" y="214276"/>
                  <a:pt x="3739806" y="213879"/>
                  <a:pt x="3740657" y="213482"/>
                </a:cubicBezTo>
                <a:cubicBezTo>
                  <a:pt x="3741565" y="213141"/>
                  <a:pt x="3742415" y="212858"/>
                  <a:pt x="3743323" y="212688"/>
                </a:cubicBezTo>
                <a:close/>
                <a:moveTo>
                  <a:pt x="117074" y="212688"/>
                </a:moveTo>
                <a:cubicBezTo>
                  <a:pt x="118889" y="212291"/>
                  <a:pt x="120761" y="212291"/>
                  <a:pt x="122633" y="212688"/>
                </a:cubicBezTo>
                <a:cubicBezTo>
                  <a:pt x="123540" y="212858"/>
                  <a:pt x="124391" y="213141"/>
                  <a:pt x="125242" y="213482"/>
                </a:cubicBezTo>
                <a:cubicBezTo>
                  <a:pt x="126150" y="213879"/>
                  <a:pt x="126944" y="214276"/>
                  <a:pt x="127738" y="214786"/>
                </a:cubicBezTo>
                <a:cubicBezTo>
                  <a:pt x="128475" y="215297"/>
                  <a:pt x="129213" y="215921"/>
                  <a:pt x="129893" y="216601"/>
                </a:cubicBezTo>
                <a:cubicBezTo>
                  <a:pt x="130517" y="217226"/>
                  <a:pt x="131141" y="217963"/>
                  <a:pt x="131652" y="218757"/>
                </a:cubicBezTo>
                <a:cubicBezTo>
                  <a:pt x="132162" y="219494"/>
                  <a:pt x="132559" y="220345"/>
                  <a:pt x="132956" y="221196"/>
                </a:cubicBezTo>
                <a:cubicBezTo>
                  <a:pt x="133297" y="222047"/>
                  <a:pt x="133580" y="222898"/>
                  <a:pt x="133750" y="223805"/>
                </a:cubicBezTo>
                <a:cubicBezTo>
                  <a:pt x="133921" y="224769"/>
                  <a:pt x="134034" y="225677"/>
                  <a:pt x="134034" y="226585"/>
                </a:cubicBezTo>
                <a:cubicBezTo>
                  <a:pt x="134034" y="230328"/>
                  <a:pt x="132502" y="233958"/>
                  <a:pt x="129893" y="236625"/>
                </a:cubicBezTo>
                <a:cubicBezTo>
                  <a:pt x="129213" y="237305"/>
                  <a:pt x="128475" y="237872"/>
                  <a:pt x="127738" y="238383"/>
                </a:cubicBezTo>
                <a:cubicBezTo>
                  <a:pt x="126944" y="238893"/>
                  <a:pt x="126150" y="239347"/>
                  <a:pt x="125242" y="239687"/>
                </a:cubicBezTo>
                <a:cubicBezTo>
                  <a:pt x="124391" y="240028"/>
                  <a:pt x="123540" y="240311"/>
                  <a:pt x="122633" y="240482"/>
                </a:cubicBezTo>
                <a:cubicBezTo>
                  <a:pt x="121725" y="240708"/>
                  <a:pt x="120761" y="240765"/>
                  <a:pt x="119854" y="240765"/>
                </a:cubicBezTo>
                <a:cubicBezTo>
                  <a:pt x="118946" y="240765"/>
                  <a:pt x="117982" y="240765"/>
                  <a:pt x="117074" y="240482"/>
                </a:cubicBezTo>
                <a:cubicBezTo>
                  <a:pt x="116166" y="240311"/>
                  <a:pt x="115259" y="240028"/>
                  <a:pt x="114408" y="239687"/>
                </a:cubicBezTo>
                <a:cubicBezTo>
                  <a:pt x="113557" y="239347"/>
                  <a:pt x="112763" y="238893"/>
                  <a:pt x="111969" y="238383"/>
                </a:cubicBezTo>
                <a:cubicBezTo>
                  <a:pt x="111175" y="237872"/>
                  <a:pt x="110494" y="237305"/>
                  <a:pt x="109814" y="236625"/>
                </a:cubicBezTo>
                <a:cubicBezTo>
                  <a:pt x="109133" y="235944"/>
                  <a:pt x="108566" y="235263"/>
                  <a:pt x="108055" y="234469"/>
                </a:cubicBezTo>
                <a:cubicBezTo>
                  <a:pt x="107545" y="233732"/>
                  <a:pt x="107091" y="232881"/>
                  <a:pt x="106751" y="232030"/>
                </a:cubicBezTo>
                <a:cubicBezTo>
                  <a:pt x="106410" y="231179"/>
                  <a:pt x="106127" y="230272"/>
                  <a:pt x="105957" y="229364"/>
                </a:cubicBezTo>
                <a:cubicBezTo>
                  <a:pt x="105786" y="228456"/>
                  <a:pt x="105673" y="227549"/>
                  <a:pt x="105673" y="226585"/>
                </a:cubicBezTo>
                <a:cubicBezTo>
                  <a:pt x="105673" y="225677"/>
                  <a:pt x="105786" y="224769"/>
                  <a:pt x="105957" y="223805"/>
                </a:cubicBezTo>
                <a:cubicBezTo>
                  <a:pt x="106127" y="222898"/>
                  <a:pt x="106410" y="222047"/>
                  <a:pt x="106751" y="221196"/>
                </a:cubicBezTo>
                <a:cubicBezTo>
                  <a:pt x="107091" y="220345"/>
                  <a:pt x="107545" y="219494"/>
                  <a:pt x="108055" y="218757"/>
                </a:cubicBezTo>
                <a:cubicBezTo>
                  <a:pt x="108566" y="217963"/>
                  <a:pt x="109133" y="217226"/>
                  <a:pt x="109814" y="216601"/>
                </a:cubicBezTo>
                <a:cubicBezTo>
                  <a:pt x="110494" y="215921"/>
                  <a:pt x="111175" y="215297"/>
                  <a:pt x="111969" y="214786"/>
                </a:cubicBezTo>
                <a:cubicBezTo>
                  <a:pt x="112763" y="214276"/>
                  <a:pt x="113557" y="213879"/>
                  <a:pt x="114408" y="213482"/>
                </a:cubicBezTo>
                <a:cubicBezTo>
                  <a:pt x="115259" y="213141"/>
                  <a:pt x="116166" y="212858"/>
                  <a:pt x="117074" y="212688"/>
                </a:cubicBezTo>
                <a:close/>
                <a:moveTo>
                  <a:pt x="3801768" y="212602"/>
                </a:moveTo>
                <a:cubicBezTo>
                  <a:pt x="3805462" y="212602"/>
                  <a:pt x="3809149" y="213935"/>
                  <a:pt x="3811786" y="216601"/>
                </a:cubicBezTo>
                <a:cubicBezTo>
                  <a:pt x="3812467" y="217225"/>
                  <a:pt x="3813034" y="217963"/>
                  <a:pt x="3813545" y="218756"/>
                </a:cubicBezTo>
                <a:cubicBezTo>
                  <a:pt x="3814055" y="219494"/>
                  <a:pt x="3814509" y="220345"/>
                  <a:pt x="3814849" y="221195"/>
                </a:cubicBezTo>
                <a:cubicBezTo>
                  <a:pt x="3815190" y="222046"/>
                  <a:pt x="3815473" y="222897"/>
                  <a:pt x="3815644" y="223805"/>
                </a:cubicBezTo>
                <a:cubicBezTo>
                  <a:pt x="3815870" y="224769"/>
                  <a:pt x="3815927" y="225677"/>
                  <a:pt x="3815927" y="226584"/>
                </a:cubicBezTo>
                <a:cubicBezTo>
                  <a:pt x="3815927" y="227548"/>
                  <a:pt x="3815870" y="228456"/>
                  <a:pt x="3815644" y="229363"/>
                </a:cubicBezTo>
                <a:cubicBezTo>
                  <a:pt x="3815473" y="230271"/>
                  <a:pt x="3815190" y="231179"/>
                  <a:pt x="3814849" y="232030"/>
                </a:cubicBezTo>
                <a:cubicBezTo>
                  <a:pt x="3814509" y="232880"/>
                  <a:pt x="3814055" y="233731"/>
                  <a:pt x="3813545" y="234469"/>
                </a:cubicBezTo>
                <a:cubicBezTo>
                  <a:pt x="3813034" y="235263"/>
                  <a:pt x="3812467" y="235943"/>
                  <a:pt x="3811786" y="236624"/>
                </a:cubicBezTo>
                <a:cubicBezTo>
                  <a:pt x="3809177" y="239290"/>
                  <a:pt x="3805490" y="240765"/>
                  <a:pt x="3801747" y="240765"/>
                </a:cubicBezTo>
                <a:cubicBezTo>
                  <a:pt x="3798059" y="240765"/>
                  <a:pt x="3794373" y="239290"/>
                  <a:pt x="3791707" y="236624"/>
                </a:cubicBezTo>
                <a:cubicBezTo>
                  <a:pt x="3789098" y="233958"/>
                  <a:pt x="3787566" y="230328"/>
                  <a:pt x="3787566" y="226584"/>
                </a:cubicBezTo>
                <a:cubicBezTo>
                  <a:pt x="3787566" y="225677"/>
                  <a:pt x="3787680" y="224769"/>
                  <a:pt x="3787850" y="223805"/>
                </a:cubicBezTo>
                <a:cubicBezTo>
                  <a:pt x="3788020" y="222954"/>
                  <a:pt x="3788303" y="222046"/>
                  <a:pt x="3788644" y="221195"/>
                </a:cubicBezTo>
                <a:cubicBezTo>
                  <a:pt x="3789041" y="220345"/>
                  <a:pt x="3789495" y="219494"/>
                  <a:pt x="3789948" y="218756"/>
                </a:cubicBezTo>
                <a:cubicBezTo>
                  <a:pt x="3790516" y="217963"/>
                  <a:pt x="3791083" y="217225"/>
                  <a:pt x="3791707" y="216601"/>
                </a:cubicBezTo>
                <a:cubicBezTo>
                  <a:pt x="3794373" y="213935"/>
                  <a:pt x="3798074" y="212602"/>
                  <a:pt x="3801768" y="212602"/>
                </a:cubicBezTo>
                <a:close/>
                <a:moveTo>
                  <a:pt x="3689437" y="212404"/>
                </a:moveTo>
                <a:cubicBezTo>
                  <a:pt x="3697265" y="212404"/>
                  <a:pt x="3703618" y="218757"/>
                  <a:pt x="3703618" y="226585"/>
                </a:cubicBezTo>
                <a:cubicBezTo>
                  <a:pt x="3703618" y="234469"/>
                  <a:pt x="3697265" y="240765"/>
                  <a:pt x="3689437" y="240765"/>
                </a:cubicBezTo>
                <a:cubicBezTo>
                  <a:pt x="3681610" y="240765"/>
                  <a:pt x="3675257" y="234469"/>
                  <a:pt x="3675257" y="226585"/>
                </a:cubicBezTo>
                <a:cubicBezTo>
                  <a:pt x="3675257" y="218757"/>
                  <a:pt x="3681610" y="212404"/>
                  <a:pt x="3689437" y="212404"/>
                </a:cubicBezTo>
                <a:close/>
                <a:moveTo>
                  <a:pt x="3632772" y="212404"/>
                </a:moveTo>
                <a:cubicBezTo>
                  <a:pt x="3640600" y="212404"/>
                  <a:pt x="3646952" y="218757"/>
                  <a:pt x="3646952" y="226585"/>
                </a:cubicBezTo>
                <a:cubicBezTo>
                  <a:pt x="3646952" y="234469"/>
                  <a:pt x="3640600" y="240765"/>
                  <a:pt x="3632772" y="240765"/>
                </a:cubicBezTo>
                <a:cubicBezTo>
                  <a:pt x="3624944" y="240765"/>
                  <a:pt x="3618591" y="234469"/>
                  <a:pt x="3618591" y="226585"/>
                </a:cubicBezTo>
                <a:cubicBezTo>
                  <a:pt x="3618591" y="218757"/>
                  <a:pt x="3624944" y="212404"/>
                  <a:pt x="3632772" y="212404"/>
                </a:cubicBezTo>
                <a:close/>
                <a:moveTo>
                  <a:pt x="3576106" y="212404"/>
                </a:moveTo>
                <a:cubicBezTo>
                  <a:pt x="3583934" y="212404"/>
                  <a:pt x="3590287" y="218757"/>
                  <a:pt x="3590287" y="226585"/>
                </a:cubicBezTo>
                <a:cubicBezTo>
                  <a:pt x="3590287" y="234469"/>
                  <a:pt x="3583934" y="240765"/>
                  <a:pt x="3576106" y="240765"/>
                </a:cubicBezTo>
                <a:cubicBezTo>
                  <a:pt x="3568279" y="240765"/>
                  <a:pt x="3561926" y="234469"/>
                  <a:pt x="3561926" y="226585"/>
                </a:cubicBezTo>
                <a:cubicBezTo>
                  <a:pt x="3561926" y="218757"/>
                  <a:pt x="3568279" y="212404"/>
                  <a:pt x="3576106" y="212404"/>
                </a:cubicBezTo>
                <a:close/>
                <a:moveTo>
                  <a:pt x="3519441" y="212404"/>
                </a:moveTo>
                <a:cubicBezTo>
                  <a:pt x="3527268" y="212404"/>
                  <a:pt x="3533621" y="218757"/>
                  <a:pt x="3533621" y="226585"/>
                </a:cubicBezTo>
                <a:cubicBezTo>
                  <a:pt x="3533621" y="234469"/>
                  <a:pt x="3527268" y="240765"/>
                  <a:pt x="3519441" y="240765"/>
                </a:cubicBezTo>
                <a:cubicBezTo>
                  <a:pt x="3511613" y="240765"/>
                  <a:pt x="3505260" y="234469"/>
                  <a:pt x="3505260" y="226585"/>
                </a:cubicBezTo>
                <a:cubicBezTo>
                  <a:pt x="3505260" y="218757"/>
                  <a:pt x="3511613" y="212404"/>
                  <a:pt x="3519441" y="212404"/>
                </a:cubicBezTo>
                <a:close/>
                <a:moveTo>
                  <a:pt x="3462832" y="212404"/>
                </a:moveTo>
                <a:cubicBezTo>
                  <a:pt x="3470660" y="212404"/>
                  <a:pt x="3477013" y="218757"/>
                  <a:pt x="3477013" y="226585"/>
                </a:cubicBezTo>
                <a:cubicBezTo>
                  <a:pt x="3477013" y="234469"/>
                  <a:pt x="3470660" y="240765"/>
                  <a:pt x="3462832" y="240765"/>
                </a:cubicBezTo>
                <a:cubicBezTo>
                  <a:pt x="3454948" y="240765"/>
                  <a:pt x="3448652" y="234469"/>
                  <a:pt x="3448652" y="226585"/>
                </a:cubicBezTo>
                <a:cubicBezTo>
                  <a:pt x="3448652" y="218757"/>
                  <a:pt x="3454948" y="212404"/>
                  <a:pt x="3462832" y="212404"/>
                </a:cubicBezTo>
                <a:close/>
                <a:moveTo>
                  <a:pt x="3406167" y="212404"/>
                </a:moveTo>
                <a:cubicBezTo>
                  <a:pt x="3413994" y="212404"/>
                  <a:pt x="3420347" y="218757"/>
                  <a:pt x="3420347" y="226585"/>
                </a:cubicBezTo>
                <a:cubicBezTo>
                  <a:pt x="3420347" y="234469"/>
                  <a:pt x="3413994" y="240765"/>
                  <a:pt x="3406167" y="240765"/>
                </a:cubicBezTo>
                <a:cubicBezTo>
                  <a:pt x="3398339" y="240765"/>
                  <a:pt x="3391929" y="234469"/>
                  <a:pt x="3391929" y="226585"/>
                </a:cubicBezTo>
                <a:cubicBezTo>
                  <a:pt x="3391929" y="218757"/>
                  <a:pt x="3398339" y="212404"/>
                  <a:pt x="3406167" y="212404"/>
                </a:cubicBezTo>
                <a:close/>
                <a:moveTo>
                  <a:pt x="3349501" y="212404"/>
                </a:moveTo>
                <a:cubicBezTo>
                  <a:pt x="3357329" y="212404"/>
                  <a:pt x="3363682" y="218757"/>
                  <a:pt x="3363682" y="226585"/>
                </a:cubicBezTo>
                <a:cubicBezTo>
                  <a:pt x="3363682" y="234469"/>
                  <a:pt x="3357329" y="240765"/>
                  <a:pt x="3349501" y="240765"/>
                </a:cubicBezTo>
                <a:cubicBezTo>
                  <a:pt x="3341674" y="240765"/>
                  <a:pt x="3335321" y="234469"/>
                  <a:pt x="3335321" y="226585"/>
                </a:cubicBezTo>
                <a:cubicBezTo>
                  <a:pt x="3335321" y="218757"/>
                  <a:pt x="3341674" y="212404"/>
                  <a:pt x="3349501" y="212404"/>
                </a:cubicBezTo>
                <a:close/>
                <a:moveTo>
                  <a:pt x="3292836" y="212404"/>
                </a:moveTo>
                <a:cubicBezTo>
                  <a:pt x="3300663" y="212404"/>
                  <a:pt x="3307016" y="218757"/>
                  <a:pt x="3307016" y="226585"/>
                </a:cubicBezTo>
                <a:cubicBezTo>
                  <a:pt x="3307016" y="234469"/>
                  <a:pt x="3300663" y="240765"/>
                  <a:pt x="3292836" y="240765"/>
                </a:cubicBezTo>
                <a:cubicBezTo>
                  <a:pt x="3285008" y="240765"/>
                  <a:pt x="3278655" y="234469"/>
                  <a:pt x="3278655" y="226585"/>
                </a:cubicBezTo>
                <a:cubicBezTo>
                  <a:pt x="3278655" y="218757"/>
                  <a:pt x="3285008" y="212404"/>
                  <a:pt x="3292836" y="212404"/>
                </a:cubicBezTo>
                <a:close/>
                <a:moveTo>
                  <a:pt x="3236170" y="212404"/>
                </a:moveTo>
                <a:cubicBezTo>
                  <a:pt x="3243998" y="212404"/>
                  <a:pt x="3250351" y="218757"/>
                  <a:pt x="3250351" y="226585"/>
                </a:cubicBezTo>
                <a:cubicBezTo>
                  <a:pt x="3250351" y="234469"/>
                  <a:pt x="3243998" y="240765"/>
                  <a:pt x="3236170" y="240765"/>
                </a:cubicBezTo>
                <a:cubicBezTo>
                  <a:pt x="3228343" y="240765"/>
                  <a:pt x="3221990" y="234469"/>
                  <a:pt x="3221990" y="226585"/>
                </a:cubicBezTo>
                <a:cubicBezTo>
                  <a:pt x="3221990" y="218757"/>
                  <a:pt x="3228343" y="212404"/>
                  <a:pt x="3236170" y="212404"/>
                </a:cubicBezTo>
                <a:close/>
                <a:moveTo>
                  <a:pt x="3179505" y="212404"/>
                </a:moveTo>
                <a:cubicBezTo>
                  <a:pt x="3187332" y="212404"/>
                  <a:pt x="3193685" y="218757"/>
                  <a:pt x="3193685" y="226585"/>
                </a:cubicBezTo>
                <a:cubicBezTo>
                  <a:pt x="3193685" y="234469"/>
                  <a:pt x="3187332" y="240765"/>
                  <a:pt x="3179505" y="240765"/>
                </a:cubicBezTo>
                <a:cubicBezTo>
                  <a:pt x="3171677" y="240765"/>
                  <a:pt x="3165324" y="234469"/>
                  <a:pt x="3165324" y="226585"/>
                </a:cubicBezTo>
                <a:cubicBezTo>
                  <a:pt x="3165324" y="218757"/>
                  <a:pt x="3171677" y="212404"/>
                  <a:pt x="3179505" y="212404"/>
                </a:cubicBezTo>
                <a:close/>
                <a:moveTo>
                  <a:pt x="3122839" y="212404"/>
                </a:moveTo>
                <a:cubicBezTo>
                  <a:pt x="3130667" y="212404"/>
                  <a:pt x="3137020" y="218757"/>
                  <a:pt x="3137020" y="226585"/>
                </a:cubicBezTo>
                <a:cubicBezTo>
                  <a:pt x="3137020" y="234469"/>
                  <a:pt x="3130667" y="240765"/>
                  <a:pt x="3122839" y="240765"/>
                </a:cubicBezTo>
                <a:cubicBezTo>
                  <a:pt x="3115012" y="240765"/>
                  <a:pt x="3108659" y="234469"/>
                  <a:pt x="3108659" y="226585"/>
                </a:cubicBezTo>
                <a:cubicBezTo>
                  <a:pt x="3108659" y="218757"/>
                  <a:pt x="3115012" y="212404"/>
                  <a:pt x="3122839" y="212404"/>
                </a:cubicBezTo>
                <a:close/>
                <a:moveTo>
                  <a:pt x="3066174" y="212404"/>
                </a:moveTo>
                <a:cubicBezTo>
                  <a:pt x="3074002" y="212404"/>
                  <a:pt x="3080355" y="218757"/>
                  <a:pt x="3080355" y="226585"/>
                </a:cubicBezTo>
                <a:cubicBezTo>
                  <a:pt x="3080355" y="234469"/>
                  <a:pt x="3074002" y="240765"/>
                  <a:pt x="3066174" y="240765"/>
                </a:cubicBezTo>
                <a:cubicBezTo>
                  <a:pt x="3058346" y="240765"/>
                  <a:pt x="3051993" y="234469"/>
                  <a:pt x="3051993" y="226585"/>
                </a:cubicBezTo>
                <a:cubicBezTo>
                  <a:pt x="3051993" y="218757"/>
                  <a:pt x="3058346" y="212404"/>
                  <a:pt x="3066174" y="212404"/>
                </a:cubicBezTo>
                <a:close/>
                <a:moveTo>
                  <a:pt x="3009509" y="212404"/>
                </a:moveTo>
                <a:cubicBezTo>
                  <a:pt x="3017336" y="212404"/>
                  <a:pt x="3023689" y="218757"/>
                  <a:pt x="3023689" y="226585"/>
                </a:cubicBezTo>
                <a:cubicBezTo>
                  <a:pt x="3023689" y="234469"/>
                  <a:pt x="3017336" y="240765"/>
                  <a:pt x="3009509" y="240765"/>
                </a:cubicBezTo>
                <a:cubicBezTo>
                  <a:pt x="3001681" y="240765"/>
                  <a:pt x="2995328" y="234469"/>
                  <a:pt x="2995328" y="226585"/>
                </a:cubicBezTo>
                <a:cubicBezTo>
                  <a:pt x="2995328" y="218757"/>
                  <a:pt x="3001681" y="212404"/>
                  <a:pt x="3009509" y="212404"/>
                </a:cubicBezTo>
                <a:close/>
                <a:moveTo>
                  <a:pt x="2952843" y="212404"/>
                </a:moveTo>
                <a:cubicBezTo>
                  <a:pt x="2960671" y="212404"/>
                  <a:pt x="2967024" y="218757"/>
                  <a:pt x="2967024" y="226585"/>
                </a:cubicBezTo>
                <a:cubicBezTo>
                  <a:pt x="2967024" y="234469"/>
                  <a:pt x="2960671" y="240765"/>
                  <a:pt x="2952843" y="240765"/>
                </a:cubicBezTo>
                <a:cubicBezTo>
                  <a:pt x="2945016" y="240765"/>
                  <a:pt x="2938663" y="234469"/>
                  <a:pt x="2938663" y="226585"/>
                </a:cubicBezTo>
                <a:cubicBezTo>
                  <a:pt x="2938663" y="218757"/>
                  <a:pt x="2945016" y="212404"/>
                  <a:pt x="2952843" y="212404"/>
                </a:cubicBezTo>
                <a:close/>
                <a:moveTo>
                  <a:pt x="2896177" y="212404"/>
                </a:moveTo>
                <a:cubicBezTo>
                  <a:pt x="2904005" y="212404"/>
                  <a:pt x="2910358" y="218757"/>
                  <a:pt x="2910358" y="226585"/>
                </a:cubicBezTo>
                <a:cubicBezTo>
                  <a:pt x="2910358" y="234469"/>
                  <a:pt x="2904005" y="240765"/>
                  <a:pt x="2896177" y="240765"/>
                </a:cubicBezTo>
                <a:cubicBezTo>
                  <a:pt x="2888350" y="240765"/>
                  <a:pt x="2881997" y="234469"/>
                  <a:pt x="2881997" y="226585"/>
                </a:cubicBezTo>
                <a:cubicBezTo>
                  <a:pt x="2881997" y="218757"/>
                  <a:pt x="2888350" y="212404"/>
                  <a:pt x="2896177" y="212404"/>
                </a:cubicBezTo>
                <a:close/>
                <a:moveTo>
                  <a:pt x="2839569" y="212404"/>
                </a:moveTo>
                <a:cubicBezTo>
                  <a:pt x="2847397" y="212404"/>
                  <a:pt x="2853693" y="218757"/>
                  <a:pt x="2853693" y="226585"/>
                </a:cubicBezTo>
                <a:cubicBezTo>
                  <a:pt x="2853693" y="234469"/>
                  <a:pt x="2847397" y="240765"/>
                  <a:pt x="2839569" y="240765"/>
                </a:cubicBezTo>
                <a:cubicBezTo>
                  <a:pt x="2831684" y="240765"/>
                  <a:pt x="2825388" y="234469"/>
                  <a:pt x="2825388" y="226585"/>
                </a:cubicBezTo>
                <a:cubicBezTo>
                  <a:pt x="2825388" y="218757"/>
                  <a:pt x="2831684" y="212404"/>
                  <a:pt x="2839569" y="212404"/>
                </a:cubicBezTo>
                <a:close/>
                <a:moveTo>
                  <a:pt x="2782847" y="212404"/>
                </a:moveTo>
                <a:cubicBezTo>
                  <a:pt x="2790731" y="212404"/>
                  <a:pt x="2797084" y="218757"/>
                  <a:pt x="2797084" y="226585"/>
                </a:cubicBezTo>
                <a:cubicBezTo>
                  <a:pt x="2797084" y="234469"/>
                  <a:pt x="2790731" y="240765"/>
                  <a:pt x="2782847" y="240765"/>
                </a:cubicBezTo>
                <a:cubicBezTo>
                  <a:pt x="2775019" y="240765"/>
                  <a:pt x="2768723" y="234469"/>
                  <a:pt x="2768723" y="226585"/>
                </a:cubicBezTo>
                <a:cubicBezTo>
                  <a:pt x="2768723" y="218757"/>
                  <a:pt x="2775019" y="212404"/>
                  <a:pt x="2782847" y="212404"/>
                </a:cubicBezTo>
                <a:close/>
                <a:moveTo>
                  <a:pt x="2726238" y="212404"/>
                </a:moveTo>
                <a:cubicBezTo>
                  <a:pt x="2734066" y="212404"/>
                  <a:pt x="2740419" y="218757"/>
                  <a:pt x="2740419" y="226585"/>
                </a:cubicBezTo>
                <a:cubicBezTo>
                  <a:pt x="2740419" y="234469"/>
                  <a:pt x="2734066" y="240765"/>
                  <a:pt x="2726238" y="240765"/>
                </a:cubicBezTo>
                <a:cubicBezTo>
                  <a:pt x="2718410" y="240765"/>
                  <a:pt x="2712058" y="234469"/>
                  <a:pt x="2712058" y="226585"/>
                </a:cubicBezTo>
                <a:cubicBezTo>
                  <a:pt x="2712058" y="218757"/>
                  <a:pt x="2718410" y="212404"/>
                  <a:pt x="2726238" y="212404"/>
                </a:cubicBezTo>
                <a:close/>
                <a:moveTo>
                  <a:pt x="2669573" y="212404"/>
                </a:moveTo>
                <a:cubicBezTo>
                  <a:pt x="2677400" y="212404"/>
                  <a:pt x="2683753" y="218757"/>
                  <a:pt x="2683753" y="226585"/>
                </a:cubicBezTo>
                <a:cubicBezTo>
                  <a:pt x="2683753" y="234469"/>
                  <a:pt x="2677400" y="240765"/>
                  <a:pt x="2669573" y="240765"/>
                </a:cubicBezTo>
                <a:cubicBezTo>
                  <a:pt x="2661745" y="240765"/>
                  <a:pt x="2655392" y="234469"/>
                  <a:pt x="2655392" y="226585"/>
                </a:cubicBezTo>
                <a:cubicBezTo>
                  <a:pt x="2655392" y="218757"/>
                  <a:pt x="2661745" y="212404"/>
                  <a:pt x="2669573" y="212404"/>
                </a:cubicBezTo>
                <a:close/>
                <a:moveTo>
                  <a:pt x="2612907" y="212404"/>
                </a:moveTo>
                <a:cubicBezTo>
                  <a:pt x="2620735" y="212404"/>
                  <a:pt x="2627087" y="218757"/>
                  <a:pt x="2627087" y="226585"/>
                </a:cubicBezTo>
                <a:cubicBezTo>
                  <a:pt x="2627087" y="234469"/>
                  <a:pt x="2620735" y="240765"/>
                  <a:pt x="2612907" y="240765"/>
                </a:cubicBezTo>
                <a:cubicBezTo>
                  <a:pt x="2605080" y="240765"/>
                  <a:pt x="2598726" y="234469"/>
                  <a:pt x="2598726" y="226585"/>
                </a:cubicBezTo>
                <a:cubicBezTo>
                  <a:pt x="2598726" y="218757"/>
                  <a:pt x="2605080" y="212404"/>
                  <a:pt x="2612907" y="212404"/>
                </a:cubicBezTo>
                <a:close/>
                <a:moveTo>
                  <a:pt x="2556242" y="212404"/>
                </a:moveTo>
                <a:cubicBezTo>
                  <a:pt x="2564069" y="212404"/>
                  <a:pt x="2570422" y="218757"/>
                  <a:pt x="2570422" y="226585"/>
                </a:cubicBezTo>
                <a:cubicBezTo>
                  <a:pt x="2570422" y="234469"/>
                  <a:pt x="2564069" y="240765"/>
                  <a:pt x="2556242" y="240765"/>
                </a:cubicBezTo>
                <a:cubicBezTo>
                  <a:pt x="2548414" y="240765"/>
                  <a:pt x="2542061" y="234469"/>
                  <a:pt x="2542061" y="226585"/>
                </a:cubicBezTo>
                <a:cubicBezTo>
                  <a:pt x="2542061" y="218757"/>
                  <a:pt x="2548414" y="212404"/>
                  <a:pt x="2556242" y="212404"/>
                </a:cubicBezTo>
                <a:close/>
                <a:moveTo>
                  <a:pt x="2499576" y="212404"/>
                </a:moveTo>
                <a:cubicBezTo>
                  <a:pt x="2507404" y="212404"/>
                  <a:pt x="2513757" y="218757"/>
                  <a:pt x="2513757" y="226585"/>
                </a:cubicBezTo>
                <a:cubicBezTo>
                  <a:pt x="2513757" y="234469"/>
                  <a:pt x="2507404" y="240765"/>
                  <a:pt x="2499576" y="240765"/>
                </a:cubicBezTo>
                <a:cubicBezTo>
                  <a:pt x="2491748" y="240765"/>
                  <a:pt x="2485396" y="234469"/>
                  <a:pt x="2485396" y="226585"/>
                </a:cubicBezTo>
                <a:cubicBezTo>
                  <a:pt x="2485396" y="218757"/>
                  <a:pt x="2491748" y="212404"/>
                  <a:pt x="2499576" y="212404"/>
                </a:cubicBezTo>
                <a:close/>
                <a:moveTo>
                  <a:pt x="2442911" y="212404"/>
                </a:moveTo>
                <a:cubicBezTo>
                  <a:pt x="2450738" y="212404"/>
                  <a:pt x="2457091" y="218757"/>
                  <a:pt x="2457091" y="226585"/>
                </a:cubicBezTo>
                <a:cubicBezTo>
                  <a:pt x="2457091" y="234469"/>
                  <a:pt x="2450738" y="240765"/>
                  <a:pt x="2442911" y="240765"/>
                </a:cubicBezTo>
                <a:cubicBezTo>
                  <a:pt x="2435083" y="240765"/>
                  <a:pt x="2428730" y="234469"/>
                  <a:pt x="2428730" y="226585"/>
                </a:cubicBezTo>
                <a:cubicBezTo>
                  <a:pt x="2428730" y="218757"/>
                  <a:pt x="2435083" y="212404"/>
                  <a:pt x="2442911" y="212404"/>
                </a:cubicBezTo>
                <a:close/>
                <a:moveTo>
                  <a:pt x="2386245" y="212404"/>
                </a:moveTo>
                <a:cubicBezTo>
                  <a:pt x="2394073" y="212404"/>
                  <a:pt x="2400426" y="218757"/>
                  <a:pt x="2400426" y="226585"/>
                </a:cubicBezTo>
                <a:cubicBezTo>
                  <a:pt x="2400426" y="234469"/>
                  <a:pt x="2394073" y="240765"/>
                  <a:pt x="2386245" y="240765"/>
                </a:cubicBezTo>
                <a:cubicBezTo>
                  <a:pt x="2378418" y="240765"/>
                  <a:pt x="2372065" y="234469"/>
                  <a:pt x="2372065" y="226585"/>
                </a:cubicBezTo>
                <a:cubicBezTo>
                  <a:pt x="2372065" y="218757"/>
                  <a:pt x="2378418" y="212404"/>
                  <a:pt x="2386245" y="212404"/>
                </a:cubicBezTo>
                <a:close/>
                <a:moveTo>
                  <a:pt x="2329580" y="212404"/>
                </a:moveTo>
                <a:cubicBezTo>
                  <a:pt x="2337408" y="212404"/>
                  <a:pt x="2343761" y="218757"/>
                  <a:pt x="2343761" y="226585"/>
                </a:cubicBezTo>
                <a:cubicBezTo>
                  <a:pt x="2343761" y="234469"/>
                  <a:pt x="2337408" y="240765"/>
                  <a:pt x="2329580" y="240765"/>
                </a:cubicBezTo>
                <a:cubicBezTo>
                  <a:pt x="2321752" y="240765"/>
                  <a:pt x="2315399" y="234469"/>
                  <a:pt x="2315399" y="226585"/>
                </a:cubicBezTo>
                <a:cubicBezTo>
                  <a:pt x="2315399" y="218757"/>
                  <a:pt x="2321752" y="212404"/>
                  <a:pt x="2329580" y="212404"/>
                </a:cubicBezTo>
                <a:close/>
                <a:moveTo>
                  <a:pt x="2272915" y="212404"/>
                </a:moveTo>
                <a:cubicBezTo>
                  <a:pt x="2280742" y="212404"/>
                  <a:pt x="2287095" y="218757"/>
                  <a:pt x="2287095" y="226585"/>
                </a:cubicBezTo>
                <a:cubicBezTo>
                  <a:pt x="2287095" y="234469"/>
                  <a:pt x="2280742" y="240765"/>
                  <a:pt x="2272915" y="240765"/>
                </a:cubicBezTo>
                <a:cubicBezTo>
                  <a:pt x="2265087" y="240765"/>
                  <a:pt x="2258734" y="234469"/>
                  <a:pt x="2258734" y="226585"/>
                </a:cubicBezTo>
                <a:cubicBezTo>
                  <a:pt x="2258734" y="218757"/>
                  <a:pt x="2265087" y="212404"/>
                  <a:pt x="2272915" y="212404"/>
                </a:cubicBezTo>
                <a:close/>
                <a:moveTo>
                  <a:pt x="2216306" y="212404"/>
                </a:moveTo>
                <a:cubicBezTo>
                  <a:pt x="2224133" y="212404"/>
                  <a:pt x="2230429" y="218757"/>
                  <a:pt x="2230429" y="226585"/>
                </a:cubicBezTo>
                <a:cubicBezTo>
                  <a:pt x="2230429" y="234469"/>
                  <a:pt x="2224133" y="240765"/>
                  <a:pt x="2216306" y="240765"/>
                </a:cubicBezTo>
                <a:cubicBezTo>
                  <a:pt x="2208421" y="240765"/>
                  <a:pt x="2202125" y="234469"/>
                  <a:pt x="2202125" y="226585"/>
                </a:cubicBezTo>
                <a:cubicBezTo>
                  <a:pt x="2202125" y="218757"/>
                  <a:pt x="2208421" y="212404"/>
                  <a:pt x="2216306" y="212404"/>
                </a:cubicBezTo>
                <a:close/>
                <a:moveTo>
                  <a:pt x="2159640" y="212404"/>
                </a:moveTo>
                <a:cubicBezTo>
                  <a:pt x="2167468" y="212404"/>
                  <a:pt x="2173821" y="218757"/>
                  <a:pt x="2173821" y="226585"/>
                </a:cubicBezTo>
                <a:cubicBezTo>
                  <a:pt x="2173821" y="234469"/>
                  <a:pt x="2167468" y="240765"/>
                  <a:pt x="2159640" y="240765"/>
                </a:cubicBezTo>
                <a:cubicBezTo>
                  <a:pt x="2151756" y="240765"/>
                  <a:pt x="2145403" y="234469"/>
                  <a:pt x="2145403" y="226585"/>
                </a:cubicBezTo>
                <a:cubicBezTo>
                  <a:pt x="2145403" y="218757"/>
                  <a:pt x="2151756" y="212404"/>
                  <a:pt x="2159640" y="212404"/>
                </a:cubicBezTo>
                <a:close/>
                <a:moveTo>
                  <a:pt x="2102975" y="212404"/>
                </a:moveTo>
                <a:cubicBezTo>
                  <a:pt x="2110802" y="212404"/>
                  <a:pt x="2117155" y="218757"/>
                  <a:pt x="2117155" y="226585"/>
                </a:cubicBezTo>
                <a:cubicBezTo>
                  <a:pt x="2117155" y="234469"/>
                  <a:pt x="2110802" y="240765"/>
                  <a:pt x="2102975" y="240765"/>
                </a:cubicBezTo>
                <a:cubicBezTo>
                  <a:pt x="2095147" y="240765"/>
                  <a:pt x="2088794" y="234469"/>
                  <a:pt x="2088794" y="226585"/>
                </a:cubicBezTo>
                <a:cubicBezTo>
                  <a:pt x="2088794" y="218757"/>
                  <a:pt x="2095147" y="212404"/>
                  <a:pt x="2102975" y="212404"/>
                </a:cubicBezTo>
                <a:close/>
                <a:moveTo>
                  <a:pt x="2046309" y="212404"/>
                </a:moveTo>
                <a:cubicBezTo>
                  <a:pt x="2054137" y="212404"/>
                  <a:pt x="2060490" y="218757"/>
                  <a:pt x="2060490" y="226585"/>
                </a:cubicBezTo>
                <a:cubicBezTo>
                  <a:pt x="2060490" y="234469"/>
                  <a:pt x="2054137" y="240765"/>
                  <a:pt x="2046309" y="240765"/>
                </a:cubicBezTo>
                <a:cubicBezTo>
                  <a:pt x="2038482" y="240765"/>
                  <a:pt x="2032129" y="234469"/>
                  <a:pt x="2032129" y="226585"/>
                </a:cubicBezTo>
                <a:cubicBezTo>
                  <a:pt x="2032129" y="218757"/>
                  <a:pt x="2038482" y="212404"/>
                  <a:pt x="2046309" y="212404"/>
                </a:cubicBezTo>
                <a:close/>
                <a:moveTo>
                  <a:pt x="1989644" y="212404"/>
                </a:moveTo>
                <a:cubicBezTo>
                  <a:pt x="1997471" y="212404"/>
                  <a:pt x="2003825" y="218757"/>
                  <a:pt x="2003825" y="226585"/>
                </a:cubicBezTo>
                <a:cubicBezTo>
                  <a:pt x="2003825" y="234469"/>
                  <a:pt x="1997471" y="240765"/>
                  <a:pt x="1989644" y="240765"/>
                </a:cubicBezTo>
                <a:cubicBezTo>
                  <a:pt x="1981816" y="240765"/>
                  <a:pt x="1975463" y="234469"/>
                  <a:pt x="1975463" y="226585"/>
                </a:cubicBezTo>
                <a:cubicBezTo>
                  <a:pt x="1975463" y="218757"/>
                  <a:pt x="1981816" y="212404"/>
                  <a:pt x="1989644" y="212404"/>
                </a:cubicBezTo>
                <a:close/>
                <a:moveTo>
                  <a:pt x="1932978" y="212404"/>
                </a:moveTo>
                <a:cubicBezTo>
                  <a:pt x="1940806" y="212404"/>
                  <a:pt x="1947159" y="218757"/>
                  <a:pt x="1947159" y="226585"/>
                </a:cubicBezTo>
                <a:cubicBezTo>
                  <a:pt x="1947159" y="234469"/>
                  <a:pt x="1940806" y="240765"/>
                  <a:pt x="1932978" y="240765"/>
                </a:cubicBezTo>
                <a:cubicBezTo>
                  <a:pt x="1925151" y="240765"/>
                  <a:pt x="1918798" y="234469"/>
                  <a:pt x="1918798" y="226585"/>
                </a:cubicBezTo>
                <a:cubicBezTo>
                  <a:pt x="1918798" y="218757"/>
                  <a:pt x="1925151" y="212404"/>
                  <a:pt x="1932978" y="212404"/>
                </a:cubicBezTo>
                <a:close/>
                <a:moveTo>
                  <a:pt x="1876313" y="212404"/>
                </a:moveTo>
                <a:cubicBezTo>
                  <a:pt x="1884141" y="212404"/>
                  <a:pt x="1890493" y="218757"/>
                  <a:pt x="1890493" y="226585"/>
                </a:cubicBezTo>
                <a:cubicBezTo>
                  <a:pt x="1890493" y="234469"/>
                  <a:pt x="1884141" y="240765"/>
                  <a:pt x="1876313" y="240765"/>
                </a:cubicBezTo>
                <a:cubicBezTo>
                  <a:pt x="1868485" y="240765"/>
                  <a:pt x="1862132" y="234469"/>
                  <a:pt x="1862132" y="226585"/>
                </a:cubicBezTo>
                <a:cubicBezTo>
                  <a:pt x="1862132" y="218757"/>
                  <a:pt x="1868485" y="212404"/>
                  <a:pt x="1876313" y="212404"/>
                </a:cubicBezTo>
                <a:close/>
                <a:moveTo>
                  <a:pt x="1819647" y="212404"/>
                </a:moveTo>
                <a:cubicBezTo>
                  <a:pt x="1827475" y="212404"/>
                  <a:pt x="1833828" y="218757"/>
                  <a:pt x="1833828" y="226585"/>
                </a:cubicBezTo>
                <a:cubicBezTo>
                  <a:pt x="1833828" y="234469"/>
                  <a:pt x="1827475" y="240765"/>
                  <a:pt x="1819647" y="240765"/>
                </a:cubicBezTo>
                <a:cubicBezTo>
                  <a:pt x="1811820" y="240765"/>
                  <a:pt x="1805467" y="234469"/>
                  <a:pt x="1805467" y="226585"/>
                </a:cubicBezTo>
                <a:cubicBezTo>
                  <a:pt x="1805467" y="218757"/>
                  <a:pt x="1811820" y="212404"/>
                  <a:pt x="1819647" y="212404"/>
                </a:cubicBezTo>
                <a:close/>
                <a:moveTo>
                  <a:pt x="1762982" y="212404"/>
                </a:moveTo>
                <a:cubicBezTo>
                  <a:pt x="1770810" y="212404"/>
                  <a:pt x="1777163" y="218757"/>
                  <a:pt x="1777163" y="226585"/>
                </a:cubicBezTo>
                <a:cubicBezTo>
                  <a:pt x="1777163" y="234469"/>
                  <a:pt x="1770810" y="240765"/>
                  <a:pt x="1762982" y="240765"/>
                </a:cubicBezTo>
                <a:cubicBezTo>
                  <a:pt x="1755154" y="240765"/>
                  <a:pt x="1748802" y="234469"/>
                  <a:pt x="1748802" y="226585"/>
                </a:cubicBezTo>
                <a:cubicBezTo>
                  <a:pt x="1748802" y="218757"/>
                  <a:pt x="1755154" y="212404"/>
                  <a:pt x="1762982" y="212404"/>
                </a:cubicBezTo>
                <a:close/>
                <a:moveTo>
                  <a:pt x="1706317" y="212404"/>
                </a:moveTo>
                <a:cubicBezTo>
                  <a:pt x="1714144" y="212404"/>
                  <a:pt x="1720497" y="218757"/>
                  <a:pt x="1720497" y="226585"/>
                </a:cubicBezTo>
                <a:cubicBezTo>
                  <a:pt x="1720497" y="234469"/>
                  <a:pt x="1714144" y="240765"/>
                  <a:pt x="1706317" y="240765"/>
                </a:cubicBezTo>
                <a:cubicBezTo>
                  <a:pt x="1698489" y="240765"/>
                  <a:pt x="1692136" y="234469"/>
                  <a:pt x="1692136" y="226585"/>
                </a:cubicBezTo>
                <a:cubicBezTo>
                  <a:pt x="1692136" y="218757"/>
                  <a:pt x="1698489" y="212404"/>
                  <a:pt x="1706317" y="212404"/>
                </a:cubicBezTo>
                <a:close/>
                <a:moveTo>
                  <a:pt x="1649651" y="212404"/>
                </a:moveTo>
                <a:cubicBezTo>
                  <a:pt x="1657479" y="212404"/>
                  <a:pt x="1663832" y="218757"/>
                  <a:pt x="1663832" y="226585"/>
                </a:cubicBezTo>
                <a:cubicBezTo>
                  <a:pt x="1663832" y="234469"/>
                  <a:pt x="1657479" y="240765"/>
                  <a:pt x="1649651" y="240765"/>
                </a:cubicBezTo>
                <a:cubicBezTo>
                  <a:pt x="1641824" y="240765"/>
                  <a:pt x="1635471" y="234469"/>
                  <a:pt x="1635471" y="226585"/>
                </a:cubicBezTo>
                <a:cubicBezTo>
                  <a:pt x="1635471" y="218757"/>
                  <a:pt x="1641824" y="212404"/>
                  <a:pt x="1649651" y="212404"/>
                </a:cubicBezTo>
                <a:close/>
                <a:moveTo>
                  <a:pt x="1593042" y="212404"/>
                </a:moveTo>
                <a:cubicBezTo>
                  <a:pt x="1600870" y="212404"/>
                  <a:pt x="1607223" y="218757"/>
                  <a:pt x="1607223" y="226585"/>
                </a:cubicBezTo>
                <a:cubicBezTo>
                  <a:pt x="1607223" y="234469"/>
                  <a:pt x="1600870" y="240765"/>
                  <a:pt x="1593042" y="240765"/>
                </a:cubicBezTo>
                <a:cubicBezTo>
                  <a:pt x="1585158" y="240765"/>
                  <a:pt x="1578862" y="234469"/>
                  <a:pt x="1578862" y="226585"/>
                </a:cubicBezTo>
                <a:cubicBezTo>
                  <a:pt x="1578862" y="218757"/>
                  <a:pt x="1585158" y="212404"/>
                  <a:pt x="1593042" y="212404"/>
                </a:cubicBezTo>
                <a:close/>
                <a:moveTo>
                  <a:pt x="1536377" y="212404"/>
                </a:moveTo>
                <a:cubicBezTo>
                  <a:pt x="1544205" y="212404"/>
                  <a:pt x="1550557" y="218757"/>
                  <a:pt x="1550557" y="226585"/>
                </a:cubicBezTo>
                <a:cubicBezTo>
                  <a:pt x="1550557" y="234469"/>
                  <a:pt x="1544205" y="240765"/>
                  <a:pt x="1536377" y="240765"/>
                </a:cubicBezTo>
                <a:cubicBezTo>
                  <a:pt x="1528549" y="240765"/>
                  <a:pt x="1522140" y="234469"/>
                  <a:pt x="1522140" y="226585"/>
                </a:cubicBezTo>
                <a:cubicBezTo>
                  <a:pt x="1522140" y="218757"/>
                  <a:pt x="1528549" y="212404"/>
                  <a:pt x="1536377" y="212404"/>
                </a:cubicBezTo>
                <a:close/>
                <a:moveTo>
                  <a:pt x="1479712" y="212404"/>
                </a:moveTo>
                <a:cubicBezTo>
                  <a:pt x="1487539" y="212404"/>
                  <a:pt x="1493892" y="218757"/>
                  <a:pt x="1493892" y="226585"/>
                </a:cubicBezTo>
                <a:cubicBezTo>
                  <a:pt x="1493892" y="234469"/>
                  <a:pt x="1487539" y="240765"/>
                  <a:pt x="1479712" y="240765"/>
                </a:cubicBezTo>
                <a:cubicBezTo>
                  <a:pt x="1471884" y="240765"/>
                  <a:pt x="1465531" y="234469"/>
                  <a:pt x="1465531" y="226585"/>
                </a:cubicBezTo>
                <a:cubicBezTo>
                  <a:pt x="1465531" y="218757"/>
                  <a:pt x="1471884" y="212404"/>
                  <a:pt x="1479712" y="212404"/>
                </a:cubicBezTo>
                <a:close/>
                <a:moveTo>
                  <a:pt x="1423046" y="212404"/>
                </a:moveTo>
                <a:cubicBezTo>
                  <a:pt x="1430874" y="212404"/>
                  <a:pt x="1437227" y="218757"/>
                  <a:pt x="1437227" y="226585"/>
                </a:cubicBezTo>
                <a:cubicBezTo>
                  <a:pt x="1437227" y="234469"/>
                  <a:pt x="1430874" y="240765"/>
                  <a:pt x="1423046" y="240765"/>
                </a:cubicBezTo>
                <a:cubicBezTo>
                  <a:pt x="1415218" y="240765"/>
                  <a:pt x="1408866" y="234469"/>
                  <a:pt x="1408866" y="226585"/>
                </a:cubicBezTo>
                <a:cubicBezTo>
                  <a:pt x="1408866" y="218757"/>
                  <a:pt x="1415218" y="212404"/>
                  <a:pt x="1423046" y="212404"/>
                </a:cubicBezTo>
                <a:close/>
                <a:moveTo>
                  <a:pt x="1366381" y="212404"/>
                </a:moveTo>
                <a:cubicBezTo>
                  <a:pt x="1374208" y="212404"/>
                  <a:pt x="1380561" y="218757"/>
                  <a:pt x="1380561" y="226585"/>
                </a:cubicBezTo>
                <a:cubicBezTo>
                  <a:pt x="1380561" y="234469"/>
                  <a:pt x="1374208" y="240765"/>
                  <a:pt x="1366381" y="240765"/>
                </a:cubicBezTo>
                <a:cubicBezTo>
                  <a:pt x="1358553" y="240765"/>
                  <a:pt x="1352200" y="234469"/>
                  <a:pt x="1352200" y="226585"/>
                </a:cubicBezTo>
                <a:cubicBezTo>
                  <a:pt x="1352200" y="218757"/>
                  <a:pt x="1358553" y="212404"/>
                  <a:pt x="1366381" y="212404"/>
                </a:cubicBezTo>
                <a:close/>
                <a:moveTo>
                  <a:pt x="1309715" y="212404"/>
                </a:moveTo>
                <a:cubicBezTo>
                  <a:pt x="1317543" y="212404"/>
                  <a:pt x="1323896" y="218757"/>
                  <a:pt x="1323896" y="226585"/>
                </a:cubicBezTo>
                <a:cubicBezTo>
                  <a:pt x="1323896" y="234469"/>
                  <a:pt x="1317543" y="240765"/>
                  <a:pt x="1309715" y="240765"/>
                </a:cubicBezTo>
                <a:cubicBezTo>
                  <a:pt x="1301887" y="240765"/>
                  <a:pt x="1295535" y="234469"/>
                  <a:pt x="1295535" y="226585"/>
                </a:cubicBezTo>
                <a:cubicBezTo>
                  <a:pt x="1295535" y="218757"/>
                  <a:pt x="1301887" y="212404"/>
                  <a:pt x="1309715" y="212404"/>
                </a:cubicBezTo>
                <a:close/>
                <a:moveTo>
                  <a:pt x="1253050" y="212404"/>
                </a:moveTo>
                <a:cubicBezTo>
                  <a:pt x="1260877" y="212404"/>
                  <a:pt x="1267230" y="218757"/>
                  <a:pt x="1267230" y="226585"/>
                </a:cubicBezTo>
                <a:cubicBezTo>
                  <a:pt x="1267230" y="234469"/>
                  <a:pt x="1260877" y="240765"/>
                  <a:pt x="1253050" y="240765"/>
                </a:cubicBezTo>
                <a:cubicBezTo>
                  <a:pt x="1245222" y="240765"/>
                  <a:pt x="1238869" y="234469"/>
                  <a:pt x="1238869" y="226585"/>
                </a:cubicBezTo>
                <a:cubicBezTo>
                  <a:pt x="1238869" y="218757"/>
                  <a:pt x="1245222" y="212404"/>
                  <a:pt x="1253050" y="212404"/>
                </a:cubicBezTo>
                <a:close/>
                <a:moveTo>
                  <a:pt x="1196384" y="212404"/>
                </a:moveTo>
                <a:cubicBezTo>
                  <a:pt x="1204212" y="212404"/>
                  <a:pt x="1210565" y="218757"/>
                  <a:pt x="1210565" y="226585"/>
                </a:cubicBezTo>
                <a:cubicBezTo>
                  <a:pt x="1210565" y="234469"/>
                  <a:pt x="1204212" y="240765"/>
                  <a:pt x="1196384" y="240765"/>
                </a:cubicBezTo>
                <a:cubicBezTo>
                  <a:pt x="1188556" y="240765"/>
                  <a:pt x="1182204" y="234469"/>
                  <a:pt x="1182204" y="226585"/>
                </a:cubicBezTo>
                <a:cubicBezTo>
                  <a:pt x="1182204" y="218757"/>
                  <a:pt x="1188556" y="212404"/>
                  <a:pt x="1196384" y="212404"/>
                </a:cubicBezTo>
                <a:close/>
                <a:moveTo>
                  <a:pt x="1139719" y="212404"/>
                </a:moveTo>
                <a:cubicBezTo>
                  <a:pt x="1147546" y="212404"/>
                  <a:pt x="1153899" y="218757"/>
                  <a:pt x="1153899" y="226585"/>
                </a:cubicBezTo>
                <a:cubicBezTo>
                  <a:pt x="1153899" y="234469"/>
                  <a:pt x="1147546" y="240765"/>
                  <a:pt x="1139719" y="240765"/>
                </a:cubicBezTo>
                <a:cubicBezTo>
                  <a:pt x="1131891" y="240765"/>
                  <a:pt x="1125538" y="234469"/>
                  <a:pt x="1125538" y="226585"/>
                </a:cubicBezTo>
                <a:cubicBezTo>
                  <a:pt x="1125538" y="218757"/>
                  <a:pt x="1131891" y="212404"/>
                  <a:pt x="1139719" y="212404"/>
                </a:cubicBezTo>
                <a:close/>
                <a:moveTo>
                  <a:pt x="1083053" y="212404"/>
                </a:moveTo>
                <a:cubicBezTo>
                  <a:pt x="1090881" y="212404"/>
                  <a:pt x="1097234" y="218757"/>
                  <a:pt x="1097234" y="226585"/>
                </a:cubicBezTo>
                <a:cubicBezTo>
                  <a:pt x="1097234" y="234469"/>
                  <a:pt x="1090881" y="240765"/>
                  <a:pt x="1083053" y="240765"/>
                </a:cubicBezTo>
                <a:cubicBezTo>
                  <a:pt x="1075226" y="240765"/>
                  <a:pt x="1068873" y="234469"/>
                  <a:pt x="1068873" y="226585"/>
                </a:cubicBezTo>
                <a:cubicBezTo>
                  <a:pt x="1068873" y="218757"/>
                  <a:pt x="1075226" y="212404"/>
                  <a:pt x="1083053" y="212404"/>
                </a:cubicBezTo>
                <a:close/>
                <a:moveTo>
                  <a:pt x="1026388" y="212404"/>
                </a:moveTo>
                <a:cubicBezTo>
                  <a:pt x="1034215" y="212404"/>
                  <a:pt x="1040568" y="218757"/>
                  <a:pt x="1040568" y="226585"/>
                </a:cubicBezTo>
                <a:cubicBezTo>
                  <a:pt x="1040568" y="234469"/>
                  <a:pt x="1034215" y="240765"/>
                  <a:pt x="1026388" y="240765"/>
                </a:cubicBezTo>
                <a:cubicBezTo>
                  <a:pt x="1018560" y="240765"/>
                  <a:pt x="1012207" y="234469"/>
                  <a:pt x="1012207" y="226585"/>
                </a:cubicBezTo>
                <a:cubicBezTo>
                  <a:pt x="1012207" y="218757"/>
                  <a:pt x="1018560" y="212404"/>
                  <a:pt x="1026388" y="212404"/>
                </a:cubicBezTo>
                <a:close/>
                <a:moveTo>
                  <a:pt x="969779" y="212404"/>
                </a:moveTo>
                <a:cubicBezTo>
                  <a:pt x="977607" y="212404"/>
                  <a:pt x="983903" y="218757"/>
                  <a:pt x="983903" y="226585"/>
                </a:cubicBezTo>
                <a:cubicBezTo>
                  <a:pt x="983903" y="234469"/>
                  <a:pt x="977607" y="240765"/>
                  <a:pt x="969779" y="240765"/>
                </a:cubicBezTo>
                <a:cubicBezTo>
                  <a:pt x="961895" y="240765"/>
                  <a:pt x="955599" y="234469"/>
                  <a:pt x="955599" y="226585"/>
                </a:cubicBezTo>
                <a:cubicBezTo>
                  <a:pt x="955599" y="218757"/>
                  <a:pt x="961895" y="212404"/>
                  <a:pt x="969779" y="212404"/>
                </a:cubicBezTo>
                <a:close/>
                <a:moveTo>
                  <a:pt x="913057" y="212404"/>
                </a:moveTo>
                <a:cubicBezTo>
                  <a:pt x="920941" y="212404"/>
                  <a:pt x="927294" y="218757"/>
                  <a:pt x="927294" y="226585"/>
                </a:cubicBezTo>
                <a:cubicBezTo>
                  <a:pt x="927294" y="234469"/>
                  <a:pt x="920941" y="240765"/>
                  <a:pt x="913057" y="240765"/>
                </a:cubicBezTo>
                <a:cubicBezTo>
                  <a:pt x="905229" y="240765"/>
                  <a:pt x="898876" y="234469"/>
                  <a:pt x="898876" y="226585"/>
                </a:cubicBezTo>
                <a:cubicBezTo>
                  <a:pt x="898876" y="218757"/>
                  <a:pt x="905229" y="212404"/>
                  <a:pt x="913057" y="212404"/>
                </a:cubicBezTo>
                <a:close/>
                <a:moveTo>
                  <a:pt x="856448" y="212404"/>
                </a:moveTo>
                <a:cubicBezTo>
                  <a:pt x="864276" y="212404"/>
                  <a:pt x="870629" y="218757"/>
                  <a:pt x="870629" y="226585"/>
                </a:cubicBezTo>
                <a:cubicBezTo>
                  <a:pt x="870629" y="234469"/>
                  <a:pt x="864276" y="240765"/>
                  <a:pt x="856448" y="240765"/>
                </a:cubicBezTo>
                <a:cubicBezTo>
                  <a:pt x="848621" y="240765"/>
                  <a:pt x="842268" y="234469"/>
                  <a:pt x="842268" y="226585"/>
                </a:cubicBezTo>
                <a:cubicBezTo>
                  <a:pt x="842268" y="218757"/>
                  <a:pt x="848621" y="212404"/>
                  <a:pt x="856448" y="212404"/>
                </a:cubicBezTo>
                <a:close/>
                <a:moveTo>
                  <a:pt x="799783" y="212404"/>
                </a:moveTo>
                <a:cubicBezTo>
                  <a:pt x="807611" y="212404"/>
                  <a:pt x="813963" y="218757"/>
                  <a:pt x="813963" y="226585"/>
                </a:cubicBezTo>
                <a:cubicBezTo>
                  <a:pt x="813963" y="234469"/>
                  <a:pt x="807611" y="240765"/>
                  <a:pt x="799783" y="240765"/>
                </a:cubicBezTo>
                <a:cubicBezTo>
                  <a:pt x="791955" y="240765"/>
                  <a:pt x="785602" y="234469"/>
                  <a:pt x="785602" y="226585"/>
                </a:cubicBezTo>
                <a:cubicBezTo>
                  <a:pt x="785602" y="218757"/>
                  <a:pt x="791955" y="212404"/>
                  <a:pt x="799783" y="212404"/>
                </a:cubicBezTo>
                <a:close/>
                <a:moveTo>
                  <a:pt x="743117" y="212404"/>
                </a:moveTo>
                <a:cubicBezTo>
                  <a:pt x="750945" y="212404"/>
                  <a:pt x="757298" y="218757"/>
                  <a:pt x="757298" y="226585"/>
                </a:cubicBezTo>
                <a:cubicBezTo>
                  <a:pt x="757298" y="234469"/>
                  <a:pt x="750945" y="240765"/>
                  <a:pt x="743117" y="240765"/>
                </a:cubicBezTo>
                <a:cubicBezTo>
                  <a:pt x="735290" y="240765"/>
                  <a:pt x="728937" y="234469"/>
                  <a:pt x="728937" y="226585"/>
                </a:cubicBezTo>
                <a:cubicBezTo>
                  <a:pt x="728937" y="218757"/>
                  <a:pt x="735290" y="212404"/>
                  <a:pt x="743117" y="212404"/>
                </a:cubicBezTo>
                <a:close/>
                <a:moveTo>
                  <a:pt x="686452" y="212404"/>
                </a:moveTo>
                <a:cubicBezTo>
                  <a:pt x="694280" y="212404"/>
                  <a:pt x="700632" y="218757"/>
                  <a:pt x="700632" y="226585"/>
                </a:cubicBezTo>
                <a:cubicBezTo>
                  <a:pt x="700632" y="234469"/>
                  <a:pt x="694280" y="240765"/>
                  <a:pt x="686452" y="240765"/>
                </a:cubicBezTo>
                <a:cubicBezTo>
                  <a:pt x="678624" y="240765"/>
                  <a:pt x="672271" y="234469"/>
                  <a:pt x="672271" y="226585"/>
                </a:cubicBezTo>
                <a:cubicBezTo>
                  <a:pt x="672271" y="218757"/>
                  <a:pt x="678624" y="212404"/>
                  <a:pt x="686452" y="212404"/>
                </a:cubicBezTo>
                <a:close/>
                <a:moveTo>
                  <a:pt x="629786" y="212404"/>
                </a:moveTo>
                <a:cubicBezTo>
                  <a:pt x="637614" y="212404"/>
                  <a:pt x="643967" y="218757"/>
                  <a:pt x="643967" y="226585"/>
                </a:cubicBezTo>
                <a:cubicBezTo>
                  <a:pt x="643967" y="234469"/>
                  <a:pt x="637614" y="240765"/>
                  <a:pt x="629786" y="240765"/>
                </a:cubicBezTo>
                <a:cubicBezTo>
                  <a:pt x="621959" y="240765"/>
                  <a:pt x="615606" y="234469"/>
                  <a:pt x="615606" y="226585"/>
                </a:cubicBezTo>
                <a:cubicBezTo>
                  <a:pt x="615606" y="218757"/>
                  <a:pt x="621959" y="212404"/>
                  <a:pt x="629786" y="212404"/>
                </a:cubicBezTo>
                <a:close/>
                <a:moveTo>
                  <a:pt x="573121" y="212404"/>
                </a:moveTo>
                <a:cubicBezTo>
                  <a:pt x="580949" y="212404"/>
                  <a:pt x="587301" y="218757"/>
                  <a:pt x="587301" y="226585"/>
                </a:cubicBezTo>
                <a:cubicBezTo>
                  <a:pt x="587301" y="234469"/>
                  <a:pt x="580949" y="240765"/>
                  <a:pt x="573121" y="240765"/>
                </a:cubicBezTo>
                <a:cubicBezTo>
                  <a:pt x="565293" y="240765"/>
                  <a:pt x="558940" y="234469"/>
                  <a:pt x="558940" y="226585"/>
                </a:cubicBezTo>
                <a:cubicBezTo>
                  <a:pt x="558940" y="218757"/>
                  <a:pt x="565293" y="212404"/>
                  <a:pt x="573121" y="212404"/>
                </a:cubicBezTo>
                <a:close/>
                <a:moveTo>
                  <a:pt x="516455" y="212404"/>
                </a:moveTo>
                <a:cubicBezTo>
                  <a:pt x="524283" y="212404"/>
                  <a:pt x="530636" y="218757"/>
                  <a:pt x="530636" y="226585"/>
                </a:cubicBezTo>
                <a:cubicBezTo>
                  <a:pt x="530636" y="234469"/>
                  <a:pt x="524283" y="240765"/>
                  <a:pt x="516455" y="240765"/>
                </a:cubicBezTo>
                <a:cubicBezTo>
                  <a:pt x="508628" y="240765"/>
                  <a:pt x="502275" y="234469"/>
                  <a:pt x="502275" y="226585"/>
                </a:cubicBezTo>
                <a:cubicBezTo>
                  <a:pt x="502275" y="218757"/>
                  <a:pt x="508628" y="212404"/>
                  <a:pt x="516455" y="212404"/>
                </a:cubicBezTo>
                <a:close/>
                <a:moveTo>
                  <a:pt x="459790" y="212404"/>
                </a:moveTo>
                <a:cubicBezTo>
                  <a:pt x="467618" y="212404"/>
                  <a:pt x="473971" y="218757"/>
                  <a:pt x="473971" y="226585"/>
                </a:cubicBezTo>
                <a:cubicBezTo>
                  <a:pt x="473971" y="234469"/>
                  <a:pt x="467618" y="240765"/>
                  <a:pt x="459790" y="240765"/>
                </a:cubicBezTo>
                <a:cubicBezTo>
                  <a:pt x="451962" y="240765"/>
                  <a:pt x="445610" y="234469"/>
                  <a:pt x="445610" y="226585"/>
                </a:cubicBezTo>
                <a:cubicBezTo>
                  <a:pt x="445610" y="218757"/>
                  <a:pt x="451962" y="212404"/>
                  <a:pt x="459790" y="212404"/>
                </a:cubicBezTo>
                <a:close/>
                <a:moveTo>
                  <a:pt x="403125" y="212404"/>
                </a:moveTo>
                <a:cubicBezTo>
                  <a:pt x="410952" y="212404"/>
                  <a:pt x="417305" y="218757"/>
                  <a:pt x="417305" y="226585"/>
                </a:cubicBezTo>
                <a:cubicBezTo>
                  <a:pt x="417305" y="234469"/>
                  <a:pt x="410952" y="240765"/>
                  <a:pt x="403125" y="240765"/>
                </a:cubicBezTo>
                <a:cubicBezTo>
                  <a:pt x="395297" y="240765"/>
                  <a:pt x="388944" y="234469"/>
                  <a:pt x="388944" y="226585"/>
                </a:cubicBezTo>
                <a:cubicBezTo>
                  <a:pt x="388944" y="218757"/>
                  <a:pt x="395297" y="212404"/>
                  <a:pt x="403125" y="212404"/>
                </a:cubicBezTo>
                <a:close/>
                <a:moveTo>
                  <a:pt x="346516" y="212404"/>
                </a:moveTo>
                <a:cubicBezTo>
                  <a:pt x="354344" y="212404"/>
                  <a:pt x="360640" y="218757"/>
                  <a:pt x="360640" y="226585"/>
                </a:cubicBezTo>
                <a:cubicBezTo>
                  <a:pt x="360640" y="234469"/>
                  <a:pt x="354344" y="240765"/>
                  <a:pt x="346516" y="240765"/>
                </a:cubicBezTo>
                <a:cubicBezTo>
                  <a:pt x="338631" y="240765"/>
                  <a:pt x="332279" y="234469"/>
                  <a:pt x="332279" y="226585"/>
                </a:cubicBezTo>
                <a:cubicBezTo>
                  <a:pt x="332279" y="218757"/>
                  <a:pt x="338631" y="212404"/>
                  <a:pt x="346516" y="212404"/>
                </a:cubicBezTo>
                <a:close/>
                <a:moveTo>
                  <a:pt x="289851" y="212404"/>
                </a:moveTo>
                <a:cubicBezTo>
                  <a:pt x="297678" y="212404"/>
                  <a:pt x="304031" y="218757"/>
                  <a:pt x="304031" y="226585"/>
                </a:cubicBezTo>
                <a:cubicBezTo>
                  <a:pt x="304031" y="234469"/>
                  <a:pt x="297678" y="240765"/>
                  <a:pt x="289851" y="240765"/>
                </a:cubicBezTo>
                <a:cubicBezTo>
                  <a:pt x="281966" y="240765"/>
                  <a:pt x="275613" y="234469"/>
                  <a:pt x="275613" y="226585"/>
                </a:cubicBezTo>
                <a:cubicBezTo>
                  <a:pt x="275613" y="218757"/>
                  <a:pt x="281966" y="212404"/>
                  <a:pt x="289851" y="212404"/>
                </a:cubicBezTo>
                <a:close/>
                <a:moveTo>
                  <a:pt x="233185" y="212404"/>
                </a:moveTo>
                <a:cubicBezTo>
                  <a:pt x="241013" y="212404"/>
                  <a:pt x="247365" y="218757"/>
                  <a:pt x="247365" y="226585"/>
                </a:cubicBezTo>
                <a:cubicBezTo>
                  <a:pt x="247365" y="234469"/>
                  <a:pt x="241013" y="240765"/>
                  <a:pt x="233185" y="240765"/>
                </a:cubicBezTo>
                <a:cubicBezTo>
                  <a:pt x="225357" y="240765"/>
                  <a:pt x="219004" y="234469"/>
                  <a:pt x="219004" y="226585"/>
                </a:cubicBezTo>
                <a:cubicBezTo>
                  <a:pt x="219004" y="218757"/>
                  <a:pt x="225357" y="212404"/>
                  <a:pt x="233185" y="212404"/>
                </a:cubicBezTo>
                <a:close/>
                <a:moveTo>
                  <a:pt x="176520" y="212404"/>
                </a:moveTo>
                <a:cubicBezTo>
                  <a:pt x="184347" y="212404"/>
                  <a:pt x="190700" y="218757"/>
                  <a:pt x="190700" y="226585"/>
                </a:cubicBezTo>
                <a:cubicBezTo>
                  <a:pt x="190700" y="234469"/>
                  <a:pt x="184347" y="240765"/>
                  <a:pt x="176520" y="240765"/>
                </a:cubicBezTo>
                <a:cubicBezTo>
                  <a:pt x="168692" y="240765"/>
                  <a:pt x="162339" y="234469"/>
                  <a:pt x="162339" y="226585"/>
                </a:cubicBezTo>
                <a:cubicBezTo>
                  <a:pt x="162339" y="218757"/>
                  <a:pt x="168692" y="212404"/>
                  <a:pt x="176520" y="212404"/>
                </a:cubicBezTo>
                <a:close/>
                <a:moveTo>
                  <a:pt x="3801747" y="159312"/>
                </a:moveTo>
                <a:cubicBezTo>
                  <a:pt x="3809631" y="159312"/>
                  <a:pt x="3815927" y="165664"/>
                  <a:pt x="3815927" y="173492"/>
                </a:cubicBezTo>
                <a:cubicBezTo>
                  <a:pt x="3815927" y="181320"/>
                  <a:pt x="3809631" y="187673"/>
                  <a:pt x="3801747" y="187673"/>
                </a:cubicBezTo>
                <a:cubicBezTo>
                  <a:pt x="3793919" y="187673"/>
                  <a:pt x="3787566" y="181320"/>
                  <a:pt x="3787566" y="173492"/>
                </a:cubicBezTo>
                <a:cubicBezTo>
                  <a:pt x="3787566" y="165664"/>
                  <a:pt x="3793919" y="159312"/>
                  <a:pt x="3801747" y="159312"/>
                </a:cubicBezTo>
                <a:close/>
                <a:moveTo>
                  <a:pt x="3801747" y="106220"/>
                </a:moveTo>
                <a:cubicBezTo>
                  <a:pt x="3809631" y="106220"/>
                  <a:pt x="3815927" y="112573"/>
                  <a:pt x="3815927" y="120400"/>
                </a:cubicBezTo>
                <a:cubicBezTo>
                  <a:pt x="3815927" y="128228"/>
                  <a:pt x="3809631" y="134581"/>
                  <a:pt x="3801747" y="134581"/>
                </a:cubicBezTo>
                <a:cubicBezTo>
                  <a:pt x="3793919" y="134581"/>
                  <a:pt x="3787566" y="128228"/>
                  <a:pt x="3787566" y="120400"/>
                </a:cubicBezTo>
                <a:cubicBezTo>
                  <a:pt x="3787566" y="112573"/>
                  <a:pt x="3793919" y="106220"/>
                  <a:pt x="3801747" y="106220"/>
                </a:cubicBezTo>
                <a:close/>
                <a:moveTo>
                  <a:pt x="3801747" y="53071"/>
                </a:moveTo>
                <a:cubicBezTo>
                  <a:pt x="3809631" y="53071"/>
                  <a:pt x="3815927" y="59424"/>
                  <a:pt x="3815927" y="67252"/>
                </a:cubicBezTo>
                <a:cubicBezTo>
                  <a:pt x="3815927" y="75079"/>
                  <a:pt x="3809631" y="81432"/>
                  <a:pt x="3801747" y="81432"/>
                </a:cubicBezTo>
                <a:cubicBezTo>
                  <a:pt x="3793919" y="81432"/>
                  <a:pt x="3787566" y="75079"/>
                  <a:pt x="3787566" y="67252"/>
                </a:cubicBezTo>
                <a:cubicBezTo>
                  <a:pt x="3787566" y="59424"/>
                  <a:pt x="3793919" y="53071"/>
                  <a:pt x="3801747" y="53071"/>
                </a:cubicBezTo>
                <a:close/>
                <a:moveTo>
                  <a:pt x="3798967" y="263"/>
                </a:moveTo>
                <a:cubicBezTo>
                  <a:pt x="3803618" y="-644"/>
                  <a:pt x="3808496" y="831"/>
                  <a:pt x="3811786" y="4121"/>
                </a:cubicBezTo>
                <a:cubicBezTo>
                  <a:pt x="3814452" y="6786"/>
                  <a:pt x="3815927" y="10417"/>
                  <a:pt x="3815927" y="14160"/>
                </a:cubicBezTo>
                <a:cubicBezTo>
                  <a:pt x="3815927" y="17904"/>
                  <a:pt x="3814452" y="21534"/>
                  <a:pt x="3811786" y="24200"/>
                </a:cubicBezTo>
                <a:cubicBezTo>
                  <a:pt x="3809177" y="26809"/>
                  <a:pt x="3805490" y="28341"/>
                  <a:pt x="3801747" y="28341"/>
                </a:cubicBezTo>
                <a:cubicBezTo>
                  <a:pt x="3800839" y="28341"/>
                  <a:pt x="3799931" y="28227"/>
                  <a:pt x="3798967" y="28057"/>
                </a:cubicBezTo>
                <a:cubicBezTo>
                  <a:pt x="3798116" y="27887"/>
                  <a:pt x="3797209" y="27603"/>
                  <a:pt x="3796358" y="27263"/>
                </a:cubicBezTo>
                <a:cubicBezTo>
                  <a:pt x="3795507" y="26923"/>
                  <a:pt x="3794656" y="26469"/>
                  <a:pt x="3793919" y="25958"/>
                </a:cubicBezTo>
                <a:cubicBezTo>
                  <a:pt x="3793125" y="25448"/>
                  <a:pt x="3792387" y="24824"/>
                  <a:pt x="3791763" y="24200"/>
                </a:cubicBezTo>
                <a:cubicBezTo>
                  <a:pt x="3789098" y="21534"/>
                  <a:pt x="3787566" y="17904"/>
                  <a:pt x="3787566" y="14160"/>
                </a:cubicBezTo>
                <a:cubicBezTo>
                  <a:pt x="3787566" y="10417"/>
                  <a:pt x="3789098" y="6786"/>
                  <a:pt x="3791763" y="4121"/>
                </a:cubicBezTo>
                <a:cubicBezTo>
                  <a:pt x="3792387" y="3496"/>
                  <a:pt x="3793125" y="2872"/>
                  <a:pt x="3793919" y="2362"/>
                </a:cubicBezTo>
                <a:cubicBezTo>
                  <a:pt x="3794656" y="1851"/>
                  <a:pt x="3795507" y="1398"/>
                  <a:pt x="3796358" y="1057"/>
                </a:cubicBezTo>
                <a:cubicBezTo>
                  <a:pt x="3797209" y="717"/>
                  <a:pt x="3798116" y="433"/>
                  <a:pt x="3798967" y="263"/>
                </a:cubicBezTo>
                <a:close/>
              </a:path>
            </a:pathLst>
          </a:custGeom>
          <a:solidFill>
            <a:srgbClr val="FDAA48"/>
          </a:solidFill>
          <a:ln w="0" cap="flat">
            <a:noFill/>
            <a:prstDash val="solid"/>
            <a:miter/>
          </a:ln>
        </p:spPr>
        <p:txBody>
          <a:bodyPr rtlCol="0" anchor="ctr"/>
          <a:lstStyle/>
          <a:p>
            <a:endParaRPr lang="sv-SE"/>
          </a:p>
        </p:txBody>
      </p:sp>
      <p:sp>
        <p:nvSpPr>
          <p:cNvPr id="445" name="Freeform 444">
            <a:extLst>
              <a:ext uri="{FF2B5EF4-FFF2-40B4-BE49-F238E27FC236}">
                <a16:creationId xmlns:a16="http://schemas.microsoft.com/office/drawing/2014/main" id="{872C961C-4725-7BC2-0F53-ABA61AFD8D4C}"/>
              </a:ext>
            </a:extLst>
          </p:cNvPr>
          <p:cNvSpPr/>
          <p:nvPr/>
        </p:nvSpPr>
        <p:spPr>
          <a:xfrm>
            <a:off x="6455366" y="3680651"/>
            <a:ext cx="2572294" cy="240822"/>
          </a:xfrm>
          <a:custGeom>
            <a:avLst/>
            <a:gdLst>
              <a:gd name="connsiteX0" fmla="*/ 2560836 w 2572294"/>
              <a:gd name="connsiteY0" fmla="*/ 212687 h 240822"/>
              <a:gd name="connsiteX1" fmla="*/ 2563502 w 2572294"/>
              <a:gd name="connsiteY1" fmla="*/ 213482 h 240822"/>
              <a:gd name="connsiteX2" fmla="*/ 2565941 w 2572294"/>
              <a:gd name="connsiteY2" fmla="*/ 214786 h 240822"/>
              <a:gd name="connsiteX3" fmla="*/ 2568097 w 2572294"/>
              <a:gd name="connsiteY3" fmla="*/ 216601 h 240822"/>
              <a:gd name="connsiteX4" fmla="*/ 2569855 w 2572294"/>
              <a:gd name="connsiteY4" fmla="*/ 218757 h 240822"/>
              <a:gd name="connsiteX5" fmla="*/ 2571159 w 2572294"/>
              <a:gd name="connsiteY5" fmla="*/ 221196 h 240822"/>
              <a:gd name="connsiteX6" fmla="*/ 2572010 w 2572294"/>
              <a:gd name="connsiteY6" fmla="*/ 223805 h 240822"/>
              <a:gd name="connsiteX7" fmla="*/ 2572294 w 2572294"/>
              <a:gd name="connsiteY7" fmla="*/ 226584 h 240822"/>
              <a:gd name="connsiteX8" fmla="*/ 2572010 w 2572294"/>
              <a:gd name="connsiteY8" fmla="*/ 229364 h 240822"/>
              <a:gd name="connsiteX9" fmla="*/ 2571159 w 2572294"/>
              <a:gd name="connsiteY9" fmla="*/ 232030 h 240822"/>
              <a:gd name="connsiteX10" fmla="*/ 2569855 w 2572294"/>
              <a:gd name="connsiteY10" fmla="*/ 234469 h 240822"/>
              <a:gd name="connsiteX11" fmla="*/ 2568097 w 2572294"/>
              <a:gd name="connsiteY11" fmla="*/ 236624 h 240822"/>
              <a:gd name="connsiteX12" fmla="*/ 2565941 w 2572294"/>
              <a:gd name="connsiteY12" fmla="*/ 238383 h 240822"/>
              <a:gd name="connsiteX13" fmla="*/ 2563502 w 2572294"/>
              <a:gd name="connsiteY13" fmla="*/ 239687 h 240822"/>
              <a:gd name="connsiteX14" fmla="*/ 2560836 w 2572294"/>
              <a:gd name="connsiteY14" fmla="*/ 240538 h 240822"/>
              <a:gd name="connsiteX15" fmla="*/ 2558114 w 2572294"/>
              <a:gd name="connsiteY15" fmla="*/ 240822 h 240822"/>
              <a:gd name="connsiteX16" fmla="*/ 2548074 w 2572294"/>
              <a:gd name="connsiteY16" fmla="*/ 236624 h 240822"/>
              <a:gd name="connsiteX17" fmla="*/ 2546315 w 2572294"/>
              <a:gd name="connsiteY17" fmla="*/ 234469 h 240822"/>
              <a:gd name="connsiteX18" fmla="*/ 2545010 w 2572294"/>
              <a:gd name="connsiteY18" fmla="*/ 232030 h 240822"/>
              <a:gd name="connsiteX19" fmla="*/ 2544159 w 2572294"/>
              <a:gd name="connsiteY19" fmla="*/ 229364 h 240822"/>
              <a:gd name="connsiteX20" fmla="*/ 2543933 w 2572294"/>
              <a:gd name="connsiteY20" fmla="*/ 226584 h 240822"/>
              <a:gd name="connsiteX21" fmla="*/ 2544159 w 2572294"/>
              <a:gd name="connsiteY21" fmla="*/ 223805 h 240822"/>
              <a:gd name="connsiteX22" fmla="*/ 2545010 w 2572294"/>
              <a:gd name="connsiteY22" fmla="*/ 221196 h 240822"/>
              <a:gd name="connsiteX23" fmla="*/ 2546315 w 2572294"/>
              <a:gd name="connsiteY23" fmla="*/ 218757 h 240822"/>
              <a:gd name="connsiteX24" fmla="*/ 2548074 w 2572294"/>
              <a:gd name="connsiteY24" fmla="*/ 216601 h 240822"/>
              <a:gd name="connsiteX25" fmla="*/ 2560836 w 2572294"/>
              <a:gd name="connsiteY25" fmla="*/ 212687 h 240822"/>
              <a:gd name="connsiteX26" fmla="*/ 14202 w 2572294"/>
              <a:gd name="connsiteY26" fmla="*/ 212602 h 240822"/>
              <a:gd name="connsiteX27" fmla="*/ 24220 w 2572294"/>
              <a:gd name="connsiteY27" fmla="*/ 216601 h 240822"/>
              <a:gd name="connsiteX28" fmla="*/ 25979 w 2572294"/>
              <a:gd name="connsiteY28" fmla="*/ 218756 h 240822"/>
              <a:gd name="connsiteX29" fmla="*/ 27283 w 2572294"/>
              <a:gd name="connsiteY29" fmla="*/ 221195 h 240822"/>
              <a:gd name="connsiteX30" fmla="*/ 28078 w 2572294"/>
              <a:gd name="connsiteY30" fmla="*/ 223805 h 240822"/>
              <a:gd name="connsiteX31" fmla="*/ 28361 w 2572294"/>
              <a:gd name="connsiteY31" fmla="*/ 226584 h 240822"/>
              <a:gd name="connsiteX32" fmla="*/ 28078 w 2572294"/>
              <a:gd name="connsiteY32" fmla="*/ 229363 h 240822"/>
              <a:gd name="connsiteX33" fmla="*/ 27283 w 2572294"/>
              <a:gd name="connsiteY33" fmla="*/ 232030 h 240822"/>
              <a:gd name="connsiteX34" fmla="*/ 25979 w 2572294"/>
              <a:gd name="connsiteY34" fmla="*/ 234469 h 240822"/>
              <a:gd name="connsiteX35" fmla="*/ 24220 w 2572294"/>
              <a:gd name="connsiteY35" fmla="*/ 236624 h 240822"/>
              <a:gd name="connsiteX36" fmla="*/ 14181 w 2572294"/>
              <a:gd name="connsiteY36" fmla="*/ 240765 h 240822"/>
              <a:gd name="connsiteX37" fmla="*/ 4141 w 2572294"/>
              <a:gd name="connsiteY37" fmla="*/ 236624 h 240822"/>
              <a:gd name="connsiteX38" fmla="*/ 0 w 2572294"/>
              <a:gd name="connsiteY38" fmla="*/ 226584 h 240822"/>
              <a:gd name="connsiteX39" fmla="*/ 284 w 2572294"/>
              <a:gd name="connsiteY39" fmla="*/ 223805 h 240822"/>
              <a:gd name="connsiteX40" fmla="*/ 1078 w 2572294"/>
              <a:gd name="connsiteY40" fmla="*/ 221195 h 240822"/>
              <a:gd name="connsiteX41" fmla="*/ 2382 w 2572294"/>
              <a:gd name="connsiteY41" fmla="*/ 218756 h 240822"/>
              <a:gd name="connsiteX42" fmla="*/ 4141 w 2572294"/>
              <a:gd name="connsiteY42" fmla="*/ 216601 h 240822"/>
              <a:gd name="connsiteX43" fmla="*/ 14202 w 2572294"/>
              <a:gd name="connsiteY43" fmla="*/ 212602 h 240822"/>
              <a:gd name="connsiteX44" fmla="*/ 2501561 w 2572294"/>
              <a:gd name="connsiteY44" fmla="*/ 212404 h 240822"/>
              <a:gd name="connsiteX45" fmla="*/ 2515741 w 2572294"/>
              <a:gd name="connsiteY45" fmla="*/ 226585 h 240822"/>
              <a:gd name="connsiteX46" fmla="*/ 2501561 w 2572294"/>
              <a:gd name="connsiteY46" fmla="*/ 240765 h 240822"/>
              <a:gd name="connsiteX47" fmla="*/ 2487380 w 2572294"/>
              <a:gd name="connsiteY47" fmla="*/ 226585 h 240822"/>
              <a:gd name="connsiteX48" fmla="*/ 2501561 w 2572294"/>
              <a:gd name="connsiteY48" fmla="*/ 212404 h 240822"/>
              <a:gd name="connsiteX49" fmla="*/ 2445009 w 2572294"/>
              <a:gd name="connsiteY49" fmla="*/ 212404 h 240822"/>
              <a:gd name="connsiteX50" fmla="*/ 2459190 w 2572294"/>
              <a:gd name="connsiteY50" fmla="*/ 226585 h 240822"/>
              <a:gd name="connsiteX51" fmla="*/ 2445009 w 2572294"/>
              <a:gd name="connsiteY51" fmla="*/ 240765 h 240822"/>
              <a:gd name="connsiteX52" fmla="*/ 2430829 w 2572294"/>
              <a:gd name="connsiteY52" fmla="*/ 226585 h 240822"/>
              <a:gd name="connsiteX53" fmla="*/ 2445009 w 2572294"/>
              <a:gd name="connsiteY53" fmla="*/ 212404 h 240822"/>
              <a:gd name="connsiteX54" fmla="*/ 2388514 w 2572294"/>
              <a:gd name="connsiteY54" fmla="*/ 212404 h 240822"/>
              <a:gd name="connsiteX55" fmla="*/ 2402695 w 2572294"/>
              <a:gd name="connsiteY55" fmla="*/ 226585 h 240822"/>
              <a:gd name="connsiteX56" fmla="*/ 2388514 w 2572294"/>
              <a:gd name="connsiteY56" fmla="*/ 240765 h 240822"/>
              <a:gd name="connsiteX57" fmla="*/ 2374333 w 2572294"/>
              <a:gd name="connsiteY57" fmla="*/ 226585 h 240822"/>
              <a:gd name="connsiteX58" fmla="*/ 2388514 w 2572294"/>
              <a:gd name="connsiteY58" fmla="*/ 212404 h 240822"/>
              <a:gd name="connsiteX59" fmla="*/ 2331962 w 2572294"/>
              <a:gd name="connsiteY59" fmla="*/ 212404 h 240822"/>
              <a:gd name="connsiteX60" fmla="*/ 2346143 w 2572294"/>
              <a:gd name="connsiteY60" fmla="*/ 226585 h 240822"/>
              <a:gd name="connsiteX61" fmla="*/ 2331962 w 2572294"/>
              <a:gd name="connsiteY61" fmla="*/ 240765 h 240822"/>
              <a:gd name="connsiteX62" fmla="*/ 2317782 w 2572294"/>
              <a:gd name="connsiteY62" fmla="*/ 226585 h 240822"/>
              <a:gd name="connsiteX63" fmla="*/ 2331962 w 2572294"/>
              <a:gd name="connsiteY63" fmla="*/ 212404 h 240822"/>
              <a:gd name="connsiteX64" fmla="*/ 2275410 w 2572294"/>
              <a:gd name="connsiteY64" fmla="*/ 212404 h 240822"/>
              <a:gd name="connsiteX65" fmla="*/ 2289590 w 2572294"/>
              <a:gd name="connsiteY65" fmla="*/ 226585 h 240822"/>
              <a:gd name="connsiteX66" fmla="*/ 2275410 w 2572294"/>
              <a:gd name="connsiteY66" fmla="*/ 240765 h 240822"/>
              <a:gd name="connsiteX67" fmla="*/ 2261229 w 2572294"/>
              <a:gd name="connsiteY67" fmla="*/ 226585 h 240822"/>
              <a:gd name="connsiteX68" fmla="*/ 2275410 w 2572294"/>
              <a:gd name="connsiteY68" fmla="*/ 212404 h 240822"/>
              <a:gd name="connsiteX69" fmla="*/ 2218915 w 2572294"/>
              <a:gd name="connsiteY69" fmla="*/ 212404 h 240822"/>
              <a:gd name="connsiteX70" fmla="*/ 2233095 w 2572294"/>
              <a:gd name="connsiteY70" fmla="*/ 226585 h 240822"/>
              <a:gd name="connsiteX71" fmla="*/ 2218915 w 2572294"/>
              <a:gd name="connsiteY71" fmla="*/ 240765 h 240822"/>
              <a:gd name="connsiteX72" fmla="*/ 2204734 w 2572294"/>
              <a:gd name="connsiteY72" fmla="*/ 226585 h 240822"/>
              <a:gd name="connsiteX73" fmla="*/ 2218915 w 2572294"/>
              <a:gd name="connsiteY73" fmla="*/ 212404 h 240822"/>
              <a:gd name="connsiteX74" fmla="*/ 2162363 w 2572294"/>
              <a:gd name="connsiteY74" fmla="*/ 212404 h 240822"/>
              <a:gd name="connsiteX75" fmla="*/ 2176543 w 2572294"/>
              <a:gd name="connsiteY75" fmla="*/ 226585 h 240822"/>
              <a:gd name="connsiteX76" fmla="*/ 2162363 w 2572294"/>
              <a:gd name="connsiteY76" fmla="*/ 240765 h 240822"/>
              <a:gd name="connsiteX77" fmla="*/ 2148182 w 2572294"/>
              <a:gd name="connsiteY77" fmla="*/ 226585 h 240822"/>
              <a:gd name="connsiteX78" fmla="*/ 2162363 w 2572294"/>
              <a:gd name="connsiteY78" fmla="*/ 212404 h 240822"/>
              <a:gd name="connsiteX79" fmla="*/ 2105811 w 2572294"/>
              <a:gd name="connsiteY79" fmla="*/ 212404 h 240822"/>
              <a:gd name="connsiteX80" fmla="*/ 2120047 w 2572294"/>
              <a:gd name="connsiteY80" fmla="*/ 226585 h 240822"/>
              <a:gd name="connsiteX81" fmla="*/ 2105811 w 2572294"/>
              <a:gd name="connsiteY81" fmla="*/ 240765 h 240822"/>
              <a:gd name="connsiteX82" fmla="*/ 2091686 w 2572294"/>
              <a:gd name="connsiteY82" fmla="*/ 226585 h 240822"/>
              <a:gd name="connsiteX83" fmla="*/ 2105811 w 2572294"/>
              <a:gd name="connsiteY83" fmla="*/ 212404 h 240822"/>
              <a:gd name="connsiteX84" fmla="*/ 2049315 w 2572294"/>
              <a:gd name="connsiteY84" fmla="*/ 212404 h 240822"/>
              <a:gd name="connsiteX85" fmla="*/ 2063496 w 2572294"/>
              <a:gd name="connsiteY85" fmla="*/ 226585 h 240822"/>
              <a:gd name="connsiteX86" fmla="*/ 2049315 w 2572294"/>
              <a:gd name="connsiteY86" fmla="*/ 240765 h 240822"/>
              <a:gd name="connsiteX87" fmla="*/ 2035135 w 2572294"/>
              <a:gd name="connsiteY87" fmla="*/ 226585 h 240822"/>
              <a:gd name="connsiteX88" fmla="*/ 2049315 w 2572294"/>
              <a:gd name="connsiteY88" fmla="*/ 212404 h 240822"/>
              <a:gd name="connsiteX89" fmla="*/ 1992763 w 2572294"/>
              <a:gd name="connsiteY89" fmla="*/ 212404 h 240822"/>
              <a:gd name="connsiteX90" fmla="*/ 2006944 w 2572294"/>
              <a:gd name="connsiteY90" fmla="*/ 226585 h 240822"/>
              <a:gd name="connsiteX91" fmla="*/ 1992763 w 2572294"/>
              <a:gd name="connsiteY91" fmla="*/ 240765 h 240822"/>
              <a:gd name="connsiteX92" fmla="*/ 1978583 w 2572294"/>
              <a:gd name="connsiteY92" fmla="*/ 226585 h 240822"/>
              <a:gd name="connsiteX93" fmla="*/ 1992763 w 2572294"/>
              <a:gd name="connsiteY93" fmla="*/ 212404 h 240822"/>
              <a:gd name="connsiteX94" fmla="*/ 1936268 w 2572294"/>
              <a:gd name="connsiteY94" fmla="*/ 212404 h 240822"/>
              <a:gd name="connsiteX95" fmla="*/ 1950449 w 2572294"/>
              <a:gd name="connsiteY95" fmla="*/ 226585 h 240822"/>
              <a:gd name="connsiteX96" fmla="*/ 1936268 w 2572294"/>
              <a:gd name="connsiteY96" fmla="*/ 240765 h 240822"/>
              <a:gd name="connsiteX97" fmla="*/ 1922088 w 2572294"/>
              <a:gd name="connsiteY97" fmla="*/ 226585 h 240822"/>
              <a:gd name="connsiteX98" fmla="*/ 1936268 w 2572294"/>
              <a:gd name="connsiteY98" fmla="*/ 212404 h 240822"/>
              <a:gd name="connsiteX99" fmla="*/ 1879716 w 2572294"/>
              <a:gd name="connsiteY99" fmla="*/ 212404 h 240822"/>
              <a:gd name="connsiteX100" fmla="*/ 1893896 w 2572294"/>
              <a:gd name="connsiteY100" fmla="*/ 226585 h 240822"/>
              <a:gd name="connsiteX101" fmla="*/ 1879716 w 2572294"/>
              <a:gd name="connsiteY101" fmla="*/ 240765 h 240822"/>
              <a:gd name="connsiteX102" fmla="*/ 1865535 w 2572294"/>
              <a:gd name="connsiteY102" fmla="*/ 226585 h 240822"/>
              <a:gd name="connsiteX103" fmla="*/ 1879716 w 2572294"/>
              <a:gd name="connsiteY103" fmla="*/ 212404 h 240822"/>
              <a:gd name="connsiteX104" fmla="*/ 1823164 w 2572294"/>
              <a:gd name="connsiteY104" fmla="*/ 212404 h 240822"/>
              <a:gd name="connsiteX105" fmla="*/ 1837344 w 2572294"/>
              <a:gd name="connsiteY105" fmla="*/ 226585 h 240822"/>
              <a:gd name="connsiteX106" fmla="*/ 1823164 w 2572294"/>
              <a:gd name="connsiteY106" fmla="*/ 240765 h 240822"/>
              <a:gd name="connsiteX107" fmla="*/ 1808983 w 2572294"/>
              <a:gd name="connsiteY107" fmla="*/ 226585 h 240822"/>
              <a:gd name="connsiteX108" fmla="*/ 1823164 w 2572294"/>
              <a:gd name="connsiteY108" fmla="*/ 212404 h 240822"/>
              <a:gd name="connsiteX109" fmla="*/ 1766669 w 2572294"/>
              <a:gd name="connsiteY109" fmla="*/ 212404 h 240822"/>
              <a:gd name="connsiteX110" fmla="*/ 1780849 w 2572294"/>
              <a:gd name="connsiteY110" fmla="*/ 226585 h 240822"/>
              <a:gd name="connsiteX111" fmla="*/ 1766669 w 2572294"/>
              <a:gd name="connsiteY111" fmla="*/ 240765 h 240822"/>
              <a:gd name="connsiteX112" fmla="*/ 1752488 w 2572294"/>
              <a:gd name="connsiteY112" fmla="*/ 226585 h 240822"/>
              <a:gd name="connsiteX113" fmla="*/ 1766669 w 2572294"/>
              <a:gd name="connsiteY113" fmla="*/ 212404 h 240822"/>
              <a:gd name="connsiteX114" fmla="*/ 1710117 w 2572294"/>
              <a:gd name="connsiteY114" fmla="*/ 212404 h 240822"/>
              <a:gd name="connsiteX115" fmla="*/ 1724297 w 2572294"/>
              <a:gd name="connsiteY115" fmla="*/ 226585 h 240822"/>
              <a:gd name="connsiteX116" fmla="*/ 1710117 w 2572294"/>
              <a:gd name="connsiteY116" fmla="*/ 240765 h 240822"/>
              <a:gd name="connsiteX117" fmla="*/ 1695936 w 2572294"/>
              <a:gd name="connsiteY117" fmla="*/ 226585 h 240822"/>
              <a:gd name="connsiteX118" fmla="*/ 1710117 w 2572294"/>
              <a:gd name="connsiteY118" fmla="*/ 212404 h 240822"/>
              <a:gd name="connsiteX119" fmla="*/ 1653564 w 2572294"/>
              <a:gd name="connsiteY119" fmla="*/ 212404 h 240822"/>
              <a:gd name="connsiteX120" fmla="*/ 1667745 w 2572294"/>
              <a:gd name="connsiteY120" fmla="*/ 226585 h 240822"/>
              <a:gd name="connsiteX121" fmla="*/ 1653564 w 2572294"/>
              <a:gd name="connsiteY121" fmla="*/ 240765 h 240822"/>
              <a:gd name="connsiteX122" fmla="*/ 1639384 w 2572294"/>
              <a:gd name="connsiteY122" fmla="*/ 226585 h 240822"/>
              <a:gd name="connsiteX123" fmla="*/ 1653564 w 2572294"/>
              <a:gd name="connsiteY123" fmla="*/ 212404 h 240822"/>
              <a:gd name="connsiteX124" fmla="*/ 1597069 w 2572294"/>
              <a:gd name="connsiteY124" fmla="*/ 212404 h 240822"/>
              <a:gd name="connsiteX125" fmla="*/ 1611250 w 2572294"/>
              <a:gd name="connsiteY125" fmla="*/ 226585 h 240822"/>
              <a:gd name="connsiteX126" fmla="*/ 1597069 w 2572294"/>
              <a:gd name="connsiteY126" fmla="*/ 240765 h 240822"/>
              <a:gd name="connsiteX127" fmla="*/ 1582889 w 2572294"/>
              <a:gd name="connsiteY127" fmla="*/ 226585 h 240822"/>
              <a:gd name="connsiteX128" fmla="*/ 1597069 w 2572294"/>
              <a:gd name="connsiteY128" fmla="*/ 212404 h 240822"/>
              <a:gd name="connsiteX129" fmla="*/ 1540517 w 2572294"/>
              <a:gd name="connsiteY129" fmla="*/ 212404 h 240822"/>
              <a:gd name="connsiteX130" fmla="*/ 1554698 w 2572294"/>
              <a:gd name="connsiteY130" fmla="*/ 226585 h 240822"/>
              <a:gd name="connsiteX131" fmla="*/ 1540517 w 2572294"/>
              <a:gd name="connsiteY131" fmla="*/ 240765 h 240822"/>
              <a:gd name="connsiteX132" fmla="*/ 1526337 w 2572294"/>
              <a:gd name="connsiteY132" fmla="*/ 226585 h 240822"/>
              <a:gd name="connsiteX133" fmla="*/ 1540517 w 2572294"/>
              <a:gd name="connsiteY133" fmla="*/ 212404 h 240822"/>
              <a:gd name="connsiteX134" fmla="*/ 1484022 w 2572294"/>
              <a:gd name="connsiteY134" fmla="*/ 212404 h 240822"/>
              <a:gd name="connsiteX135" fmla="*/ 1498202 w 2572294"/>
              <a:gd name="connsiteY135" fmla="*/ 226585 h 240822"/>
              <a:gd name="connsiteX136" fmla="*/ 1484022 w 2572294"/>
              <a:gd name="connsiteY136" fmla="*/ 240765 h 240822"/>
              <a:gd name="connsiteX137" fmla="*/ 1469841 w 2572294"/>
              <a:gd name="connsiteY137" fmla="*/ 226585 h 240822"/>
              <a:gd name="connsiteX138" fmla="*/ 1484022 w 2572294"/>
              <a:gd name="connsiteY138" fmla="*/ 212404 h 240822"/>
              <a:gd name="connsiteX139" fmla="*/ 1427470 w 2572294"/>
              <a:gd name="connsiteY139" fmla="*/ 212404 h 240822"/>
              <a:gd name="connsiteX140" fmla="*/ 1441650 w 2572294"/>
              <a:gd name="connsiteY140" fmla="*/ 226585 h 240822"/>
              <a:gd name="connsiteX141" fmla="*/ 1427470 w 2572294"/>
              <a:gd name="connsiteY141" fmla="*/ 240765 h 240822"/>
              <a:gd name="connsiteX142" fmla="*/ 1413289 w 2572294"/>
              <a:gd name="connsiteY142" fmla="*/ 226585 h 240822"/>
              <a:gd name="connsiteX143" fmla="*/ 1427470 w 2572294"/>
              <a:gd name="connsiteY143" fmla="*/ 212404 h 240822"/>
              <a:gd name="connsiteX144" fmla="*/ 1370918 w 2572294"/>
              <a:gd name="connsiteY144" fmla="*/ 212404 h 240822"/>
              <a:gd name="connsiteX145" fmla="*/ 1385099 w 2572294"/>
              <a:gd name="connsiteY145" fmla="*/ 226585 h 240822"/>
              <a:gd name="connsiteX146" fmla="*/ 1370918 w 2572294"/>
              <a:gd name="connsiteY146" fmla="*/ 240765 h 240822"/>
              <a:gd name="connsiteX147" fmla="*/ 1356738 w 2572294"/>
              <a:gd name="connsiteY147" fmla="*/ 226585 h 240822"/>
              <a:gd name="connsiteX148" fmla="*/ 1370918 w 2572294"/>
              <a:gd name="connsiteY148" fmla="*/ 212404 h 240822"/>
              <a:gd name="connsiteX149" fmla="*/ 1314423 w 2572294"/>
              <a:gd name="connsiteY149" fmla="*/ 212404 h 240822"/>
              <a:gd name="connsiteX150" fmla="*/ 1328604 w 2572294"/>
              <a:gd name="connsiteY150" fmla="*/ 226585 h 240822"/>
              <a:gd name="connsiteX151" fmla="*/ 1314423 w 2572294"/>
              <a:gd name="connsiteY151" fmla="*/ 240765 h 240822"/>
              <a:gd name="connsiteX152" fmla="*/ 1300242 w 2572294"/>
              <a:gd name="connsiteY152" fmla="*/ 226585 h 240822"/>
              <a:gd name="connsiteX153" fmla="*/ 1314423 w 2572294"/>
              <a:gd name="connsiteY153" fmla="*/ 212404 h 240822"/>
              <a:gd name="connsiteX154" fmla="*/ 1257870 w 2572294"/>
              <a:gd name="connsiteY154" fmla="*/ 212404 h 240822"/>
              <a:gd name="connsiteX155" fmla="*/ 1272051 w 2572294"/>
              <a:gd name="connsiteY155" fmla="*/ 226585 h 240822"/>
              <a:gd name="connsiteX156" fmla="*/ 1257870 w 2572294"/>
              <a:gd name="connsiteY156" fmla="*/ 240765 h 240822"/>
              <a:gd name="connsiteX157" fmla="*/ 1243690 w 2572294"/>
              <a:gd name="connsiteY157" fmla="*/ 226585 h 240822"/>
              <a:gd name="connsiteX158" fmla="*/ 1257870 w 2572294"/>
              <a:gd name="connsiteY158" fmla="*/ 212404 h 240822"/>
              <a:gd name="connsiteX159" fmla="*/ 1201319 w 2572294"/>
              <a:gd name="connsiteY159" fmla="*/ 212404 h 240822"/>
              <a:gd name="connsiteX160" fmla="*/ 1215556 w 2572294"/>
              <a:gd name="connsiteY160" fmla="*/ 226585 h 240822"/>
              <a:gd name="connsiteX161" fmla="*/ 1201319 w 2572294"/>
              <a:gd name="connsiteY161" fmla="*/ 240765 h 240822"/>
              <a:gd name="connsiteX162" fmla="*/ 1187138 w 2572294"/>
              <a:gd name="connsiteY162" fmla="*/ 226585 h 240822"/>
              <a:gd name="connsiteX163" fmla="*/ 1201319 w 2572294"/>
              <a:gd name="connsiteY163" fmla="*/ 212404 h 240822"/>
              <a:gd name="connsiteX164" fmla="*/ 1144824 w 2572294"/>
              <a:gd name="connsiteY164" fmla="*/ 212404 h 240822"/>
              <a:gd name="connsiteX165" fmla="*/ 1159004 w 2572294"/>
              <a:gd name="connsiteY165" fmla="*/ 226585 h 240822"/>
              <a:gd name="connsiteX166" fmla="*/ 1144824 w 2572294"/>
              <a:gd name="connsiteY166" fmla="*/ 240765 h 240822"/>
              <a:gd name="connsiteX167" fmla="*/ 1130643 w 2572294"/>
              <a:gd name="connsiteY167" fmla="*/ 226585 h 240822"/>
              <a:gd name="connsiteX168" fmla="*/ 1144824 w 2572294"/>
              <a:gd name="connsiteY168" fmla="*/ 212404 h 240822"/>
              <a:gd name="connsiteX169" fmla="*/ 1088272 w 2572294"/>
              <a:gd name="connsiteY169" fmla="*/ 212404 h 240822"/>
              <a:gd name="connsiteX170" fmla="*/ 1102452 w 2572294"/>
              <a:gd name="connsiteY170" fmla="*/ 226585 h 240822"/>
              <a:gd name="connsiteX171" fmla="*/ 1088272 w 2572294"/>
              <a:gd name="connsiteY171" fmla="*/ 240765 h 240822"/>
              <a:gd name="connsiteX172" fmla="*/ 1074091 w 2572294"/>
              <a:gd name="connsiteY172" fmla="*/ 226585 h 240822"/>
              <a:gd name="connsiteX173" fmla="*/ 1088272 w 2572294"/>
              <a:gd name="connsiteY173" fmla="*/ 212404 h 240822"/>
              <a:gd name="connsiteX174" fmla="*/ 1031776 w 2572294"/>
              <a:gd name="connsiteY174" fmla="*/ 212404 h 240822"/>
              <a:gd name="connsiteX175" fmla="*/ 1045956 w 2572294"/>
              <a:gd name="connsiteY175" fmla="*/ 226585 h 240822"/>
              <a:gd name="connsiteX176" fmla="*/ 1031776 w 2572294"/>
              <a:gd name="connsiteY176" fmla="*/ 240765 h 240822"/>
              <a:gd name="connsiteX177" fmla="*/ 1017539 w 2572294"/>
              <a:gd name="connsiteY177" fmla="*/ 226585 h 240822"/>
              <a:gd name="connsiteX178" fmla="*/ 1031776 w 2572294"/>
              <a:gd name="connsiteY178" fmla="*/ 212404 h 240822"/>
              <a:gd name="connsiteX179" fmla="*/ 975224 w 2572294"/>
              <a:gd name="connsiteY179" fmla="*/ 212404 h 240822"/>
              <a:gd name="connsiteX180" fmla="*/ 989405 w 2572294"/>
              <a:gd name="connsiteY180" fmla="*/ 226585 h 240822"/>
              <a:gd name="connsiteX181" fmla="*/ 975224 w 2572294"/>
              <a:gd name="connsiteY181" fmla="*/ 240765 h 240822"/>
              <a:gd name="connsiteX182" fmla="*/ 961044 w 2572294"/>
              <a:gd name="connsiteY182" fmla="*/ 226585 h 240822"/>
              <a:gd name="connsiteX183" fmla="*/ 975224 w 2572294"/>
              <a:gd name="connsiteY183" fmla="*/ 212404 h 240822"/>
              <a:gd name="connsiteX184" fmla="*/ 918672 w 2572294"/>
              <a:gd name="connsiteY184" fmla="*/ 212404 h 240822"/>
              <a:gd name="connsiteX185" fmla="*/ 932853 w 2572294"/>
              <a:gd name="connsiteY185" fmla="*/ 226585 h 240822"/>
              <a:gd name="connsiteX186" fmla="*/ 918672 w 2572294"/>
              <a:gd name="connsiteY186" fmla="*/ 240765 h 240822"/>
              <a:gd name="connsiteX187" fmla="*/ 904492 w 2572294"/>
              <a:gd name="connsiteY187" fmla="*/ 226585 h 240822"/>
              <a:gd name="connsiteX188" fmla="*/ 918672 w 2572294"/>
              <a:gd name="connsiteY188" fmla="*/ 212404 h 240822"/>
              <a:gd name="connsiteX189" fmla="*/ 862177 w 2572294"/>
              <a:gd name="connsiteY189" fmla="*/ 212404 h 240822"/>
              <a:gd name="connsiteX190" fmla="*/ 876358 w 2572294"/>
              <a:gd name="connsiteY190" fmla="*/ 226585 h 240822"/>
              <a:gd name="connsiteX191" fmla="*/ 862177 w 2572294"/>
              <a:gd name="connsiteY191" fmla="*/ 240765 h 240822"/>
              <a:gd name="connsiteX192" fmla="*/ 847997 w 2572294"/>
              <a:gd name="connsiteY192" fmla="*/ 226585 h 240822"/>
              <a:gd name="connsiteX193" fmla="*/ 862177 w 2572294"/>
              <a:gd name="connsiteY193" fmla="*/ 212404 h 240822"/>
              <a:gd name="connsiteX194" fmla="*/ 805625 w 2572294"/>
              <a:gd name="connsiteY194" fmla="*/ 212404 h 240822"/>
              <a:gd name="connsiteX195" fmla="*/ 819805 w 2572294"/>
              <a:gd name="connsiteY195" fmla="*/ 226585 h 240822"/>
              <a:gd name="connsiteX196" fmla="*/ 805625 w 2572294"/>
              <a:gd name="connsiteY196" fmla="*/ 240765 h 240822"/>
              <a:gd name="connsiteX197" fmla="*/ 791444 w 2572294"/>
              <a:gd name="connsiteY197" fmla="*/ 226585 h 240822"/>
              <a:gd name="connsiteX198" fmla="*/ 805625 w 2572294"/>
              <a:gd name="connsiteY198" fmla="*/ 212404 h 240822"/>
              <a:gd name="connsiteX199" fmla="*/ 749073 w 2572294"/>
              <a:gd name="connsiteY199" fmla="*/ 212404 h 240822"/>
              <a:gd name="connsiteX200" fmla="*/ 763310 w 2572294"/>
              <a:gd name="connsiteY200" fmla="*/ 226585 h 240822"/>
              <a:gd name="connsiteX201" fmla="*/ 749073 w 2572294"/>
              <a:gd name="connsiteY201" fmla="*/ 240765 h 240822"/>
              <a:gd name="connsiteX202" fmla="*/ 734949 w 2572294"/>
              <a:gd name="connsiteY202" fmla="*/ 226585 h 240822"/>
              <a:gd name="connsiteX203" fmla="*/ 749073 w 2572294"/>
              <a:gd name="connsiteY203" fmla="*/ 212404 h 240822"/>
              <a:gd name="connsiteX204" fmla="*/ 692578 w 2572294"/>
              <a:gd name="connsiteY204" fmla="*/ 212404 h 240822"/>
              <a:gd name="connsiteX205" fmla="*/ 706758 w 2572294"/>
              <a:gd name="connsiteY205" fmla="*/ 226585 h 240822"/>
              <a:gd name="connsiteX206" fmla="*/ 692578 w 2572294"/>
              <a:gd name="connsiteY206" fmla="*/ 240765 h 240822"/>
              <a:gd name="connsiteX207" fmla="*/ 678397 w 2572294"/>
              <a:gd name="connsiteY207" fmla="*/ 226585 h 240822"/>
              <a:gd name="connsiteX208" fmla="*/ 692578 w 2572294"/>
              <a:gd name="connsiteY208" fmla="*/ 212404 h 240822"/>
              <a:gd name="connsiteX209" fmla="*/ 636026 w 2572294"/>
              <a:gd name="connsiteY209" fmla="*/ 212404 h 240822"/>
              <a:gd name="connsiteX210" fmla="*/ 650206 w 2572294"/>
              <a:gd name="connsiteY210" fmla="*/ 226585 h 240822"/>
              <a:gd name="connsiteX211" fmla="*/ 636026 w 2572294"/>
              <a:gd name="connsiteY211" fmla="*/ 240765 h 240822"/>
              <a:gd name="connsiteX212" fmla="*/ 621845 w 2572294"/>
              <a:gd name="connsiteY212" fmla="*/ 226585 h 240822"/>
              <a:gd name="connsiteX213" fmla="*/ 636026 w 2572294"/>
              <a:gd name="connsiteY213" fmla="*/ 212404 h 240822"/>
              <a:gd name="connsiteX214" fmla="*/ 579530 w 2572294"/>
              <a:gd name="connsiteY214" fmla="*/ 212404 h 240822"/>
              <a:gd name="connsiteX215" fmla="*/ 593711 w 2572294"/>
              <a:gd name="connsiteY215" fmla="*/ 226585 h 240822"/>
              <a:gd name="connsiteX216" fmla="*/ 579530 w 2572294"/>
              <a:gd name="connsiteY216" fmla="*/ 240765 h 240822"/>
              <a:gd name="connsiteX217" fmla="*/ 565350 w 2572294"/>
              <a:gd name="connsiteY217" fmla="*/ 226585 h 240822"/>
              <a:gd name="connsiteX218" fmla="*/ 579530 w 2572294"/>
              <a:gd name="connsiteY218" fmla="*/ 212404 h 240822"/>
              <a:gd name="connsiteX219" fmla="*/ 522978 w 2572294"/>
              <a:gd name="connsiteY219" fmla="*/ 212404 h 240822"/>
              <a:gd name="connsiteX220" fmla="*/ 537159 w 2572294"/>
              <a:gd name="connsiteY220" fmla="*/ 226585 h 240822"/>
              <a:gd name="connsiteX221" fmla="*/ 522978 w 2572294"/>
              <a:gd name="connsiteY221" fmla="*/ 240765 h 240822"/>
              <a:gd name="connsiteX222" fmla="*/ 508798 w 2572294"/>
              <a:gd name="connsiteY222" fmla="*/ 226585 h 240822"/>
              <a:gd name="connsiteX223" fmla="*/ 522978 w 2572294"/>
              <a:gd name="connsiteY223" fmla="*/ 212404 h 240822"/>
              <a:gd name="connsiteX224" fmla="*/ 466426 w 2572294"/>
              <a:gd name="connsiteY224" fmla="*/ 212404 h 240822"/>
              <a:gd name="connsiteX225" fmla="*/ 480607 w 2572294"/>
              <a:gd name="connsiteY225" fmla="*/ 226585 h 240822"/>
              <a:gd name="connsiteX226" fmla="*/ 466426 w 2572294"/>
              <a:gd name="connsiteY226" fmla="*/ 240765 h 240822"/>
              <a:gd name="connsiteX227" fmla="*/ 452246 w 2572294"/>
              <a:gd name="connsiteY227" fmla="*/ 226585 h 240822"/>
              <a:gd name="connsiteX228" fmla="*/ 466426 w 2572294"/>
              <a:gd name="connsiteY228" fmla="*/ 212404 h 240822"/>
              <a:gd name="connsiteX229" fmla="*/ 409931 w 2572294"/>
              <a:gd name="connsiteY229" fmla="*/ 212404 h 240822"/>
              <a:gd name="connsiteX230" fmla="*/ 424112 w 2572294"/>
              <a:gd name="connsiteY230" fmla="*/ 226585 h 240822"/>
              <a:gd name="connsiteX231" fmla="*/ 409931 w 2572294"/>
              <a:gd name="connsiteY231" fmla="*/ 240765 h 240822"/>
              <a:gd name="connsiteX232" fmla="*/ 395751 w 2572294"/>
              <a:gd name="connsiteY232" fmla="*/ 226585 h 240822"/>
              <a:gd name="connsiteX233" fmla="*/ 409931 w 2572294"/>
              <a:gd name="connsiteY233" fmla="*/ 212404 h 240822"/>
              <a:gd name="connsiteX234" fmla="*/ 353379 w 2572294"/>
              <a:gd name="connsiteY234" fmla="*/ 212404 h 240822"/>
              <a:gd name="connsiteX235" fmla="*/ 367559 w 2572294"/>
              <a:gd name="connsiteY235" fmla="*/ 226585 h 240822"/>
              <a:gd name="connsiteX236" fmla="*/ 353379 w 2572294"/>
              <a:gd name="connsiteY236" fmla="*/ 240765 h 240822"/>
              <a:gd name="connsiteX237" fmla="*/ 339198 w 2572294"/>
              <a:gd name="connsiteY237" fmla="*/ 226585 h 240822"/>
              <a:gd name="connsiteX238" fmla="*/ 353379 w 2572294"/>
              <a:gd name="connsiteY238" fmla="*/ 212404 h 240822"/>
              <a:gd name="connsiteX239" fmla="*/ 296884 w 2572294"/>
              <a:gd name="connsiteY239" fmla="*/ 212404 h 240822"/>
              <a:gd name="connsiteX240" fmla="*/ 311008 w 2572294"/>
              <a:gd name="connsiteY240" fmla="*/ 226585 h 240822"/>
              <a:gd name="connsiteX241" fmla="*/ 296884 w 2572294"/>
              <a:gd name="connsiteY241" fmla="*/ 240765 h 240822"/>
              <a:gd name="connsiteX242" fmla="*/ 282647 w 2572294"/>
              <a:gd name="connsiteY242" fmla="*/ 226585 h 240822"/>
              <a:gd name="connsiteX243" fmla="*/ 296884 w 2572294"/>
              <a:gd name="connsiteY243" fmla="*/ 212404 h 240822"/>
              <a:gd name="connsiteX244" fmla="*/ 240332 w 2572294"/>
              <a:gd name="connsiteY244" fmla="*/ 212404 h 240822"/>
              <a:gd name="connsiteX245" fmla="*/ 254512 w 2572294"/>
              <a:gd name="connsiteY245" fmla="*/ 226585 h 240822"/>
              <a:gd name="connsiteX246" fmla="*/ 240332 w 2572294"/>
              <a:gd name="connsiteY246" fmla="*/ 240765 h 240822"/>
              <a:gd name="connsiteX247" fmla="*/ 226151 w 2572294"/>
              <a:gd name="connsiteY247" fmla="*/ 226585 h 240822"/>
              <a:gd name="connsiteX248" fmla="*/ 240332 w 2572294"/>
              <a:gd name="connsiteY248" fmla="*/ 212404 h 240822"/>
              <a:gd name="connsiteX249" fmla="*/ 183780 w 2572294"/>
              <a:gd name="connsiteY249" fmla="*/ 212404 h 240822"/>
              <a:gd name="connsiteX250" fmla="*/ 197960 w 2572294"/>
              <a:gd name="connsiteY250" fmla="*/ 226585 h 240822"/>
              <a:gd name="connsiteX251" fmla="*/ 183780 w 2572294"/>
              <a:gd name="connsiteY251" fmla="*/ 240765 h 240822"/>
              <a:gd name="connsiteX252" fmla="*/ 169599 w 2572294"/>
              <a:gd name="connsiteY252" fmla="*/ 226585 h 240822"/>
              <a:gd name="connsiteX253" fmla="*/ 183780 w 2572294"/>
              <a:gd name="connsiteY253" fmla="*/ 212404 h 240822"/>
              <a:gd name="connsiteX254" fmla="*/ 127284 w 2572294"/>
              <a:gd name="connsiteY254" fmla="*/ 212404 h 240822"/>
              <a:gd name="connsiteX255" fmla="*/ 141408 w 2572294"/>
              <a:gd name="connsiteY255" fmla="*/ 226585 h 240822"/>
              <a:gd name="connsiteX256" fmla="*/ 127284 w 2572294"/>
              <a:gd name="connsiteY256" fmla="*/ 240765 h 240822"/>
              <a:gd name="connsiteX257" fmla="*/ 113104 w 2572294"/>
              <a:gd name="connsiteY257" fmla="*/ 226585 h 240822"/>
              <a:gd name="connsiteX258" fmla="*/ 127284 w 2572294"/>
              <a:gd name="connsiteY258" fmla="*/ 212404 h 240822"/>
              <a:gd name="connsiteX259" fmla="*/ 70733 w 2572294"/>
              <a:gd name="connsiteY259" fmla="*/ 212404 h 240822"/>
              <a:gd name="connsiteX260" fmla="*/ 84913 w 2572294"/>
              <a:gd name="connsiteY260" fmla="*/ 226585 h 240822"/>
              <a:gd name="connsiteX261" fmla="*/ 70733 w 2572294"/>
              <a:gd name="connsiteY261" fmla="*/ 240765 h 240822"/>
              <a:gd name="connsiteX262" fmla="*/ 56552 w 2572294"/>
              <a:gd name="connsiteY262" fmla="*/ 226585 h 240822"/>
              <a:gd name="connsiteX263" fmla="*/ 70733 w 2572294"/>
              <a:gd name="connsiteY263" fmla="*/ 212404 h 240822"/>
              <a:gd name="connsiteX264" fmla="*/ 14181 w 2572294"/>
              <a:gd name="connsiteY264" fmla="*/ 159312 h 240822"/>
              <a:gd name="connsiteX265" fmla="*/ 28361 w 2572294"/>
              <a:gd name="connsiteY265" fmla="*/ 173492 h 240822"/>
              <a:gd name="connsiteX266" fmla="*/ 14181 w 2572294"/>
              <a:gd name="connsiteY266" fmla="*/ 187673 h 240822"/>
              <a:gd name="connsiteX267" fmla="*/ 0 w 2572294"/>
              <a:gd name="connsiteY267" fmla="*/ 173492 h 240822"/>
              <a:gd name="connsiteX268" fmla="*/ 14181 w 2572294"/>
              <a:gd name="connsiteY268" fmla="*/ 159312 h 240822"/>
              <a:gd name="connsiteX269" fmla="*/ 14181 w 2572294"/>
              <a:gd name="connsiteY269" fmla="*/ 106220 h 240822"/>
              <a:gd name="connsiteX270" fmla="*/ 28361 w 2572294"/>
              <a:gd name="connsiteY270" fmla="*/ 120400 h 240822"/>
              <a:gd name="connsiteX271" fmla="*/ 14181 w 2572294"/>
              <a:gd name="connsiteY271" fmla="*/ 134581 h 240822"/>
              <a:gd name="connsiteX272" fmla="*/ 0 w 2572294"/>
              <a:gd name="connsiteY272" fmla="*/ 120400 h 240822"/>
              <a:gd name="connsiteX273" fmla="*/ 14181 w 2572294"/>
              <a:gd name="connsiteY273" fmla="*/ 106220 h 240822"/>
              <a:gd name="connsiteX274" fmla="*/ 14181 w 2572294"/>
              <a:gd name="connsiteY274" fmla="*/ 53071 h 240822"/>
              <a:gd name="connsiteX275" fmla="*/ 28361 w 2572294"/>
              <a:gd name="connsiteY275" fmla="*/ 67252 h 240822"/>
              <a:gd name="connsiteX276" fmla="*/ 14181 w 2572294"/>
              <a:gd name="connsiteY276" fmla="*/ 81432 h 240822"/>
              <a:gd name="connsiteX277" fmla="*/ 0 w 2572294"/>
              <a:gd name="connsiteY277" fmla="*/ 67252 h 240822"/>
              <a:gd name="connsiteX278" fmla="*/ 14181 w 2572294"/>
              <a:gd name="connsiteY278" fmla="*/ 53071 h 240822"/>
              <a:gd name="connsiteX279" fmla="*/ 11401 w 2572294"/>
              <a:gd name="connsiteY279" fmla="*/ 263 h 240822"/>
              <a:gd name="connsiteX280" fmla="*/ 24220 w 2572294"/>
              <a:gd name="connsiteY280" fmla="*/ 4121 h 240822"/>
              <a:gd name="connsiteX281" fmla="*/ 28361 w 2572294"/>
              <a:gd name="connsiteY281" fmla="*/ 14160 h 240822"/>
              <a:gd name="connsiteX282" fmla="*/ 24220 w 2572294"/>
              <a:gd name="connsiteY282" fmla="*/ 24200 h 240822"/>
              <a:gd name="connsiteX283" fmla="*/ 14181 w 2572294"/>
              <a:gd name="connsiteY283" fmla="*/ 28341 h 240822"/>
              <a:gd name="connsiteX284" fmla="*/ 11401 w 2572294"/>
              <a:gd name="connsiteY284" fmla="*/ 28057 h 240822"/>
              <a:gd name="connsiteX285" fmla="*/ 8792 w 2572294"/>
              <a:gd name="connsiteY285" fmla="*/ 27263 h 240822"/>
              <a:gd name="connsiteX286" fmla="*/ 6353 w 2572294"/>
              <a:gd name="connsiteY286" fmla="*/ 25958 h 240822"/>
              <a:gd name="connsiteX287" fmla="*/ 4197 w 2572294"/>
              <a:gd name="connsiteY287" fmla="*/ 24200 h 240822"/>
              <a:gd name="connsiteX288" fmla="*/ 0 w 2572294"/>
              <a:gd name="connsiteY288" fmla="*/ 14160 h 240822"/>
              <a:gd name="connsiteX289" fmla="*/ 4197 w 2572294"/>
              <a:gd name="connsiteY289" fmla="*/ 4121 h 240822"/>
              <a:gd name="connsiteX290" fmla="*/ 6353 w 2572294"/>
              <a:gd name="connsiteY290" fmla="*/ 2362 h 240822"/>
              <a:gd name="connsiteX291" fmla="*/ 8792 w 2572294"/>
              <a:gd name="connsiteY291" fmla="*/ 1057 h 240822"/>
              <a:gd name="connsiteX292" fmla="*/ 11401 w 2572294"/>
              <a:gd name="connsiteY292" fmla="*/ 263 h 2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2572294" h="240822">
                <a:moveTo>
                  <a:pt x="2560836" y="212687"/>
                </a:moveTo>
                <a:cubicBezTo>
                  <a:pt x="2561743" y="212858"/>
                  <a:pt x="2562651" y="213141"/>
                  <a:pt x="2563502" y="213482"/>
                </a:cubicBezTo>
                <a:cubicBezTo>
                  <a:pt x="2564353" y="213879"/>
                  <a:pt x="2565204" y="214276"/>
                  <a:pt x="2565941" y="214786"/>
                </a:cubicBezTo>
                <a:cubicBezTo>
                  <a:pt x="2566735" y="215297"/>
                  <a:pt x="2567472" y="215921"/>
                  <a:pt x="2568097" y="216601"/>
                </a:cubicBezTo>
                <a:cubicBezTo>
                  <a:pt x="2568777" y="217226"/>
                  <a:pt x="2569344" y="217963"/>
                  <a:pt x="2569855" y="218757"/>
                </a:cubicBezTo>
                <a:cubicBezTo>
                  <a:pt x="2570365" y="219494"/>
                  <a:pt x="2570819" y="220345"/>
                  <a:pt x="2571159" y="221196"/>
                </a:cubicBezTo>
                <a:cubicBezTo>
                  <a:pt x="2571557" y="222047"/>
                  <a:pt x="2571783" y="222898"/>
                  <a:pt x="2572010" y="223805"/>
                </a:cubicBezTo>
                <a:cubicBezTo>
                  <a:pt x="2572181" y="224769"/>
                  <a:pt x="2572294" y="225677"/>
                  <a:pt x="2572294" y="226584"/>
                </a:cubicBezTo>
                <a:cubicBezTo>
                  <a:pt x="2572294" y="227549"/>
                  <a:pt x="2572181" y="228456"/>
                  <a:pt x="2572010" y="229364"/>
                </a:cubicBezTo>
                <a:cubicBezTo>
                  <a:pt x="2571783" y="230272"/>
                  <a:pt x="2571557" y="231179"/>
                  <a:pt x="2571159" y="232030"/>
                </a:cubicBezTo>
                <a:cubicBezTo>
                  <a:pt x="2570819" y="232881"/>
                  <a:pt x="2570365" y="233732"/>
                  <a:pt x="2569855" y="234469"/>
                </a:cubicBezTo>
                <a:cubicBezTo>
                  <a:pt x="2569344" y="235263"/>
                  <a:pt x="2568777" y="236001"/>
                  <a:pt x="2568097" y="236624"/>
                </a:cubicBezTo>
                <a:cubicBezTo>
                  <a:pt x="2567472" y="237305"/>
                  <a:pt x="2566735" y="237872"/>
                  <a:pt x="2565941" y="238383"/>
                </a:cubicBezTo>
                <a:cubicBezTo>
                  <a:pt x="2565204" y="238893"/>
                  <a:pt x="2564353" y="239347"/>
                  <a:pt x="2563502" y="239687"/>
                </a:cubicBezTo>
                <a:cubicBezTo>
                  <a:pt x="2562651" y="240084"/>
                  <a:pt x="2561743" y="240311"/>
                  <a:pt x="2560836" y="240538"/>
                </a:cubicBezTo>
                <a:cubicBezTo>
                  <a:pt x="2559928" y="240708"/>
                  <a:pt x="2559021" y="240822"/>
                  <a:pt x="2558114" y="240822"/>
                </a:cubicBezTo>
                <a:cubicBezTo>
                  <a:pt x="2554370" y="240822"/>
                  <a:pt x="2550683" y="239290"/>
                  <a:pt x="2548074" y="236624"/>
                </a:cubicBezTo>
                <a:cubicBezTo>
                  <a:pt x="2547393" y="236001"/>
                  <a:pt x="2546826" y="235263"/>
                  <a:pt x="2546315" y="234469"/>
                </a:cubicBezTo>
                <a:cubicBezTo>
                  <a:pt x="2545805" y="233732"/>
                  <a:pt x="2545351" y="232881"/>
                  <a:pt x="2545010" y="232030"/>
                </a:cubicBezTo>
                <a:cubicBezTo>
                  <a:pt x="2544614" y="231179"/>
                  <a:pt x="2544387" y="230272"/>
                  <a:pt x="2544159" y="229364"/>
                </a:cubicBezTo>
                <a:cubicBezTo>
                  <a:pt x="2543990" y="228456"/>
                  <a:pt x="2543933" y="227549"/>
                  <a:pt x="2543933" y="226584"/>
                </a:cubicBezTo>
                <a:cubicBezTo>
                  <a:pt x="2543933" y="225677"/>
                  <a:pt x="2543933" y="224769"/>
                  <a:pt x="2544159" y="223805"/>
                </a:cubicBezTo>
                <a:cubicBezTo>
                  <a:pt x="2544387" y="222898"/>
                  <a:pt x="2544614" y="222047"/>
                  <a:pt x="2545010" y="221196"/>
                </a:cubicBezTo>
                <a:cubicBezTo>
                  <a:pt x="2545351" y="220345"/>
                  <a:pt x="2545805" y="219494"/>
                  <a:pt x="2546315" y="218757"/>
                </a:cubicBezTo>
                <a:cubicBezTo>
                  <a:pt x="2546826" y="217963"/>
                  <a:pt x="2547393" y="217226"/>
                  <a:pt x="2548074" y="216601"/>
                </a:cubicBezTo>
                <a:cubicBezTo>
                  <a:pt x="2551363" y="213255"/>
                  <a:pt x="2556298" y="211723"/>
                  <a:pt x="2560836" y="212687"/>
                </a:cubicBezTo>
                <a:close/>
                <a:moveTo>
                  <a:pt x="14202" y="212602"/>
                </a:moveTo>
                <a:cubicBezTo>
                  <a:pt x="17896" y="212602"/>
                  <a:pt x="21583" y="213935"/>
                  <a:pt x="24220" y="216601"/>
                </a:cubicBezTo>
                <a:cubicBezTo>
                  <a:pt x="24901" y="217225"/>
                  <a:pt x="25468" y="217963"/>
                  <a:pt x="25979" y="218756"/>
                </a:cubicBezTo>
                <a:cubicBezTo>
                  <a:pt x="26489" y="219494"/>
                  <a:pt x="26943" y="220345"/>
                  <a:pt x="27283" y="221195"/>
                </a:cubicBezTo>
                <a:cubicBezTo>
                  <a:pt x="27624" y="222046"/>
                  <a:pt x="27907" y="222897"/>
                  <a:pt x="28078" y="223805"/>
                </a:cubicBezTo>
                <a:cubicBezTo>
                  <a:pt x="28304" y="224769"/>
                  <a:pt x="28361" y="225677"/>
                  <a:pt x="28361" y="226584"/>
                </a:cubicBezTo>
                <a:cubicBezTo>
                  <a:pt x="28361" y="227548"/>
                  <a:pt x="28304" y="228456"/>
                  <a:pt x="28078" y="229363"/>
                </a:cubicBezTo>
                <a:cubicBezTo>
                  <a:pt x="27907" y="230271"/>
                  <a:pt x="27624" y="231179"/>
                  <a:pt x="27283" y="232030"/>
                </a:cubicBezTo>
                <a:cubicBezTo>
                  <a:pt x="26943" y="232880"/>
                  <a:pt x="26489" y="233731"/>
                  <a:pt x="25979" y="234469"/>
                </a:cubicBezTo>
                <a:cubicBezTo>
                  <a:pt x="25468" y="235263"/>
                  <a:pt x="24901" y="235943"/>
                  <a:pt x="24220" y="236624"/>
                </a:cubicBezTo>
                <a:cubicBezTo>
                  <a:pt x="21611" y="239290"/>
                  <a:pt x="17924" y="240765"/>
                  <a:pt x="14181" y="240765"/>
                </a:cubicBezTo>
                <a:cubicBezTo>
                  <a:pt x="10493" y="240765"/>
                  <a:pt x="6807" y="239290"/>
                  <a:pt x="4141" y="236624"/>
                </a:cubicBezTo>
                <a:cubicBezTo>
                  <a:pt x="1532" y="233958"/>
                  <a:pt x="0" y="230328"/>
                  <a:pt x="0" y="226584"/>
                </a:cubicBezTo>
                <a:cubicBezTo>
                  <a:pt x="0" y="225677"/>
                  <a:pt x="114" y="224769"/>
                  <a:pt x="284" y="223805"/>
                </a:cubicBezTo>
                <a:cubicBezTo>
                  <a:pt x="454" y="222954"/>
                  <a:pt x="737" y="222046"/>
                  <a:pt x="1078" y="221195"/>
                </a:cubicBezTo>
                <a:cubicBezTo>
                  <a:pt x="1475" y="220345"/>
                  <a:pt x="1929" y="219494"/>
                  <a:pt x="2382" y="218756"/>
                </a:cubicBezTo>
                <a:cubicBezTo>
                  <a:pt x="2950" y="217963"/>
                  <a:pt x="3517" y="217225"/>
                  <a:pt x="4141" y="216601"/>
                </a:cubicBezTo>
                <a:cubicBezTo>
                  <a:pt x="6807" y="213935"/>
                  <a:pt x="10508" y="212602"/>
                  <a:pt x="14202" y="212602"/>
                </a:cubicBezTo>
                <a:close/>
                <a:moveTo>
                  <a:pt x="2501561" y="212404"/>
                </a:moveTo>
                <a:cubicBezTo>
                  <a:pt x="2509389" y="212404"/>
                  <a:pt x="2515741" y="218757"/>
                  <a:pt x="2515741" y="226585"/>
                </a:cubicBezTo>
                <a:cubicBezTo>
                  <a:pt x="2515741" y="234412"/>
                  <a:pt x="2509389" y="240765"/>
                  <a:pt x="2501561" y="240765"/>
                </a:cubicBezTo>
                <a:cubicBezTo>
                  <a:pt x="2493733" y="240765"/>
                  <a:pt x="2487380" y="234412"/>
                  <a:pt x="2487380" y="226585"/>
                </a:cubicBezTo>
                <a:cubicBezTo>
                  <a:pt x="2487380" y="218757"/>
                  <a:pt x="2493733" y="212404"/>
                  <a:pt x="2501561" y="212404"/>
                </a:cubicBezTo>
                <a:close/>
                <a:moveTo>
                  <a:pt x="2445009" y="212404"/>
                </a:moveTo>
                <a:cubicBezTo>
                  <a:pt x="2452837" y="212404"/>
                  <a:pt x="2459190" y="218757"/>
                  <a:pt x="2459190" y="226585"/>
                </a:cubicBezTo>
                <a:cubicBezTo>
                  <a:pt x="2459190" y="234412"/>
                  <a:pt x="2452837" y="240765"/>
                  <a:pt x="2445009" y="240765"/>
                </a:cubicBezTo>
                <a:cubicBezTo>
                  <a:pt x="2437181" y="240765"/>
                  <a:pt x="2430829" y="234412"/>
                  <a:pt x="2430829" y="226585"/>
                </a:cubicBezTo>
                <a:cubicBezTo>
                  <a:pt x="2430829" y="218757"/>
                  <a:pt x="2437181" y="212404"/>
                  <a:pt x="2445009" y="212404"/>
                </a:cubicBezTo>
                <a:close/>
                <a:moveTo>
                  <a:pt x="2388514" y="212404"/>
                </a:moveTo>
                <a:cubicBezTo>
                  <a:pt x="2396342" y="212404"/>
                  <a:pt x="2402695" y="218757"/>
                  <a:pt x="2402695" y="226585"/>
                </a:cubicBezTo>
                <a:cubicBezTo>
                  <a:pt x="2402695" y="234412"/>
                  <a:pt x="2396342" y="240765"/>
                  <a:pt x="2388514" y="240765"/>
                </a:cubicBezTo>
                <a:cubicBezTo>
                  <a:pt x="2380686" y="240765"/>
                  <a:pt x="2374333" y="234412"/>
                  <a:pt x="2374333" y="226585"/>
                </a:cubicBezTo>
                <a:cubicBezTo>
                  <a:pt x="2374333" y="218757"/>
                  <a:pt x="2380686" y="212404"/>
                  <a:pt x="2388514" y="212404"/>
                </a:cubicBezTo>
                <a:close/>
                <a:moveTo>
                  <a:pt x="2331962" y="212404"/>
                </a:moveTo>
                <a:cubicBezTo>
                  <a:pt x="2339790" y="212404"/>
                  <a:pt x="2346143" y="218757"/>
                  <a:pt x="2346143" y="226585"/>
                </a:cubicBezTo>
                <a:cubicBezTo>
                  <a:pt x="2346143" y="234412"/>
                  <a:pt x="2339790" y="240765"/>
                  <a:pt x="2331962" y="240765"/>
                </a:cubicBezTo>
                <a:cubicBezTo>
                  <a:pt x="2324135" y="240765"/>
                  <a:pt x="2317782" y="234412"/>
                  <a:pt x="2317782" y="226585"/>
                </a:cubicBezTo>
                <a:cubicBezTo>
                  <a:pt x="2317782" y="218757"/>
                  <a:pt x="2324135" y="212404"/>
                  <a:pt x="2331962" y="212404"/>
                </a:cubicBezTo>
                <a:close/>
                <a:moveTo>
                  <a:pt x="2275410" y="212404"/>
                </a:moveTo>
                <a:cubicBezTo>
                  <a:pt x="2283294" y="212404"/>
                  <a:pt x="2289590" y="218757"/>
                  <a:pt x="2289590" y="226585"/>
                </a:cubicBezTo>
                <a:cubicBezTo>
                  <a:pt x="2289590" y="234412"/>
                  <a:pt x="2283294" y="240765"/>
                  <a:pt x="2275410" y="240765"/>
                </a:cubicBezTo>
                <a:cubicBezTo>
                  <a:pt x="2267582" y="240765"/>
                  <a:pt x="2261229" y="234412"/>
                  <a:pt x="2261229" y="226585"/>
                </a:cubicBezTo>
                <a:cubicBezTo>
                  <a:pt x="2261229" y="218757"/>
                  <a:pt x="2267582" y="212404"/>
                  <a:pt x="2275410" y="212404"/>
                </a:cubicBezTo>
                <a:close/>
                <a:moveTo>
                  <a:pt x="2218915" y="212404"/>
                </a:moveTo>
                <a:cubicBezTo>
                  <a:pt x="2226742" y="212404"/>
                  <a:pt x="2233095" y="218757"/>
                  <a:pt x="2233095" y="226585"/>
                </a:cubicBezTo>
                <a:cubicBezTo>
                  <a:pt x="2233095" y="234412"/>
                  <a:pt x="2226742" y="240765"/>
                  <a:pt x="2218915" y="240765"/>
                </a:cubicBezTo>
                <a:cubicBezTo>
                  <a:pt x="2211087" y="240765"/>
                  <a:pt x="2204734" y="234412"/>
                  <a:pt x="2204734" y="226585"/>
                </a:cubicBezTo>
                <a:cubicBezTo>
                  <a:pt x="2204734" y="218757"/>
                  <a:pt x="2211087" y="212404"/>
                  <a:pt x="2218915" y="212404"/>
                </a:cubicBezTo>
                <a:close/>
                <a:moveTo>
                  <a:pt x="2162363" y="212404"/>
                </a:moveTo>
                <a:cubicBezTo>
                  <a:pt x="2170190" y="212404"/>
                  <a:pt x="2176543" y="218757"/>
                  <a:pt x="2176543" y="226585"/>
                </a:cubicBezTo>
                <a:cubicBezTo>
                  <a:pt x="2176543" y="234412"/>
                  <a:pt x="2170190" y="240765"/>
                  <a:pt x="2162363" y="240765"/>
                </a:cubicBezTo>
                <a:cubicBezTo>
                  <a:pt x="2154535" y="240765"/>
                  <a:pt x="2148182" y="234412"/>
                  <a:pt x="2148182" y="226585"/>
                </a:cubicBezTo>
                <a:cubicBezTo>
                  <a:pt x="2148182" y="218757"/>
                  <a:pt x="2154535" y="212404"/>
                  <a:pt x="2162363" y="212404"/>
                </a:cubicBezTo>
                <a:close/>
                <a:moveTo>
                  <a:pt x="2105811" y="212404"/>
                </a:moveTo>
                <a:cubicBezTo>
                  <a:pt x="2113695" y="212404"/>
                  <a:pt x="2120047" y="218757"/>
                  <a:pt x="2120047" y="226585"/>
                </a:cubicBezTo>
                <a:cubicBezTo>
                  <a:pt x="2120047" y="234412"/>
                  <a:pt x="2113695" y="240765"/>
                  <a:pt x="2105811" y="240765"/>
                </a:cubicBezTo>
                <a:cubicBezTo>
                  <a:pt x="2097983" y="240765"/>
                  <a:pt x="2091686" y="234412"/>
                  <a:pt x="2091686" y="226585"/>
                </a:cubicBezTo>
                <a:cubicBezTo>
                  <a:pt x="2091686" y="218757"/>
                  <a:pt x="2097983" y="212404"/>
                  <a:pt x="2105811" y="212404"/>
                </a:cubicBezTo>
                <a:close/>
                <a:moveTo>
                  <a:pt x="2049315" y="212404"/>
                </a:moveTo>
                <a:cubicBezTo>
                  <a:pt x="2057143" y="212404"/>
                  <a:pt x="2063496" y="218757"/>
                  <a:pt x="2063496" y="226585"/>
                </a:cubicBezTo>
                <a:cubicBezTo>
                  <a:pt x="2063496" y="234412"/>
                  <a:pt x="2057143" y="240765"/>
                  <a:pt x="2049315" y="240765"/>
                </a:cubicBezTo>
                <a:cubicBezTo>
                  <a:pt x="2041487" y="240765"/>
                  <a:pt x="2035135" y="234412"/>
                  <a:pt x="2035135" y="226585"/>
                </a:cubicBezTo>
                <a:cubicBezTo>
                  <a:pt x="2035135" y="218757"/>
                  <a:pt x="2041487" y="212404"/>
                  <a:pt x="2049315" y="212404"/>
                </a:cubicBezTo>
                <a:close/>
                <a:moveTo>
                  <a:pt x="1992763" y="212404"/>
                </a:moveTo>
                <a:cubicBezTo>
                  <a:pt x="2000591" y="212404"/>
                  <a:pt x="2006944" y="218757"/>
                  <a:pt x="2006944" y="226585"/>
                </a:cubicBezTo>
                <a:cubicBezTo>
                  <a:pt x="2006944" y="234412"/>
                  <a:pt x="2000591" y="240765"/>
                  <a:pt x="1992763" y="240765"/>
                </a:cubicBezTo>
                <a:cubicBezTo>
                  <a:pt x="1984936" y="240765"/>
                  <a:pt x="1978583" y="234412"/>
                  <a:pt x="1978583" y="226585"/>
                </a:cubicBezTo>
                <a:cubicBezTo>
                  <a:pt x="1978583" y="218757"/>
                  <a:pt x="1984936" y="212404"/>
                  <a:pt x="1992763" y="212404"/>
                </a:cubicBezTo>
                <a:close/>
                <a:moveTo>
                  <a:pt x="1936268" y="212404"/>
                </a:moveTo>
                <a:cubicBezTo>
                  <a:pt x="1944096" y="212404"/>
                  <a:pt x="1950449" y="218757"/>
                  <a:pt x="1950449" y="226585"/>
                </a:cubicBezTo>
                <a:cubicBezTo>
                  <a:pt x="1950449" y="234412"/>
                  <a:pt x="1944096" y="240765"/>
                  <a:pt x="1936268" y="240765"/>
                </a:cubicBezTo>
                <a:cubicBezTo>
                  <a:pt x="1928441" y="240765"/>
                  <a:pt x="1922088" y="234412"/>
                  <a:pt x="1922088" y="226585"/>
                </a:cubicBezTo>
                <a:cubicBezTo>
                  <a:pt x="1922088" y="218757"/>
                  <a:pt x="1928441" y="212404"/>
                  <a:pt x="1936268" y="212404"/>
                </a:cubicBezTo>
                <a:close/>
                <a:moveTo>
                  <a:pt x="1879716" y="212404"/>
                </a:moveTo>
                <a:cubicBezTo>
                  <a:pt x="1887543" y="212404"/>
                  <a:pt x="1893896" y="218757"/>
                  <a:pt x="1893896" y="226585"/>
                </a:cubicBezTo>
                <a:cubicBezTo>
                  <a:pt x="1893896" y="234412"/>
                  <a:pt x="1887543" y="240765"/>
                  <a:pt x="1879716" y="240765"/>
                </a:cubicBezTo>
                <a:cubicBezTo>
                  <a:pt x="1871888" y="240765"/>
                  <a:pt x="1865535" y="234412"/>
                  <a:pt x="1865535" y="226585"/>
                </a:cubicBezTo>
                <a:cubicBezTo>
                  <a:pt x="1865535" y="218757"/>
                  <a:pt x="1871888" y="212404"/>
                  <a:pt x="1879716" y="212404"/>
                </a:cubicBezTo>
                <a:close/>
                <a:moveTo>
                  <a:pt x="1823164" y="212404"/>
                </a:moveTo>
                <a:cubicBezTo>
                  <a:pt x="1830992" y="212404"/>
                  <a:pt x="1837344" y="218757"/>
                  <a:pt x="1837344" y="226585"/>
                </a:cubicBezTo>
                <a:cubicBezTo>
                  <a:pt x="1837344" y="234412"/>
                  <a:pt x="1830992" y="240765"/>
                  <a:pt x="1823164" y="240765"/>
                </a:cubicBezTo>
                <a:cubicBezTo>
                  <a:pt x="1815336" y="240765"/>
                  <a:pt x="1808983" y="234412"/>
                  <a:pt x="1808983" y="226585"/>
                </a:cubicBezTo>
                <a:cubicBezTo>
                  <a:pt x="1808983" y="218757"/>
                  <a:pt x="1815336" y="212404"/>
                  <a:pt x="1823164" y="212404"/>
                </a:cubicBezTo>
                <a:close/>
                <a:moveTo>
                  <a:pt x="1766669" y="212404"/>
                </a:moveTo>
                <a:cubicBezTo>
                  <a:pt x="1774496" y="212404"/>
                  <a:pt x="1780849" y="218757"/>
                  <a:pt x="1780849" y="226585"/>
                </a:cubicBezTo>
                <a:cubicBezTo>
                  <a:pt x="1780849" y="234412"/>
                  <a:pt x="1774496" y="240765"/>
                  <a:pt x="1766669" y="240765"/>
                </a:cubicBezTo>
                <a:cubicBezTo>
                  <a:pt x="1758841" y="240765"/>
                  <a:pt x="1752488" y="234412"/>
                  <a:pt x="1752488" y="226585"/>
                </a:cubicBezTo>
                <a:cubicBezTo>
                  <a:pt x="1752488" y="218757"/>
                  <a:pt x="1758841" y="212404"/>
                  <a:pt x="1766669" y="212404"/>
                </a:cubicBezTo>
                <a:close/>
                <a:moveTo>
                  <a:pt x="1710117" y="212404"/>
                </a:moveTo>
                <a:cubicBezTo>
                  <a:pt x="1717945" y="212404"/>
                  <a:pt x="1724297" y="218757"/>
                  <a:pt x="1724297" y="226585"/>
                </a:cubicBezTo>
                <a:cubicBezTo>
                  <a:pt x="1724297" y="234412"/>
                  <a:pt x="1717945" y="240765"/>
                  <a:pt x="1710117" y="240765"/>
                </a:cubicBezTo>
                <a:cubicBezTo>
                  <a:pt x="1702289" y="240765"/>
                  <a:pt x="1695936" y="234412"/>
                  <a:pt x="1695936" y="226585"/>
                </a:cubicBezTo>
                <a:cubicBezTo>
                  <a:pt x="1695936" y="218757"/>
                  <a:pt x="1702289" y="212404"/>
                  <a:pt x="1710117" y="212404"/>
                </a:cubicBezTo>
                <a:close/>
                <a:moveTo>
                  <a:pt x="1653564" y="212404"/>
                </a:moveTo>
                <a:cubicBezTo>
                  <a:pt x="1661392" y="212404"/>
                  <a:pt x="1667745" y="218757"/>
                  <a:pt x="1667745" y="226585"/>
                </a:cubicBezTo>
                <a:cubicBezTo>
                  <a:pt x="1667745" y="234412"/>
                  <a:pt x="1661392" y="240765"/>
                  <a:pt x="1653564" y="240765"/>
                </a:cubicBezTo>
                <a:cubicBezTo>
                  <a:pt x="1645737" y="240765"/>
                  <a:pt x="1639384" y="234412"/>
                  <a:pt x="1639384" y="226585"/>
                </a:cubicBezTo>
                <a:cubicBezTo>
                  <a:pt x="1639384" y="218757"/>
                  <a:pt x="1645737" y="212404"/>
                  <a:pt x="1653564" y="212404"/>
                </a:cubicBezTo>
                <a:close/>
                <a:moveTo>
                  <a:pt x="1597069" y="212404"/>
                </a:moveTo>
                <a:cubicBezTo>
                  <a:pt x="1604897" y="212404"/>
                  <a:pt x="1611250" y="218757"/>
                  <a:pt x="1611250" y="226585"/>
                </a:cubicBezTo>
                <a:cubicBezTo>
                  <a:pt x="1611250" y="234412"/>
                  <a:pt x="1604897" y="240765"/>
                  <a:pt x="1597069" y="240765"/>
                </a:cubicBezTo>
                <a:cubicBezTo>
                  <a:pt x="1589242" y="240765"/>
                  <a:pt x="1582889" y="234412"/>
                  <a:pt x="1582889" y="226585"/>
                </a:cubicBezTo>
                <a:cubicBezTo>
                  <a:pt x="1582889" y="218757"/>
                  <a:pt x="1589242" y="212404"/>
                  <a:pt x="1597069" y="212404"/>
                </a:cubicBezTo>
                <a:close/>
                <a:moveTo>
                  <a:pt x="1540517" y="212404"/>
                </a:moveTo>
                <a:cubicBezTo>
                  <a:pt x="1548345" y="212404"/>
                  <a:pt x="1554698" y="218757"/>
                  <a:pt x="1554698" y="226585"/>
                </a:cubicBezTo>
                <a:cubicBezTo>
                  <a:pt x="1554698" y="234412"/>
                  <a:pt x="1548345" y="240765"/>
                  <a:pt x="1540517" y="240765"/>
                </a:cubicBezTo>
                <a:cubicBezTo>
                  <a:pt x="1532690" y="240765"/>
                  <a:pt x="1526337" y="234412"/>
                  <a:pt x="1526337" y="226585"/>
                </a:cubicBezTo>
                <a:cubicBezTo>
                  <a:pt x="1526337" y="218757"/>
                  <a:pt x="1532690" y="212404"/>
                  <a:pt x="1540517" y="212404"/>
                </a:cubicBezTo>
                <a:close/>
                <a:moveTo>
                  <a:pt x="1484022" y="212404"/>
                </a:moveTo>
                <a:cubicBezTo>
                  <a:pt x="1491849" y="212404"/>
                  <a:pt x="1498202" y="218757"/>
                  <a:pt x="1498202" y="226585"/>
                </a:cubicBezTo>
                <a:cubicBezTo>
                  <a:pt x="1498202" y="234412"/>
                  <a:pt x="1491849" y="240765"/>
                  <a:pt x="1484022" y="240765"/>
                </a:cubicBezTo>
                <a:cubicBezTo>
                  <a:pt x="1476195" y="240765"/>
                  <a:pt x="1469841" y="234412"/>
                  <a:pt x="1469841" y="226585"/>
                </a:cubicBezTo>
                <a:cubicBezTo>
                  <a:pt x="1469841" y="218757"/>
                  <a:pt x="1476195" y="212404"/>
                  <a:pt x="1484022" y="212404"/>
                </a:cubicBezTo>
                <a:close/>
                <a:moveTo>
                  <a:pt x="1427470" y="212404"/>
                </a:moveTo>
                <a:cubicBezTo>
                  <a:pt x="1435298" y="212404"/>
                  <a:pt x="1441650" y="218757"/>
                  <a:pt x="1441650" y="226585"/>
                </a:cubicBezTo>
                <a:cubicBezTo>
                  <a:pt x="1441650" y="234412"/>
                  <a:pt x="1435298" y="240765"/>
                  <a:pt x="1427470" y="240765"/>
                </a:cubicBezTo>
                <a:cubicBezTo>
                  <a:pt x="1419642" y="240765"/>
                  <a:pt x="1413289" y="234412"/>
                  <a:pt x="1413289" y="226585"/>
                </a:cubicBezTo>
                <a:cubicBezTo>
                  <a:pt x="1413289" y="218757"/>
                  <a:pt x="1419642" y="212404"/>
                  <a:pt x="1427470" y="212404"/>
                </a:cubicBezTo>
                <a:close/>
                <a:moveTo>
                  <a:pt x="1370918" y="212404"/>
                </a:moveTo>
                <a:cubicBezTo>
                  <a:pt x="1378803" y="212404"/>
                  <a:pt x="1385099" y="218757"/>
                  <a:pt x="1385099" y="226585"/>
                </a:cubicBezTo>
                <a:cubicBezTo>
                  <a:pt x="1385099" y="234412"/>
                  <a:pt x="1378803" y="240765"/>
                  <a:pt x="1370918" y="240765"/>
                </a:cubicBezTo>
                <a:cubicBezTo>
                  <a:pt x="1363090" y="240765"/>
                  <a:pt x="1356738" y="234412"/>
                  <a:pt x="1356738" y="226585"/>
                </a:cubicBezTo>
                <a:cubicBezTo>
                  <a:pt x="1356738" y="218757"/>
                  <a:pt x="1363090" y="212404"/>
                  <a:pt x="1370918" y="212404"/>
                </a:cubicBezTo>
                <a:close/>
                <a:moveTo>
                  <a:pt x="1314423" y="212404"/>
                </a:moveTo>
                <a:cubicBezTo>
                  <a:pt x="1322251" y="212404"/>
                  <a:pt x="1328604" y="218757"/>
                  <a:pt x="1328604" y="226585"/>
                </a:cubicBezTo>
                <a:cubicBezTo>
                  <a:pt x="1328604" y="234412"/>
                  <a:pt x="1322251" y="240765"/>
                  <a:pt x="1314423" y="240765"/>
                </a:cubicBezTo>
                <a:cubicBezTo>
                  <a:pt x="1306595" y="240765"/>
                  <a:pt x="1300242" y="234412"/>
                  <a:pt x="1300242" y="226585"/>
                </a:cubicBezTo>
                <a:cubicBezTo>
                  <a:pt x="1300242" y="218757"/>
                  <a:pt x="1306595" y="212404"/>
                  <a:pt x="1314423" y="212404"/>
                </a:cubicBezTo>
                <a:close/>
                <a:moveTo>
                  <a:pt x="1257870" y="212404"/>
                </a:moveTo>
                <a:cubicBezTo>
                  <a:pt x="1265698" y="212404"/>
                  <a:pt x="1272051" y="218757"/>
                  <a:pt x="1272051" y="226585"/>
                </a:cubicBezTo>
                <a:cubicBezTo>
                  <a:pt x="1272051" y="234412"/>
                  <a:pt x="1265698" y="240765"/>
                  <a:pt x="1257870" y="240765"/>
                </a:cubicBezTo>
                <a:cubicBezTo>
                  <a:pt x="1250043" y="240765"/>
                  <a:pt x="1243690" y="234412"/>
                  <a:pt x="1243690" y="226585"/>
                </a:cubicBezTo>
                <a:cubicBezTo>
                  <a:pt x="1243690" y="218757"/>
                  <a:pt x="1250043" y="212404"/>
                  <a:pt x="1257870" y="212404"/>
                </a:cubicBezTo>
                <a:close/>
                <a:moveTo>
                  <a:pt x="1201319" y="212404"/>
                </a:moveTo>
                <a:cubicBezTo>
                  <a:pt x="1209203" y="212404"/>
                  <a:pt x="1215556" y="218757"/>
                  <a:pt x="1215556" y="226585"/>
                </a:cubicBezTo>
                <a:cubicBezTo>
                  <a:pt x="1215556" y="234412"/>
                  <a:pt x="1209203" y="240765"/>
                  <a:pt x="1201319" y="240765"/>
                </a:cubicBezTo>
                <a:cubicBezTo>
                  <a:pt x="1193491" y="240765"/>
                  <a:pt x="1187138" y="234412"/>
                  <a:pt x="1187138" y="226585"/>
                </a:cubicBezTo>
                <a:cubicBezTo>
                  <a:pt x="1187138" y="218757"/>
                  <a:pt x="1193491" y="212404"/>
                  <a:pt x="1201319" y="212404"/>
                </a:cubicBezTo>
                <a:close/>
                <a:moveTo>
                  <a:pt x="1144824" y="212404"/>
                </a:moveTo>
                <a:cubicBezTo>
                  <a:pt x="1152651" y="212404"/>
                  <a:pt x="1159004" y="218757"/>
                  <a:pt x="1159004" y="226585"/>
                </a:cubicBezTo>
                <a:cubicBezTo>
                  <a:pt x="1159004" y="234412"/>
                  <a:pt x="1152651" y="240765"/>
                  <a:pt x="1144824" y="240765"/>
                </a:cubicBezTo>
                <a:cubicBezTo>
                  <a:pt x="1136996" y="240765"/>
                  <a:pt x="1130643" y="234412"/>
                  <a:pt x="1130643" y="226585"/>
                </a:cubicBezTo>
                <a:cubicBezTo>
                  <a:pt x="1130643" y="218757"/>
                  <a:pt x="1136996" y="212404"/>
                  <a:pt x="1144824" y="212404"/>
                </a:cubicBezTo>
                <a:close/>
                <a:moveTo>
                  <a:pt x="1088272" y="212404"/>
                </a:moveTo>
                <a:cubicBezTo>
                  <a:pt x="1096099" y="212404"/>
                  <a:pt x="1102452" y="218757"/>
                  <a:pt x="1102452" y="226585"/>
                </a:cubicBezTo>
                <a:cubicBezTo>
                  <a:pt x="1102452" y="234412"/>
                  <a:pt x="1096099" y="240765"/>
                  <a:pt x="1088272" y="240765"/>
                </a:cubicBezTo>
                <a:cubicBezTo>
                  <a:pt x="1080444" y="240765"/>
                  <a:pt x="1074091" y="234412"/>
                  <a:pt x="1074091" y="226585"/>
                </a:cubicBezTo>
                <a:cubicBezTo>
                  <a:pt x="1074091" y="218757"/>
                  <a:pt x="1080444" y="212404"/>
                  <a:pt x="1088272" y="212404"/>
                </a:cubicBezTo>
                <a:close/>
                <a:moveTo>
                  <a:pt x="1031776" y="212404"/>
                </a:moveTo>
                <a:cubicBezTo>
                  <a:pt x="1039604" y="212404"/>
                  <a:pt x="1045956" y="218757"/>
                  <a:pt x="1045956" y="226585"/>
                </a:cubicBezTo>
                <a:cubicBezTo>
                  <a:pt x="1045956" y="234412"/>
                  <a:pt x="1039604" y="240765"/>
                  <a:pt x="1031776" y="240765"/>
                </a:cubicBezTo>
                <a:cubicBezTo>
                  <a:pt x="1023891" y="240765"/>
                  <a:pt x="1017539" y="234412"/>
                  <a:pt x="1017539" y="226585"/>
                </a:cubicBezTo>
                <a:cubicBezTo>
                  <a:pt x="1017539" y="218757"/>
                  <a:pt x="1023891" y="212404"/>
                  <a:pt x="1031776" y="212404"/>
                </a:cubicBezTo>
                <a:close/>
                <a:moveTo>
                  <a:pt x="975224" y="212404"/>
                </a:moveTo>
                <a:cubicBezTo>
                  <a:pt x="983052" y="212404"/>
                  <a:pt x="989405" y="218757"/>
                  <a:pt x="989405" y="226585"/>
                </a:cubicBezTo>
                <a:cubicBezTo>
                  <a:pt x="989405" y="234412"/>
                  <a:pt x="983052" y="240765"/>
                  <a:pt x="975224" y="240765"/>
                </a:cubicBezTo>
                <a:cubicBezTo>
                  <a:pt x="967396" y="240765"/>
                  <a:pt x="961044" y="234412"/>
                  <a:pt x="961044" y="226585"/>
                </a:cubicBezTo>
                <a:cubicBezTo>
                  <a:pt x="961044" y="218757"/>
                  <a:pt x="967396" y="212404"/>
                  <a:pt x="975224" y="212404"/>
                </a:cubicBezTo>
                <a:close/>
                <a:moveTo>
                  <a:pt x="918672" y="212404"/>
                </a:moveTo>
                <a:cubicBezTo>
                  <a:pt x="926500" y="212404"/>
                  <a:pt x="932853" y="218757"/>
                  <a:pt x="932853" y="226585"/>
                </a:cubicBezTo>
                <a:cubicBezTo>
                  <a:pt x="932853" y="234412"/>
                  <a:pt x="926500" y="240765"/>
                  <a:pt x="918672" y="240765"/>
                </a:cubicBezTo>
                <a:cubicBezTo>
                  <a:pt x="910845" y="240765"/>
                  <a:pt x="904492" y="234412"/>
                  <a:pt x="904492" y="226585"/>
                </a:cubicBezTo>
                <a:cubicBezTo>
                  <a:pt x="904492" y="218757"/>
                  <a:pt x="910845" y="212404"/>
                  <a:pt x="918672" y="212404"/>
                </a:cubicBezTo>
                <a:close/>
                <a:moveTo>
                  <a:pt x="862177" y="212404"/>
                </a:moveTo>
                <a:cubicBezTo>
                  <a:pt x="870004" y="212404"/>
                  <a:pt x="876358" y="218757"/>
                  <a:pt x="876358" y="226585"/>
                </a:cubicBezTo>
                <a:cubicBezTo>
                  <a:pt x="876358" y="234412"/>
                  <a:pt x="870004" y="240765"/>
                  <a:pt x="862177" y="240765"/>
                </a:cubicBezTo>
                <a:cubicBezTo>
                  <a:pt x="854350" y="240765"/>
                  <a:pt x="847997" y="234412"/>
                  <a:pt x="847997" y="226585"/>
                </a:cubicBezTo>
                <a:cubicBezTo>
                  <a:pt x="847997" y="218757"/>
                  <a:pt x="854350" y="212404"/>
                  <a:pt x="862177" y="212404"/>
                </a:cubicBezTo>
                <a:close/>
                <a:moveTo>
                  <a:pt x="805625" y="212404"/>
                </a:moveTo>
                <a:cubicBezTo>
                  <a:pt x="813452" y="212404"/>
                  <a:pt x="819805" y="218757"/>
                  <a:pt x="819805" y="226585"/>
                </a:cubicBezTo>
                <a:cubicBezTo>
                  <a:pt x="819805" y="234412"/>
                  <a:pt x="813452" y="240765"/>
                  <a:pt x="805625" y="240765"/>
                </a:cubicBezTo>
                <a:cubicBezTo>
                  <a:pt x="797797" y="240765"/>
                  <a:pt x="791444" y="234412"/>
                  <a:pt x="791444" y="226585"/>
                </a:cubicBezTo>
                <a:cubicBezTo>
                  <a:pt x="791444" y="218757"/>
                  <a:pt x="797797" y="212404"/>
                  <a:pt x="805625" y="212404"/>
                </a:cubicBezTo>
                <a:close/>
                <a:moveTo>
                  <a:pt x="749073" y="212404"/>
                </a:moveTo>
                <a:cubicBezTo>
                  <a:pt x="756957" y="212404"/>
                  <a:pt x="763310" y="218757"/>
                  <a:pt x="763310" y="226585"/>
                </a:cubicBezTo>
                <a:cubicBezTo>
                  <a:pt x="763310" y="234412"/>
                  <a:pt x="756957" y="240765"/>
                  <a:pt x="749073" y="240765"/>
                </a:cubicBezTo>
                <a:cubicBezTo>
                  <a:pt x="741245" y="240765"/>
                  <a:pt x="734949" y="234412"/>
                  <a:pt x="734949" y="226585"/>
                </a:cubicBezTo>
                <a:cubicBezTo>
                  <a:pt x="734949" y="218757"/>
                  <a:pt x="741245" y="212404"/>
                  <a:pt x="749073" y="212404"/>
                </a:cubicBezTo>
                <a:close/>
                <a:moveTo>
                  <a:pt x="692578" y="212404"/>
                </a:moveTo>
                <a:cubicBezTo>
                  <a:pt x="700405" y="212404"/>
                  <a:pt x="706758" y="218757"/>
                  <a:pt x="706758" y="226585"/>
                </a:cubicBezTo>
                <a:cubicBezTo>
                  <a:pt x="706758" y="234412"/>
                  <a:pt x="700405" y="240765"/>
                  <a:pt x="692578" y="240765"/>
                </a:cubicBezTo>
                <a:cubicBezTo>
                  <a:pt x="684750" y="240765"/>
                  <a:pt x="678397" y="234412"/>
                  <a:pt x="678397" y="226585"/>
                </a:cubicBezTo>
                <a:cubicBezTo>
                  <a:pt x="678397" y="218757"/>
                  <a:pt x="684750" y="212404"/>
                  <a:pt x="692578" y="212404"/>
                </a:cubicBezTo>
                <a:close/>
                <a:moveTo>
                  <a:pt x="636026" y="212404"/>
                </a:moveTo>
                <a:cubicBezTo>
                  <a:pt x="643853" y="212404"/>
                  <a:pt x="650206" y="218757"/>
                  <a:pt x="650206" y="226585"/>
                </a:cubicBezTo>
                <a:cubicBezTo>
                  <a:pt x="650206" y="234412"/>
                  <a:pt x="643853" y="240765"/>
                  <a:pt x="636026" y="240765"/>
                </a:cubicBezTo>
                <a:cubicBezTo>
                  <a:pt x="628198" y="240765"/>
                  <a:pt x="621845" y="234412"/>
                  <a:pt x="621845" y="226585"/>
                </a:cubicBezTo>
                <a:cubicBezTo>
                  <a:pt x="621845" y="218757"/>
                  <a:pt x="628198" y="212404"/>
                  <a:pt x="636026" y="212404"/>
                </a:cubicBezTo>
                <a:close/>
                <a:moveTo>
                  <a:pt x="579530" y="212404"/>
                </a:moveTo>
                <a:cubicBezTo>
                  <a:pt x="587358" y="212404"/>
                  <a:pt x="593711" y="218757"/>
                  <a:pt x="593711" y="226585"/>
                </a:cubicBezTo>
                <a:cubicBezTo>
                  <a:pt x="593711" y="234412"/>
                  <a:pt x="587358" y="240765"/>
                  <a:pt x="579530" y="240765"/>
                </a:cubicBezTo>
                <a:cubicBezTo>
                  <a:pt x="571702" y="240765"/>
                  <a:pt x="565350" y="234412"/>
                  <a:pt x="565350" y="226585"/>
                </a:cubicBezTo>
                <a:cubicBezTo>
                  <a:pt x="565350" y="218757"/>
                  <a:pt x="571702" y="212404"/>
                  <a:pt x="579530" y="212404"/>
                </a:cubicBezTo>
                <a:close/>
                <a:moveTo>
                  <a:pt x="522978" y="212404"/>
                </a:moveTo>
                <a:cubicBezTo>
                  <a:pt x="530806" y="212404"/>
                  <a:pt x="537159" y="218757"/>
                  <a:pt x="537159" y="226585"/>
                </a:cubicBezTo>
                <a:cubicBezTo>
                  <a:pt x="537159" y="234412"/>
                  <a:pt x="530806" y="240765"/>
                  <a:pt x="522978" y="240765"/>
                </a:cubicBezTo>
                <a:cubicBezTo>
                  <a:pt x="515151" y="240765"/>
                  <a:pt x="508798" y="234412"/>
                  <a:pt x="508798" y="226585"/>
                </a:cubicBezTo>
                <a:cubicBezTo>
                  <a:pt x="508798" y="218757"/>
                  <a:pt x="515151" y="212404"/>
                  <a:pt x="522978" y="212404"/>
                </a:cubicBezTo>
                <a:close/>
                <a:moveTo>
                  <a:pt x="466426" y="212404"/>
                </a:moveTo>
                <a:cubicBezTo>
                  <a:pt x="474254" y="212404"/>
                  <a:pt x="480607" y="218757"/>
                  <a:pt x="480607" y="226585"/>
                </a:cubicBezTo>
                <a:cubicBezTo>
                  <a:pt x="480607" y="234412"/>
                  <a:pt x="474254" y="240765"/>
                  <a:pt x="466426" y="240765"/>
                </a:cubicBezTo>
                <a:cubicBezTo>
                  <a:pt x="458598" y="240765"/>
                  <a:pt x="452246" y="234412"/>
                  <a:pt x="452246" y="226585"/>
                </a:cubicBezTo>
                <a:cubicBezTo>
                  <a:pt x="452246" y="218757"/>
                  <a:pt x="458598" y="212404"/>
                  <a:pt x="466426" y="212404"/>
                </a:cubicBezTo>
                <a:close/>
                <a:moveTo>
                  <a:pt x="409931" y="212404"/>
                </a:moveTo>
                <a:cubicBezTo>
                  <a:pt x="417759" y="212404"/>
                  <a:pt x="424112" y="218757"/>
                  <a:pt x="424112" y="226585"/>
                </a:cubicBezTo>
                <a:cubicBezTo>
                  <a:pt x="424112" y="234412"/>
                  <a:pt x="417759" y="240765"/>
                  <a:pt x="409931" y="240765"/>
                </a:cubicBezTo>
                <a:cubicBezTo>
                  <a:pt x="402103" y="240765"/>
                  <a:pt x="395751" y="234412"/>
                  <a:pt x="395751" y="226585"/>
                </a:cubicBezTo>
                <a:cubicBezTo>
                  <a:pt x="395751" y="218757"/>
                  <a:pt x="402103" y="212404"/>
                  <a:pt x="409931" y="212404"/>
                </a:cubicBezTo>
                <a:close/>
                <a:moveTo>
                  <a:pt x="353379" y="212404"/>
                </a:moveTo>
                <a:cubicBezTo>
                  <a:pt x="361207" y="212404"/>
                  <a:pt x="367559" y="218757"/>
                  <a:pt x="367559" y="226585"/>
                </a:cubicBezTo>
                <a:cubicBezTo>
                  <a:pt x="367559" y="234412"/>
                  <a:pt x="361207" y="240765"/>
                  <a:pt x="353379" y="240765"/>
                </a:cubicBezTo>
                <a:cubicBezTo>
                  <a:pt x="345551" y="240765"/>
                  <a:pt x="339198" y="234412"/>
                  <a:pt x="339198" y="226585"/>
                </a:cubicBezTo>
                <a:cubicBezTo>
                  <a:pt x="339198" y="218757"/>
                  <a:pt x="345551" y="212404"/>
                  <a:pt x="353379" y="212404"/>
                </a:cubicBezTo>
                <a:close/>
                <a:moveTo>
                  <a:pt x="296884" y="212404"/>
                </a:moveTo>
                <a:cubicBezTo>
                  <a:pt x="304712" y="212404"/>
                  <a:pt x="311008" y="218757"/>
                  <a:pt x="311008" y="226585"/>
                </a:cubicBezTo>
                <a:cubicBezTo>
                  <a:pt x="311008" y="234412"/>
                  <a:pt x="304712" y="240765"/>
                  <a:pt x="296884" y="240765"/>
                </a:cubicBezTo>
                <a:cubicBezTo>
                  <a:pt x="288999" y="240765"/>
                  <a:pt x="282647" y="234412"/>
                  <a:pt x="282647" y="226585"/>
                </a:cubicBezTo>
                <a:cubicBezTo>
                  <a:pt x="282647" y="218757"/>
                  <a:pt x="288999" y="212404"/>
                  <a:pt x="296884" y="212404"/>
                </a:cubicBezTo>
                <a:close/>
                <a:moveTo>
                  <a:pt x="240332" y="212404"/>
                </a:moveTo>
                <a:cubicBezTo>
                  <a:pt x="248159" y="212404"/>
                  <a:pt x="254512" y="218757"/>
                  <a:pt x="254512" y="226585"/>
                </a:cubicBezTo>
                <a:cubicBezTo>
                  <a:pt x="254512" y="234412"/>
                  <a:pt x="248159" y="240765"/>
                  <a:pt x="240332" y="240765"/>
                </a:cubicBezTo>
                <a:cubicBezTo>
                  <a:pt x="232504" y="240765"/>
                  <a:pt x="226151" y="234412"/>
                  <a:pt x="226151" y="226585"/>
                </a:cubicBezTo>
                <a:cubicBezTo>
                  <a:pt x="226151" y="218757"/>
                  <a:pt x="232504" y="212404"/>
                  <a:pt x="240332" y="212404"/>
                </a:cubicBezTo>
                <a:close/>
                <a:moveTo>
                  <a:pt x="183780" y="212404"/>
                </a:moveTo>
                <a:cubicBezTo>
                  <a:pt x="191607" y="212404"/>
                  <a:pt x="197960" y="218757"/>
                  <a:pt x="197960" y="226585"/>
                </a:cubicBezTo>
                <a:cubicBezTo>
                  <a:pt x="197960" y="234412"/>
                  <a:pt x="191607" y="240765"/>
                  <a:pt x="183780" y="240765"/>
                </a:cubicBezTo>
                <a:cubicBezTo>
                  <a:pt x="175952" y="240765"/>
                  <a:pt x="169599" y="234412"/>
                  <a:pt x="169599" y="226585"/>
                </a:cubicBezTo>
                <a:cubicBezTo>
                  <a:pt x="169599" y="218757"/>
                  <a:pt x="175952" y="212404"/>
                  <a:pt x="183780" y="212404"/>
                </a:cubicBezTo>
                <a:close/>
                <a:moveTo>
                  <a:pt x="127284" y="212404"/>
                </a:moveTo>
                <a:cubicBezTo>
                  <a:pt x="135112" y="212404"/>
                  <a:pt x="141408" y="218757"/>
                  <a:pt x="141408" y="226585"/>
                </a:cubicBezTo>
                <a:cubicBezTo>
                  <a:pt x="141408" y="234412"/>
                  <a:pt x="135112" y="240765"/>
                  <a:pt x="127284" y="240765"/>
                </a:cubicBezTo>
                <a:cubicBezTo>
                  <a:pt x="119457" y="240765"/>
                  <a:pt x="113104" y="234412"/>
                  <a:pt x="113104" y="226585"/>
                </a:cubicBezTo>
                <a:cubicBezTo>
                  <a:pt x="113104" y="218757"/>
                  <a:pt x="119457" y="212404"/>
                  <a:pt x="127284" y="212404"/>
                </a:cubicBezTo>
                <a:close/>
                <a:moveTo>
                  <a:pt x="70733" y="212404"/>
                </a:moveTo>
                <a:cubicBezTo>
                  <a:pt x="78560" y="212404"/>
                  <a:pt x="84913" y="218757"/>
                  <a:pt x="84913" y="226585"/>
                </a:cubicBezTo>
                <a:cubicBezTo>
                  <a:pt x="84913" y="234412"/>
                  <a:pt x="78560" y="240765"/>
                  <a:pt x="70733" y="240765"/>
                </a:cubicBezTo>
                <a:cubicBezTo>
                  <a:pt x="62905" y="240765"/>
                  <a:pt x="56552" y="234412"/>
                  <a:pt x="56552" y="226585"/>
                </a:cubicBezTo>
                <a:cubicBezTo>
                  <a:pt x="56552" y="218757"/>
                  <a:pt x="62905" y="212404"/>
                  <a:pt x="70733" y="212404"/>
                </a:cubicBezTo>
                <a:close/>
                <a:moveTo>
                  <a:pt x="14181" y="159312"/>
                </a:moveTo>
                <a:cubicBezTo>
                  <a:pt x="22065" y="159312"/>
                  <a:pt x="28361" y="165664"/>
                  <a:pt x="28361" y="173492"/>
                </a:cubicBezTo>
                <a:cubicBezTo>
                  <a:pt x="28361" y="181320"/>
                  <a:pt x="22065" y="187673"/>
                  <a:pt x="14181" y="187673"/>
                </a:cubicBezTo>
                <a:cubicBezTo>
                  <a:pt x="6353" y="187673"/>
                  <a:pt x="0" y="181320"/>
                  <a:pt x="0" y="173492"/>
                </a:cubicBezTo>
                <a:cubicBezTo>
                  <a:pt x="0" y="165664"/>
                  <a:pt x="6353" y="159312"/>
                  <a:pt x="14181" y="159312"/>
                </a:cubicBezTo>
                <a:close/>
                <a:moveTo>
                  <a:pt x="14181" y="106220"/>
                </a:moveTo>
                <a:cubicBezTo>
                  <a:pt x="22065" y="106220"/>
                  <a:pt x="28361" y="112573"/>
                  <a:pt x="28361" y="120400"/>
                </a:cubicBezTo>
                <a:cubicBezTo>
                  <a:pt x="28361" y="128228"/>
                  <a:pt x="22065" y="134581"/>
                  <a:pt x="14181" y="134581"/>
                </a:cubicBezTo>
                <a:cubicBezTo>
                  <a:pt x="6353" y="134581"/>
                  <a:pt x="0" y="128228"/>
                  <a:pt x="0" y="120400"/>
                </a:cubicBezTo>
                <a:cubicBezTo>
                  <a:pt x="0" y="112573"/>
                  <a:pt x="6353" y="106220"/>
                  <a:pt x="14181" y="106220"/>
                </a:cubicBezTo>
                <a:close/>
                <a:moveTo>
                  <a:pt x="14181" y="53071"/>
                </a:moveTo>
                <a:cubicBezTo>
                  <a:pt x="22065" y="53071"/>
                  <a:pt x="28361" y="59424"/>
                  <a:pt x="28361" y="67252"/>
                </a:cubicBezTo>
                <a:cubicBezTo>
                  <a:pt x="28361" y="75079"/>
                  <a:pt x="22065" y="81432"/>
                  <a:pt x="14181" y="81432"/>
                </a:cubicBezTo>
                <a:cubicBezTo>
                  <a:pt x="6353" y="81432"/>
                  <a:pt x="0" y="75079"/>
                  <a:pt x="0" y="67252"/>
                </a:cubicBezTo>
                <a:cubicBezTo>
                  <a:pt x="0" y="59424"/>
                  <a:pt x="6353" y="53071"/>
                  <a:pt x="14181" y="53071"/>
                </a:cubicBezTo>
                <a:close/>
                <a:moveTo>
                  <a:pt x="11401" y="263"/>
                </a:moveTo>
                <a:cubicBezTo>
                  <a:pt x="16052" y="-644"/>
                  <a:pt x="20930" y="831"/>
                  <a:pt x="24220" y="4121"/>
                </a:cubicBezTo>
                <a:cubicBezTo>
                  <a:pt x="26886" y="6786"/>
                  <a:pt x="28361" y="10417"/>
                  <a:pt x="28361" y="14160"/>
                </a:cubicBezTo>
                <a:cubicBezTo>
                  <a:pt x="28361" y="17904"/>
                  <a:pt x="26886" y="21534"/>
                  <a:pt x="24220" y="24200"/>
                </a:cubicBezTo>
                <a:cubicBezTo>
                  <a:pt x="21611" y="26809"/>
                  <a:pt x="17924" y="28341"/>
                  <a:pt x="14181" y="28341"/>
                </a:cubicBezTo>
                <a:cubicBezTo>
                  <a:pt x="13273" y="28341"/>
                  <a:pt x="12365" y="28227"/>
                  <a:pt x="11401" y="28057"/>
                </a:cubicBezTo>
                <a:cubicBezTo>
                  <a:pt x="10550" y="27887"/>
                  <a:pt x="9643" y="27603"/>
                  <a:pt x="8792" y="27263"/>
                </a:cubicBezTo>
                <a:cubicBezTo>
                  <a:pt x="7941" y="26923"/>
                  <a:pt x="7090" y="26469"/>
                  <a:pt x="6353" y="25958"/>
                </a:cubicBezTo>
                <a:cubicBezTo>
                  <a:pt x="5559" y="25448"/>
                  <a:pt x="4821" y="24824"/>
                  <a:pt x="4197" y="24200"/>
                </a:cubicBezTo>
                <a:cubicBezTo>
                  <a:pt x="1532" y="21534"/>
                  <a:pt x="0" y="17904"/>
                  <a:pt x="0" y="14160"/>
                </a:cubicBezTo>
                <a:cubicBezTo>
                  <a:pt x="0" y="10417"/>
                  <a:pt x="1532" y="6786"/>
                  <a:pt x="4197" y="4121"/>
                </a:cubicBezTo>
                <a:cubicBezTo>
                  <a:pt x="4821" y="3496"/>
                  <a:pt x="5559" y="2872"/>
                  <a:pt x="6353" y="2362"/>
                </a:cubicBezTo>
                <a:cubicBezTo>
                  <a:pt x="7090" y="1851"/>
                  <a:pt x="7941" y="1398"/>
                  <a:pt x="8792" y="1057"/>
                </a:cubicBezTo>
                <a:cubicBezTo>
                  <a:pt x="9643" y="717"/>
                  <a:pt x="10550" y="433"/>
                  <a:pt x="11401" y="263"/>
                </a:cubicBezTo>
                <a:close/>
              </a:path>
            </a:pathLst>
          </a:custGeom>
          <a:solidFill>
            <a:srgbClr val="FDAA48"/>
          </a:solidFill>
          <a:ln w="0" cap="flat">
            <a:noFill/>
            <a:prstDash val="solid"/>
            <a:miter/>
          </a:ln>
        </p:spPr>
        <p:txBody>
          <a:bodyPr rtlCol="0" anchor="ctr"/>
          <a:lstStyle/>
          <a:p>
            <a:endParaRPr lang="sv-SE"/>
          </a:p>
        </p:txBody>
      </p:sp>
      <p:sp>
        <p:nvSpPr>
          <p:cNvPr id="269" name="Freeform 268">
            <a:extLst>
              <a:ext uri="{FF2B5EF4-FFF2-40B4-BE49-F238E27FC236}">
                <a16:creationId xmlns:a16="http://schemas.microsoft.com/office/drawing/2014/main" id="{52446158-74EB-28DA-C3C0-593F96DAA5E1}"/>
              </a:ext>
            </a:extLst>
          </p:cNvPr>
          <p:cNvSpPr/>
          <p:nvPr/>
        </p:nvSpPr>
        <p:spPr>
          <a:xfrm>
            <a:off x="939714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70" name="Freeform 269">
            <a:extLst>
              <a:ext uri="{FF2B5EF4-FFF2-40B4-BE49-F238E27FC236}">
                <a16:creationId xmlns:a16="http://schemas.microsoft.com/office/drawing/2014/main" id="{7CE41127-5878-4F0C-23E9-B4BC8939D202}"/>
              </a:ext>
            </a:extLst>
          </p:cNvPr>
          <p:cNvSpPr/>
          <p:nvPr/>
        </p:nvSpPr>
        <p:spPr>
          <a:xfrm>
            <a:off x="934575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71" name="Freeform 270">
            <a:extLst>
              <a:ext uri="{FF2B5EF4-FFF2-40B4-BE49-F238E27FC236}">
                <a16:creationId xmlns:a16="http://schemas.microsoft.com/office/drawing/2014/main" id="{5EB68525-A94A-503E-53E5-B684A94DED8A}"/>
              </a:ext>
            </a:extLst>
          </p:cNvPr>
          <p:cNvSpPr/>
          <p:nvPr/>
        </p:nvSpPr>
        <p:spPr>
          <a:xfrm>
            <a:off x="929436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451" name="Freeform 450">
            <a:extLst>
              <a:ext uri="{FF2B5EF4-FFF2-40B4-BE49-F238E27FC236}">
                <a16:creationId xmlns:a16="http://schemas.microsoft.com/office/drawing/2014/main" id="{9892D552-85B9-1514-AE70-1DABDF26AB29}"/>
              </a:ext>
            </a:extLst>
          </p:cNvPr>
          <p:cNvSpPr/>
          <p:nvPr/>
        </p:nvSpPr>
        <p:spPr>
          <a:xfrm>
            <a:off x="3266560" y="3570477"/>
            <a:ext cx="617137" cy="516739"/>
          </a:xfrm>
          <a:custGeom>
            <a:avLst/>
            <a:gdLst>
              <a:gd name="connsiteX0" fmla="*/ 190076 w 617137"/>
              <a:gd name="connsiteY0" fmla="*/ 0 h 516739"/>
              <a:gd name="connsiteX1" fmla="*/ 427061 w 617137"/>
              <a:gd name="connsiteY1" fmla="*/ 0 h 516739"/>
              <a:gd name="connsiteX2" fmla="*/ 427061 w 617137"/>
              <a:gd name="connsiteY2" fmla="*/ 31878 h 516739"/>
              <a:gd name="connsiteX3" fmla="*/ 508911 w 617137"/>
              <a:gd name="connsiteY3" fmla="*/ 31878 h 516739"/>
              <a:gd name="connsiteX4" fmla="*/ 617137 w 617137"/>
              <a:gd name="connsiteY4" fmla="*/ 127342 h 516739"/>
              <a:gd name="connsiteX5" fmla="*/ 617137 w 617137"/>
              <a:gd name="connsiteY5" fmla="*/ 516739 h 516739"/>
              <a:gd name="connsiteX6" fmla="*/ 0 w 617137"/>
              <a:gd name="connsiteY6" fmla="*/ 516739 h 516739"/>
              <a:gd name="connsiteX7" fmla="*/ 0 w 617137"/>
              <a:gd name="connsiteY7" fmla="*/ 127342 h 516739"/>
              <a:gd name="connsiteX8" fmla="*/ 113217 w 617137"/>
              <a:gd name="connsiteY8" fmla="*/ 31878 h 516739"/>
              <a:gd name="connsiteX9" fmla="*/ 190076 w 617137"/>
              <a:gd name="connsiteY9" fmla="*/ 31878 h 51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37" h="516739">
                <a:moveTo>
                  <a:pt x="190076" y="0"/>
                </a:moveTo>
                <a:lnTo>
                  <a:pt x="427061" y="0"/>
                </a:lnTo>
                <a:lnTo>
                  <a:pt x="427061" y="31878"/>
                </a:lnTo>
                <a:lnTo>
                  <a:pt x="508911" y="31878"/>
                </a:lnTo>
                <a:lnTo>
                  <a:pt x="617137" y="127342"/>
                </a:lnTo>
                <a:lnTo>
                  <a:pt x="617137" y="516739"/>
                </a:lnTo>
                <a:lnTo>
                  <a:pt x="0" y="516739"/>
                </a:lnTo>
                <a:lnTo>
                  <a:pt x="0" y="127342"/>
                </a:lnTo>
                <a:lnTo>
                  <a:pt x="113217" y="31878"/>
                </a:lnTo>
                <a:lnTo>
                  <a:pt x="190076" y="31878"/>
                </a:lnTo>
                <a:close/>
              </a:path>
            </a:pathLst>
          </a:custGeom>
          <a:solidFill>
            <a:srgbClr val="FFFFFF"/>
          </a:solidFill>
          <a:ln w="0" cap="flat">
            <a:noFill/>
            <a:prstDash val="solid"/>
            <a:miter/>
          </a:ln>
        </p:spPr>
        <p:txBody>
          <a:bodyPr rtlCol="0" anchor="ctr"/>
          <a:lstStyle/>
          <a:p>
            <a:endParaRPr lang="sv-SE"/>
          </a:p>
        </p:txBody>
      </p:sp>
      <p:sp>
        <p:nvSpPr>
          <p:cNvPr id="320" name="Freeform 319">
            <a:extLst>
              <a:ext uri="{FF2B5EF4-FFF2-40B4-BE49-F238E27FC236}">
                <a16:creationId xmlns:a16="http://schemas.microsoft.com/office/drawing/2014/main" id="{A350F47C-913B-43AD-6005-4DC2668CEBE7}"/>
              </a:ext>
            </a:extLst>
          </p:cNvPr>
          <p:cNvSpPr/>
          <p:nvPr/>
        </p:nvSpPr>
        <p:spPr>
          <a:xfrm>
            <a:off x="3311938" y="3846771"/>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22" name="Freeform 321">
            <a:extLst>
              <a:ext uri="{FF2B5EF4-FFF2-40B4-BE49-F238E27FC236}">
                <a16:creationId xmlns:a16="http://schemas.microsoft.com/office/drawing/2014/main" id="{ADF42DFD-82B3-E7D9-50A2-4D4ED81B5AE1}"/>
              </a:ext>
            </a:extLst>
          </p:cNvPr>
          <p:cNvSpPr/>
          <p:nvPr/>
        </p:nvSpPr>
        <p:spPr>
          <a:xfrm>
            <a:off x="3311938" y="3907634"/>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2" name="Freeform 371">
            <a:extLst>
              <a:ext uri="{FF2B5EF4-FFF2-40B4-BE49-F238E27FC236}">
                <a16:creationId xmlns:a16="http://schemas.microsoft.com/office/drawing/2014/main" id="{6E579B2E-2C2F-2200-249F-2C879806AA5B}"/>
              </a:ext>
            </a:extLst>
          </p:cNvPr>
          <p:cNvSpPr/>
          <p:nvPr/>
        </p:nvSpPr>
        <p:spPr>
          <a:xfrm>
            <a:off x="3311938" y="3968496"/>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3" name="Freeform 372">
            <a:extLst>
              <a:ext uri="{FF2B5EF4-FFF2-40B4-BE49-F238E27FC236}">
                <a16:creationId xmlns:a16="http://schemas.microsoft.com/office/drawing/2014/main" id="{B5B438DE-3038-DCBB-C49C-A32B1046A04B}"/>
              </a:ext>
            </a:extLst>
          </p:cNvPr>
          <p:cNvSpPr/>
          <p:nvPr/>
        </p:nvSpPr>
        <p:spPr>
          <a:xfrm>
            <a:off x="3311938" y="4029359"/>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7" name="Freeform 376">
            <a:extLst>
              <a:ext uri="{FF2B5EF4-FFF2-40B4-BE49-F238E27FC236}">
                <a16:creationId xmlns:a16="http://schemas.microsoft.com/office/drawing/2014/main" id="{A092180A-A042-060C-C1A8-F83641726360}"/>
              </a:ext>
            </a:extLst>
          </p:cNvPr>
          <p:cNvSpPr/>
          <p:nvPr/>
        </p:nvSpPr>
        <p:spPr>
          <a:xfrm>
            <a:off x="5410658" y="2557589"/>
            <a:ext cx="670796" cy="645611"/>
          </a:xfrm>
          <a:custGeom>
            <a:avLst/>
            <a:gdLst>
              <a:gd name="connsiteX0" fmla="*/ 670796 w 670796"/>
              <a:gd name="connsiteY0" fmla="*/ 645612 h 645611"/>
              <a:gd name="connsiteX1" fmla="*/ 670796 w 670796"/>
              <a:gd name="connsiteY1" fmla="*/ 109361 h 645611"/>
              <a:gd name="connsiteX2" fmla="*/ 561493 w 670796"/>
              <a:gd name="connsiteY2" fmla="*/ 0 h 645611"/>
              <a:gd name="connsiteX3" fmla="*/ 0 w 670796"/>
              <a:gd name="connsiteY3" fmla="*/ 0 h 645611"/>
            </a:gdLst>
            <a:ahLst/>
            <a:cxnLst>
              <a:cxn ang="0">
                <a:pos x="connsiteX0" y="connsiteY0"/>
              </a:cxn>
              <a:cxn ang="0">
                <a:pos x="connsiteX1" y="connsiteY1"/>
              </a:cxn>
              <a:cxn ang="0">
                <a:pos x="connsiteX2" y="connsiteY2"/>
              </a:cxn>
              <a:cxn ang="0">
                <a:pos x="connsiteX3" y="connsiteY3"/>
              </a:cxn>
            </a:cxnLst>
            <a:rect l="l" t="t" r="r" b="b"/>
            <a:pathLst>
              <a:path w="670796" h="645611">
                <a:moveTo>
                  <a:pt x="670796" y="645612"/>
                </a:moveTo>
                <a:lnTo>
                  <a:pt x="670796" y="109361"/>
                </a:lnTo>
                <a:lnTo>
                  <a:pt x="561493" y="0"/>
                </a:lnTo>
                <a:lnTo>
                  <a:pt x="0" y="0"/>
                </a:lnTo>
              </a:path>
            </a:pathLst>
          </a:custGeom>
          <a:noFill/>
          <a:ln w="9525" cap="flat">
            <a:solidFill>
              <a:srgbClr val="FFFFFF"/>
            </a:solidFill>
            <a:prstDash val="solid"/>
            <a:miter/>
          </a:ln>
        </p:spPr>
        <p:txBody>
          <a:bodyPr rtlCol="0" anchor="ctr"/>
          <a:lstStyle/>
          <a:p>
            <a:endParaRPr lang="sv-SE"/>
          </a:p>
        </p:txBody>
      </p:sp>
      <p:sp>
        <p:nvSpPr>
          <p:cNvPr id="386" name="Freeform 385">
            <a:extLst>
              <a:ext uri="{FF2B5EF4-FFF2-40B4-BE49-F238E27FC236}">
                <a16:creationId xmlns:a16="http://schemas.microsoft.com/office/drawing/2014/main" id="{5A5E8536-9150-E458-8E47-4A5517136803}"/>
              </a:ext>
            </a:extLst>
          </p:cNvPr>
          <p:cNvSpPr/>
          <p:nvPr/>
        </p:nvSpPr>
        <p:spPr>
          <a:xfrm>
            <a:off x="5410658" y="2444145"/>
            <a:ext cx="784240" cy="759056"/>
          </a:xfrm>
          <a:custGeom>
            <a:avLst/>
            <a:gdLst>
              <a:gd name="connsiteX0" fmla="*/ 0 w 784240"/>
              <a:gd name="connsiteY0" fmla="*/ 0 h 759056"/>
              <a:gd name="connsiteX1" fmla="*/ 608459 w 784240"/>
              <a:gd name="connsiteY1" fmla="*/ 0 h 759056"/>
              <a:gd name="connsiteX2" fmla="*/ 784241 w 784240"/>
              <a:gd name="connsiteY2" fmla="*/ 175782 h 759056"/>
              <a:gd name="connsiteX3" fmla="*/ 784241 w 784240"/>
              <a:gd name="connsiteY3" fmla="*/ 759056 h 759056"/>
            </a:gdLst>
            <a:ahLst/>
            <a:cxnLst>
              <a:cxn ang="0">
                <a:pos x="connsiteX0" y="connsiteY0"/>
              </a:cxn>
              <a:cxn ang="0">
                <a:pos x="connsiteX1" y="connsiteY1"/>
              </a:cxn>
              <a:cxn ang="0">
                <a:pos x="connsiteX2" y="connsiteY2"/>
              </a:cxn>
              <a:cxn ang="0">
                <a:pos x="connsiteX3" y="connsiteY3"/>
              </a:cxn>
            </a:cxnLst>
            <a:rect l="l" t="t" r="r" b="b"/>
            <a:pathLst>
              <a:path w="784240" h="759056">
                <a:moveTo>
                  <a:pt x="0" y="0"/>
                </a:moveTo>
                <a:lnTo>
                  <a:pt x="608459" y="0"/>
                </a:lnTo>
                <a:lnTo>
                  <a:pt x="784241" y="175782"/>
                </a:lnTo>
                <a:lnTo>
                  <a:pt x="784241" y="759056"/>
                </a:lnTo>
              </a:path>
            </a:pathLst>
          </a:custGeom>
          <a:noFill/>
          <a:ln w="9525" cap="flat">
            <a:solidFill>
              <a:srgbClr val="FFFFFF"/>
            </a:solidFill>
            <a:prstDash val="solid"/>
            <a:miter/>
          </a:ln>
        </p:spPr>
        <p:txBody>
          <a:bodyPr rtlCol="0" anchor="ctr"/>
          <a:lstStyle/>
          <a:p>
            <a:endParaRPr lang="sv-SE"/>
          </a:p>
        </p:txBody>
      </p:sp>
      <p:sp>
        <p:nvSpPr>
          <p:cNvPr id="421" name="Freeform 420">
            <a:extLst>
              <a:ext uri="{FF2B5EF4-FFF2-40B4-BE49-F238E27FC236}">
                <a16:creationId xmlns:a16="http://schemas.microsoft.com/office/drawing/2014/main" id="{27DB6291-CB53-7AC6-C7DD-1B5BE91353D9}"/>
              </a:ext>
            </a:extLst>
          </p:cNvPr>
          <p:cNvSpPr/>
          <p:nvPr/>
        </p:nvSpPr>
        <p:spPr>
          <a:xfrm>
            <a:off x="10415653"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2" name="Freeform 421">
            <a:extLst>
              <a:ext uri="{FF2B5EF4-FFF2-40B4-BE49-F238E27FC236}">
                <a16:creationId xmlns:a16="http://schemas.microsoft.com/office/drawing/2014/main" id="{CFC4EB97-3F75-1B0F-B50E-BDBF96AE945C}"/>
              </a:ext>
            </a:extLst>
          </p:cNvPr>
          <p:cNvSpPr/>
          <p:nvPr/>
        </p:nvSpPr>
        <p:spPr>
          <a:xfrm>
            <a:off x="10665230"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3" name="Freeform 422">
            <a:extLst>
              <a:ext uri="{FF2B5EF4-FFF2-40B4-BE49-F238E27FC236}">
                <a16:creationId xmlns:a16="http://schemas.microsoft.com/office/drawing/2014/main" id="{39FFCCE5-7C26-1B38-2222-FD67077A60E9}"/>
              </a:ext>
            </a:extLst>
          </p:cNvPr>
          <p:cNvSpPr/>
          <p:nvPr/>
        </p:nvSpPr>
        <p:spPr>
          <a:xfrm>
            <a:off x="10415653"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4" name="Freeform 423">
            <a:extLst>
              <a:ext uri="{FF2B5EF4-FFF2-40B4-BE49-F238E27FC236}">
                <a16:creationId xmlns:a16="http://schemas.microsoft.com/office/drawing/2014/main" id="{F0CE06C3-4E0B-C438-5506-68AD16C98906}"/>
              </a:ext>
            </a:extLst>
          </p:cNvPr>
          <p:cNvSpPr/>
          <p:nvPr/>
        </p:nvSpPr>
        <p:spPr>
          <a:xfrm>
            <a:off x="10665230"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53" name="Freeform 452">
            <a:extLst>
              <a:ext uri="{FF2B5EF4-FFF2-40B4-BE49-F238E27FC236}">
                <a16:creationId xmlns:a16="http://schemas.microsoft.com/office/drawing/2014/main" id="{7F0F7154-0F5B-825F-44A8-A5667C7B6BDF}"/>
              </a:ext>
            </a:extLst>
          </p:cNvPr>
          <p:cNvSpPr/>
          <p:nvPr/>
        </p:nvSpPr>
        <p:spPr>
          <a:xfrm>
            <a:off x="5396478" y="2486686"/>
            <a:ext cx="755879" cy="730695"/>
          </a:xfrm>
          <a:custGeom>
            <a:avLst/>
            <a:gdLst>
              <a:gd name="connsiteX0" fmla="*/ 738919 w 755879"/>
              <a:gd name="connsiteY0" fmla="*/ 702618 h 730695"/>
              <a:gd name="connsiteX1" fmla="*/ 751738 w 755879"/>
              <a:gd name="connsiteY1" fmla="*/ 706475 h 730695"/>
              <a:gd name="connsiteX2" fmla="*/ 753497 w 755879"/>
              <a:gd name="connsiteY2" fmla="*/ 708631 h 730695"/>
              <a:gd name="connsiteX3" fmla="*/ 754801 w 755879"/>
              <a:gd name="connsiteY3" fmla="*/ 711070 h 730695"/>
              <a:gd name="connsiteX4" fmla="*/ 755596 w 755879"/>
              <a:gd name="connsiteY4" fmla="*/ 713736 h 730695"/>
              <a:gd name="connsiteX5" fmla="*/ 755879 w 755879"/>
              <a:gd name="connsiteY5" fmla="*/ 716515 h 730695"/>
              <a:gd name="connsiteX6" fmla="*/ 751738 w 755879"/>
              <a:gd name="connsiteY6" fmla="*/ 726498 h 730695"/>
              <a:gd name="connsiteX7" fmla="*/ 741699 w 755879"/>
              <a:gd name="connsiteY7" fmla="*/ 730695 h 730695"/>
              <a:gd name="connsiteX8" fmla="*/ 731659 w 755879"/>
              <a:gd name="connsiteY8" fmla="*/ 726498 h 730695"/>
              <a:gd name="connsiteX9" fmla="*/ 727518 w 755879"/>
              <a:gd name="connsiteY9" fmla="*/ 716515 h 730695"/>
              <a:gd name="connsiteX10" fmla="*/ 727802 w 755879"/>
              <a:gd name="connsiteY10" fmla="*/ 713736 h 730695"/>
              <a:gd name="connsiteX11" fmla="*/ 728596 w 755879"/>
              <a:gd name="connsiteY11" fmla="*/ 711070 h 730695"/>
              <a:gd name="connsiteX12" fmla="*/ 729900 w 755879"/>
              <a:gd name="connsiteY12" fmla="*/ 708631 h 730695"/>
              <a:gd name="connsiteX13" fmla="*/ 731659 w 755879"/>
              <a:gd name="connsiteY13" fmla="*/ 706475 h 730695"/>
              <a:gd name="connsiteX14" fmla="*/ 733814 w 755879"/>
              <a:gd name="connsiteY14" fmla="*/ 704717 h 730695"/>
              <a:gd name="connsiteX15" fmla="*/ 736253 w 755879"/>
              <a:gd name="connsiteY15" fmla="*/ 703412 h 730695"/>
              <a:gd name="connsiteX16" fmla="*/ 738919 w 755879"/>
              <a:gd name="connsiteY16" fmla="*/ 702618 h 730695"/>
              <a:gd name="connsiteX17" fmla="*/ 741699 w 755879"/>
              <a:gd name="connsiteY17" fmla="*/ 633077 h 730695"/>
              <a:gd name="connsiteX18" fmla="*/ 755879 w 755879"/>
              <a:gd name="connsiteY18" fmla="*/ 647314 h 730695"/>
              <a:gd name="connsiteX19" fmla="*/ 741699 w 755879"/>
              <a:gd name="connsiteY19" fmla="*/ 661494 h 730695"/>
              <a:gd name="connsiteX20" fmla="*/ 727518 w 755879"/>
              <a:gd name="connsiteY20" fmla="*/ 647314 h 730695"/>
              <a:gd name="connsiteX21" fmla="*/ 741699 w 755879"/>
              <a:gd name="connsiteY21" fmla="*/ 633077 h 730695"/>
              <a:gd name="connsiteX22" fmla="*/ 741699 w 755879"/>
              <a:gd name="connsiteY22" fmla="*/ 563875 h 730695"/>
              <a:gd name="connsiteX23" fmla="*/ 755879 w 755879"/>
              <a:gd name="connsiteY23" fmla="*/ 578056 h 730695"/>
              <a:gd name="connsiteX24" fmla="*/ 741699 w 755879"/>
              <a:gd name="connsiteY24" fmla="*/ 592237 h 730695"/>
              <a:gd name="connsiteX25" fmla="*/ 727518 w 755879"/>
              <a:gd name="connsiteY25" fmla="*/ 578056 h 730695"/>
              <a:gd name="connsiteX26" fmla="*/ 741699 w 755879"/>
              <a:gd name="connsiteY26" fmla="*/ 563875 h 730695"/>
              <a:gd name="connsiteX27" fmla="*/ 741699 w 755879"/>
              <a:gd name="connsiteY27" fmla="*/ 494675 h 730695"/>
              <a:gd name="connsiteX28" fmla="*/ 755879 w 755879"/>
              <a:gd name="connsiteY28" fmla="*/ 508855 h 730695"/>
              <a:gd name="connsiteX29" fmla="*/ 741699 w 755879"/>
              <a:gd name="connsiteY29" fmla="*/ 523036 h 730695"/>
              <a:gd name="connsiteX30" fmla="*/ 727518 w 755879"/>
              <a:gd name="connsiteY30" fmla="*/ 508855 h 730695"/>
              <a:gd name="connsiteX31" fmla="*/ 741699 w 755879"/>
              <a:gd name="connsiteY31" fmla="*/ 494675 h 730695"/>
              <a:gd name="connsiteX32" fmla="*/ 741699 w 755879"/>
              <a:gd name="connsiteY32" fmla="*/ 425473 h 730695"/>
              <a:gd name="connsiteX33" fmla="*/ 755879 w 755879"/>
              <a:gd name="connsiteY33" fmla="*/ 439654 h 730695"/>
              <a:gd name="connsiteX34" fmla="*/ 741699 w 755879"/>
              <a:gd name="connsiteY34" fmla="*/ 453835 h 730695"/>
              <a:gd name="connsiteX35" fmla="*/ 727518 w 755879"/>
              <a:gd name="connsiteY35" fmla="*/ 439654 h 730695"/>
              <a:gd name="connsiteX36" fmla="*/ 741699 w 755879"/>
              <a:gd name="connsiteY36" fmla="*/ 425473 h 730695"/>
              <a:gd name="connsiteX37" fmla="*/ 741699 w 755879"/>
              <a:gd name="connsiteY37" fmla="*/ 356272 h 730695"/>
              <a:gd name="connsiteX38" fmla="*/ 755879 w 755879"/>
              <a:gd name="connsiteY38" fmla="*/ 370453 h 730695"/>
              <a:gd name="connsiteX39" fmla="*/ 741699 w 755879"/>
              <a:gd name="connsiteY39" fmla="*/ 384634 h 730695"/>
              <a:gd name="connsiteX40" fmla="*/ 727518 w 755879"/>
              <a:gd name="connsiteY40" fmla="*/ 370453 h 730695"/>
              <a:gd name="connsiteX41" fmla="*/ 741699 w 755879"/>
              <a:gd name="connsiteY41" fmla="*/ 356272 h 730695"/>
              <a:gd name="connsiteX42" fmla="*/ 741699 w 755879"/>
              <a:gd name="connsiteY42" fmla="*/ 287071 h 730695"/>
              <a:gd name="connsiteX43" fmla="*/ 755879 w 755879"/>
              <a:gd name="connsiteY43" fmla="*/ 301252 h 730695"/>
              <a:gd name="connsiteX44" fmla="*/ 741699 w 755879"/>
              <a:gd name="connsiteY44" fmla="*/ 315376 h 730695"/>
              <a:gd name="connsiteX45" fmla="*/ 727518 w 755879"/>
              <a:gd name="connsiteY45" fmla="*/ 301252 h 730695"/>
              <a:gd name="connsiteX46" fmla="*/ 741699 w 755879"/>
              <a:gd name="connsiteY46" fmla="*/ 287071 h 730695"/>
              <a:gd name="connsiteX47" fmla="*/ 741699 w 755879"/>
              <a:gd name="connsiteY47" fmla="*/ 217814 h 730695"/>
              <a:gd name="connsiteX48" fmla="*/ 755879 w 755879"/>
              <a:gd name="connsiteY48" fmla="*/ 231994 h 730695"/>
              <a:gd name="connsiteX49" fmla="*/ 741699 w 755879"/>
              <a:gd name="connsiteY49" fmla="*/ 246175 h 730695"/>
              <a:gd name="connsiteX50" fmla="*/ 727518 w 755879"/>
              <a:gd name="connsiteY50" fmla="*/ 231994 h 730695"/>
              <a:gd name="connsiteX51" fmla="*/ 741699 w 755879"/>
              <a:gd name="connsiteY51" fmla="*/ 217814 h 730695"/>
              <a:gd name="connsiteX52" fmla="*/ 741699 w 755879"/>
              <a:gd name="connsiteY52" fmla="*/ 148612 h 730695"/>
              <a:gd name="connsiteX53" fmla="*/ 755879 w 755879"/>
              <a:gd name="connsiteY53" fmla="*/ 162793 h 730695"/>
              <a:gd name="connsiteX54" fmla="*/ 741699 w 755879"/>
              <a:gd name="connsiteY54" fmla="*/ 176974 h 730695"/>
              <a:gd name="connsiteX55" fmla="*/ 727518 w 755879"/>
              <a:gd name="connsiteY55" fmla="*/ 162793 h 730695"/>
              <a:gd name="connsiteX56" fmla="*/ 741699 w 755879"/>
              <a:gd name="connsiteY56" fmla="*/ 148612 h 730695"/>
              <a:gd name="connsiteX57" fmla="*/ 697030 w 755879"/>
              <a:gd name="connsiteY57" fmla="*/ 97917 h 730695"/>
              <a:gd name="connsiteX58" fmla="*/ 707042 w 755879"/>
              <a:gd name="connsiteY58" fmla="*/ 102044 h 730695"/>
              <a:gd name="connsiteX59" fmla="*/ 707042 w 755879"/>
              <a:gd name="connsiteY59" fmla="*/ 122123 h 730695"/>
              <a:gd name="connsiteX60" fmla="*/ 697059 w 755879"/>
              <a:gd name="connsiteY60" fmla="*/ 126264 h 730695"/>
              <a:gd name="connsiteX61" fmla="*/ 687019 w 755879"/>
              <a:gd name="connsiteY61" fmla="*/ 122123 h 730695"/>
              <a:gd name="connsiteX62" fmla="*/ 687019 w 755879"/>
              <a:gd name="connsiteY62" fmla="*/ 102044 h 730695"/>
              <a:gd name="connsiteX63" fmla="*/ 697030 w 755879"/>
              <a:gd name="connsiteY63" fmla="*/ 97917 h 730695"/>
              <a:gd name="connsiteX64" fmla="*/ 648107 w 755879"/>
              <a:gd name="connsiteY64" fmla="*/ 48980 h 730695"/>
              <a:gd name="connsiteX65" fmla="*/ 658147 w 755879"/>
              <a:gd name="connsiteY65" fmla="*/ 53149 h 730695"/>
              <a:gd name="connsiteX66" fmla="*/ 658147 w 755879"/>
              <a:gd name="connsiteY66" fmla="*/ 73172 h 730695"/>
              <a:gd name="connsiteX67" fmla="*/ 648107 w 755879"/>
              <a:gd name="connsiteY67" fmla="*/ 77313 h 730695"/>
              <a:gd name="connsiteX68" fmla="*/ 638067 w 755879"/>
              <a:gd name="connsiteY68" fmla="*/ 73172 h 730695"/>
              <a:gd name="connsiteX69" fmla="*/ 638067 w 755879"/>
              <a:gd name="connsiteY69" fmla="*/ 53149 h 730695"/>
              <a:gd name="connsiteX70" fmla="*/ 648107 w 755879"/>
              <a:gd name="connsiteY70" fmla="*/ 48980 h 730695"/>
              <a:gd name="connsiteX71" fmla="*/ 16960 w 755879"/>
              <a:gd name="connsiteY71" fmla="*/ 341 h 730695"/>
              <a:gd name="connsiteX72" fmla="*/ 19626 w 755879"/>
              <a:gd name="connsiteY72" fmla="*/ 1135 h 730695"/>
              <a:gd name="connsiteX73" fmla="*/ 22065 w 755879"/>
              <a:gd name="connsiteY73" fmla="*/ 2440 h 730695"/>
              <a:gd name="connsiteX74" fmla="*/ 24220 w 755879"/>
              <a:gd name="connsiteY74" fmla="*/ 4198 h 730695"/>
              <a:gd name="connsiteX75" fmla="*/ 28361 w 755879"/>
              <a:gd name="connsiteY75" fmla="*/ 14181 h 730695"/>
              <a:gd name="connsiteX76" fmla="*/ 28078 w 755879"/>
              <a:gd name="connsiteY76" fmla="*/ 16961 h 730695"/>
              <a:gd name="connsiteX77" fmla="*/ 27283 w 755879"/>
              <a:gd name="connsiteY77" fmla="*/ 19627 h 730695"/>
              <a:gd name="connsiteX78" fmla="*/ 25979 w 755879"/>
              <a:gd name="connsiteY78" fmla="*/ 22066 h 730695"/>
              <a:gd name="connsiteX79" fmla="*/ 24220 w 755879"/>
              <a:gd name="connsiteY79" fmla="*/ 24221 h 730695"/>
              <a:gd name="connsiteX80" fmla="*/ 22065 w 755879"/>
              <a:gd name="connsiteY80" fmla="*/ 25979 h 730695"/>
              <a:gd name="connsiteX81" fmla="*/ 19626 w 755879"/>
              <a:gd name="connsiteY81" fmla="*/ 27284 h 730695"/>
              <a:gd name="connsiteX82" fmla="*/ 16960 w 755879"/>
              <a:gd name="connsiteY82" fmla="*/ 28135 h 730695"/>
              <a:gd name="connsiteX83" fmla="*/ 14181 w 755879"/>
              <a:gd name="connsiteY83" fmla="*/ 28418 h 730695"/>
              <a:gd name="connsiteX84" fmla="*/ 4141 w 755879"/>
              <a:gd name="connsiteY84" fmla="*/ 24221 h 730695"/>
              <a:gd name="connsiteX85" fmla="*/ 2382 w 755879"/>
              <a:gd name="connsiteY85" fmla="*/ 22066 h 730695"/>
              <a:gd name="connsiteX86" fmla="*/ 1078 w 755879"/>
              <a:gd name="connsiteY86" fmla="*/ 19627 h 730695"/>
              <a:gd name="connsiteX87" fmla="*/ 284 w 755879"/>
              <a:gd name="connsiteY87" fmla="*/ 16961 h 730695"/>
              <a:gd name="connsiteX88" fmla="*/ 0 w 755879"/>
              <a:gd name="connsiteY88" fmla="*/ 14181 h 730695"/>
              <a:gd name="connsiteX89" fmla="*/ 4141 w 755879"/>
              <a:gd name="connsiteY89" fmla="*/ 4198 h 730695"/>
              <a:gd name="connsiteX90" fmla="*/ 16960 w 755879"/>
              <a:gd name="connsiteY90" fmla="*/ 341 h 730695"/>
              <a:gd name="connsiteX91" fmla="*/ 601936 w 755879"/>
              <a:gd name="connsiteY91" fmla="*/ 284 h 730695"/>
              <a:gd name="connsiteX92" fmla="*/ 604602 w 755879"/>
              <a:gd name="connsiteY92" fmla="*/ 1135 h 730695"/>
              <a:gd name="connsiteX93" fmla="*/ 607041 w 755879"/>
              <a:gd name="connsiteY93" fmla="*/ 2439 h 730695"/>
              <a:gd name="connsiteX94" fmla="*/ 609196 w 755879"/>
              <a:gd name="connsiteY94" fmla="*/ 4198 h 730695"/>
              <a:gd name="connsiteX95" fmla="*/ 610955 w 755879"/>
              <a:gd name="connsiteY95" fmla="*/ 6353 h 730695"/>
              <a:gd name="connsiteX96" fmla="*/ 612259 w 755879"/>
              <a:gd name="connsiteY96" fmla="*/ 8792 h 730695"/>
              <a:gd name="connsiteX97" fmla="*/ 613054 w 755879"/>
              <a:gd name="connsiteY97" fmla="*/ 11458 h 730695"/>
              <a:gd name="connsiteX98" fmla="*/ 613337 w 755879"/>
              <a:gd name="connsiteY98" fmla="*/ 14237 h 730695"/>
              <a:gd name="connsiteX99" fmla="*/ 609196 w 755879"/>
              <a:gd name="connsiteY99" fmla="*/ 24221 h 730695"/>
              <a:gd name="connsiteX100" fmla="*/ 607041 w 755879"/>
              <a:gd name="connsiteY100" fmla="*/ 25979 h 730695"/>
              <a:gd name="connsiteX101" fmla="*/ 604602 w 755879"/>
              <a:gd name="connsiteY101" fmla="*/ 27284 h 730695"/>
              <a:gd name="connsiteX102" fmla="*/ 601936 w 755879"/>
              <a:gd name="connsiteY102" fmla="*/ 28134 h 730695"/>
              <a:gd name="connsiteX103" fmla="*/ 599157 w 755879"/>
              <a:gd name="connsiteY103" fmla="*/ 28418 h 730695"/>
              <a:gd name="connsiteX104" fmla="*/ 589117 w 755879"/>
              <a:gd name="connsiteY104" fmla="*/ 24221 h 730695"/>
              <a:gd name="connsiteX105" fmla="*/ 587358 w 755879"/>
              <a:gd name="connsiteY105" fmla="*/ 22065 h 730695"/>
              <a:gd name="connsiteX106" fmla="*/ 586054 w 755879"/>
              <a:gd name="connsiteY106" fmla="*/ 19626 h 730695"/>
              <a:gd name="connsiteX107" fmla="*/ 585260 w 755879"/>
              <a:gd name="connsiteY107" fmla="*/ 16960 h 730695"/>
              <a:gd name="connsiteX108" fmla="*/ 584976 w 755879"/>
              <a:gd name="connsiteY108" fmla="*/ 14237 h 730695"/>
              <a:gd name="connsiteX109" fmla="*/ 585260 w 755879"/>
              <a:gd name="connsiteY109" fmla="*/ 11458 h 730695"/>
              <a:gd name="connsiteX110" fmla="*/ 586054 w 755879"/>
              <a:gd name="connsiteY110" fmla="*/ 8792 h 730695"/>
              <a:gd name="connsiteX111" fmla="*/ 587358 w 755879"/>
              <a:gd name="connsiteY111" fmla="*/ 6353 h 730695"/>
              <a:gd name="connsiteX112" fmla="*/ 589117 w 755879"/>
              <a:gd name="connsiteY112" fmla="*/ 4198 h 730695"/>
              <a:gd name="connsiteX113" fmla="*/ 601936 w 755879"/>
              <a:gd name="connsiteY113" fmla="*/ 284 h 730695"/>
              <a:gd name="connsiteX114" fmla="*/ 534152 w 755879"/>
              <a:gd name="connsiteY114" fmla="*/ 0 h 730695"/>
              <a:gd name="connsiteX115" fmla="*/ 548332 w 755879"/>
              <a:gd name="connsiteY115" fmla="*/ 14237 h 730695"/>
              <a:gd name="connsiteX116" fmla="*/ 534152 w 755879"/>
              <a:gd name="connsiteY116" fmla="*/ 28418 h 730695"/>
              <a:gd name="connsiteX117" fmla="*/ 519971 w 755879"/>
              <a:gd name="connsiteY117" fmla="*/ 14237 h 730695"/>
              <a:gd name="connsiteX118" fmla="*/ 534152 w 755879"/>
              <a:gd name="connsiteY118" fmla="*/ 0 h 730695"/>
              <a:gd name="connsiteX119" fmla="*/ 469148 w 755879"/>
              <a:gd name="connsiteY119" fmla="*/ 0 h 730695"/>
              <a:gd name="connsiteX120" fmla="*/ 483329 w 755879"/>
              <a:gd name="connsiteY120" fmla="*/ 14237 h 730695"/>
              <a:gd name="connsiteX121" fmla="*/ 469148 w 755879"/>
              <a:gd name="connsiteY121" fmla="*/ 28418 h 730695"/>
              <a:gd name="connsiteX122" fmla="*/ 454968 w 755879"/>
              <a:gd name="connsiteY122" fmla="*/ 14237 h 730695"/>
              <a:gd name="connsiteX123" fmla="*/ 469148 w 755879"/>
              <a:gd name="connsiteY123" fmla="*/ 0 h 730695"/>
              <a:gd name="connsiteX124" fmla="*/ 404145 w 755879"/>
              <a:gd name="connsiteY124" fmla="*/ 0 h 730695"/>
              <a:gd name="connsiteX125" fmla="*/ 418382 w 755879"/>
              <a:gd name="connsiteY125" fmla="*/ 14237 h 730695"/>
              <a:gd name="connsiteX126" fmla="*/ 404145 w 755879"/>
              <a:gd name="connsiteY126" fmla="*/ 28418 h 730695"/>
              <a:gd name="connsiteX127" fmla="*/ 390021 w 755879"/>
              <a:gd name="connsiteY127" fmla="*/ 14237 h 730695"/>
              <a:gd name="connsiteX128" fmla="*/ 404145 w 755879"/>
              <a:gd name="connsiteY128" fmla="*/ 0 h 730695"/>
              <a:gd name="connsiteX129" fmla="*/ 339198 w 755879"/>
              <a:gd name="connsiteY129" fmla="*/ 0 h 730695"/>
              <a:gd name="connsiteX130" fmla="*/ 353378 w 755879"/>
              <a:gd name="connsiteY130" fmla="*/ 14237 h 730695"/>
              <a:gd name="connsiteX131" fmla="*/ 339198 w 755879"/>
              <a:gd name="connsiteY131" fmla="*/ 28418 h 730695"/>
              <a:gd name="connsiteX132" fmla="*/ 325017 w 755879"/>
              <a:gd name="connsiteY132" fmla="*/ 14237 h 730695"/>
              <a:gd name="connsiteX133" fmla="*/ 339198 w 755879"/>
              <a:gd name="connsiteY133" fmla="*/ 0 h 730695"/>
              <a:gd name="connsiteX134" fmla="*/ 274194 w 755879"/>
              <a:gd name="connsiteY134" fmla="*/ 0 h 730695"/>
              <a:gd name="connsiteX135" fmla="*/ 288375 w 755879"/>
              <a:gd name="connsiteY135" fmla="*/ 14237 h 730695"/>
              <a:gd name="connsiteX136" fmla="*/ 274194 w 755879"/>
              <a:gd name="connsiteY136" fmla="*/ 28418 h 730695"/>
              <a:gd name="connsiteX137" fmla="*/ 260014 w 755879"/>
              <a:gd name="connsiteY137" fmla="*/ 14237 h 730695"/>
              <a:gd name="connsiteX138" fmla="*/ 274194 w 755879"/>
              <a:gd name="connsiteY138" fmla="*/ 0 h 730695"/>
              <a:gd name="connsiteX139" fmla="*/ 209191 w 755879"/>
              <a:gd name="connsiteY139" fmla="*/ 0 h 730695"/>
              <a:gd name="connsiteX140" fmla="*/ 223371 w 755879"/>
              <a:gd name="connsiteY140" fmla="*/ 14237 h 730695"/>
              <a:gd name="connsiteX141" fmla="*/ 209191 w 755879"/>
              <a:gd name="connsiteY141" fmla="*/ 28418 h 730695"/>
              <a:gd name="connsiteX142" fmla="*/ 195010 w 755879"/>
              <a:gd name="connsiteY142" fmla="*/ 14237 h 730695"/>
              <a:gd name="connsiteX143" fmla="*/ 209191 w 755879"/>
              <a:gd name="connsiteY143" fmla="*/ 0 h 730695"/>
              <a:gd name="connsiteX144" fmla="*/ 144187 w 755879"/>
              <a:gd name="connsiteY144" fmla="*/ 0 h 730695"/>
              <a:gd name="connsiteX145" fmla="*/ 158367 w 755879"/>
              <a:gd name="connsiteY145" fmla="*/ 14237 h 730695"/>
              <a:gd name="connsiteX146" fmla="*/ 144187 w 755879"/>
              <a:gd name="connsiteY146" fmla="*/ 28418 h 730695"/>
              <a:gd name="connsiteX147" fmla="*/ 130006 w 755879"/>
              <a:gd name="connsiteY147" fmla="*/ 14237 h 730695"/>
              <a:gd name="connsiteX148" fmla="*/ 144187 w 755879"/>
              <a:gd name="connsiteY148" fmla="*/ 0 h 730695"/>
              <a:gd name="connsiteX149" fmla="*/ 79184 w 755879"/>
              <a:gd name="connsiteY149" fmla="*/ 0 h 730695"/>
              <a:gd name="connsiteX150" fmla="*/ 93364 w 755879"/>
              <a:gd name="connsiteY150" fmla="*/ 14237 h 730695"/>
              <a:gd name="connsiteX151" fmla="*/ 79184 w 755879"/>
              <a:gd name="connsiteY151" fmla="*/ 28418 h 730695"/>
              <a:gd name="connsiteX152" fmla="*/ 65003 w 755879"/>
              <a:gd name="connsiteY152" fmla="*/ 14237 h 730695"/>
              <a:gd name="connsiteX153" fmla="*/ 79184 w 755879"/>
              <a:gd name="connsiteY153" fmla="*/ 0 h 73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755879" h="730695">
                <a:moveTo>
                  <a:pt x="738919" y="702618"/>
                </a:moveTo>
                <a:cubicBezTo>
                  <a:pt x="743514" y="701654"/>
                  <a:pt x="748448" y="703185"/>
                  <a:pt x="751738" y="706475"/>
                </a:cubicBezTo>
                <a:cubicBezTo>
                  <a:pt x="752362" y="707099"/>
                  <a:pt x="752986" y="707836"/>
                  <a:pt x="753497" y="708631"/>
                </a:cubicBezTo>
                <a:cubicBezTo>
                  <a:pt x="754007" y="709368"/>
                  <a:pt x="754461" y="710219"/>
                  <a:pt x="754801" y="711070"/>
                </a:cubicBezTo>
                <a:cubicBezTo>
                  <a:pt x="755142" y="711920"/>
                  <a:pt x="755425" y="712828"/>
                  <a:pt x="755596" y="713736"/>
                </a:cubicBezTo>
                <a:cubicBezTo>
                  <a:pt x="755766" y="714643"/>
                  <a:pt x="755879" y="715551"/>
                  <a:pt x="755879" y="716515"/>
                </a:cubicBezTo>
                <a:cubicBezTo>
                  <a:pt x="755879" y="720259"/>
                  <a:pt x="754347" y="723889"/>
                  <a:pt x="751738" y="726498"/>
                </a:cubicBezTo>
                <a:cubicBezTo>
                  <a:pt x="749129" y="729107"/>
                  <a:pt x="745442" y="730695"/>
                  <a:pt x="741699" y="730695"/>
                </a:cubicBezTo>
                <a:cubicBezTo>
                  <a:pt x="737955" y="730695"/>
                  <a:pt x="734325" y="729164"/>
                  <a:pt x="731659" y="726498"/>
                </a:cubicBezTo>
                <a:cubicBezTo>
                  <a:pt x="729049" y="723889"/>
                  <a:pt x="727518" y="720259"/>
                  <a:pt x="727518" y="716515"/>
                </a:cubicBezTo>
                <a:cubicBezTo>
                  <a:pt x="727518" y="715551"/>
                  <a:pt x="727631" y="714643"/>
                  <a:pt x="727802" y="713736"/>
                </a:cubicBezTo>
                <a:cubicBezTo>
                  <a:pt x="727972" y="712828"/>
                  <a:pt x="728255" y="711920"/>
                  <a:pt x="728596" y="711070"/>
                </a:cubicBezTo>
                <a:cubicBezTo>
                  <a:pt x="728936" y="710219"/>
                  <a:pt x="729390" y="709368"/>
                  <a:pt x="729900" y="708631"/>
                </a:cubicBezTo>
                <a:cubicBezTo>
                  <a:pt x="730411" y="707836"/>
                  <a:pt x="731035" y="707099"/>
                  <a:pt x="731659" y="706475"/>
                </a:cubicBezTo>
                <a:cubicBezTo>
                  <a:pt x="732339" y="705794"/>
                  <a:pt x="733077" y="705227"/>
                  <a:pt x="733814" y="704717"/>
                </a:cubicBezTo>
                <a:cubicBezTo>
                  <a:pt x="734608" y="704206"/>
                  <a:pt x="735402" y="703752"/>
                  <a:pt x="736253" y="703412"/>
                </a:cubicBezTo>
                <a:cubicBezTo>
                  <a:pt x="737104" y="703072"/>
                  <a:pt x="738011" y="702788"/>
                  <a:pt x="738919" y="702618"/>
                </a:cubicBezTo>
                <a:close/>
                <a:moveTo>
                  <a:pt x="741699" y="633077"/>
                </a:moveTo>
                <a:cubicBezTo>
                  <a:pt x="749527" y="633077"/>
                  <a:pt x="755879" y="639429"/>
                  <a:pt x="755879" y="647314"/>
                </a:cubicBezTo>
                <a:cubicBezTo>
                  <a:pt x="755879" y="655141"/>
                  <a:pt x="749527" y="661494"/>
                  <a:pt x="741699" y="661494"/>
                </a:cubicBezTo>
                <a:cubicBezTo>
                  <a:pt x="733871" y="661494"/>
                  <a:pt x="727518" y="655141"/>
                  <a:pt x="727518" y="647314"/>
                </a:cubicBezTo>
                <a:cubicBezTo>
                  <a:pt x="727518" y="639429"/>
                  <a:pt x="733871" y="633077"/>
                  <a:pt x="741699" y="633077"/>
                </a:cubicBezTo>
                <a:close/>
                <a:moveTo>
                  <a:pt x="741699" y="563875"/>
                </a:moveTo>
                <a:cubicBezTo>
                  <a:pt x="749527" y="563875"/>
                  <a:pt x="755879" y="570229"/>
                  <a:pt x="755879" y="578056"/>
                </a:cubicBezTo>
                <a:cubicBezTo>
                  <a:pt x="755879" y="585884"/>
                  <a:pt x="749527" y="592237"/>
                  <a:pt x="741699" y="592237"/>
                </a:cubicBezTo>
                <a:cubicBezTo>
                  <a:pt x="733871" y="592237"/>
                  <a:pt x="727518" y="585884"/>
                  <a:pt x="727518" y="578056"/>
                </a:cubicBezTo>
                <a:cubicBezTo>
                  <a:pt x="727518" y="570229"/>
                  <a:pt x="733871" y="563875"/>
                  <a:pt x="741699" y="563875"/>
                </a:cubicBezTo>
                <a:close/>
                <a:moveTo>
                  <a:pt x="741699" y="494675"/>
                </a:moveTo>
                <a:cubicBezTo>
                  <a:pt x="749527" y="494675"/>
                  <a:pt x="755879" y="501027"/>
                  <a:pt x="755879" y="508855"/>
                </a:cubicBezTo>
                <a:cubicBezTo>
                  <a:pt x="755879" y="516683"/>
                  <a:pt x="749527" y="523036"/>
                  <a:pt x="741699" y="523036"/>
                </a:cubicBezTo>
                <a:cubicBezTo>
                  <a:pt x="733871" y="523036"/>
                  <a:pt x="727518" y="516683"/>
                  <a:pt x="727518" y="508855"/>
                </a:cubicBezTo>
                <a:cubicBezTo>
                  <a:pt x="727518" y="501027"/>
                  <a:pt x="733871" y="494675"/>
                  <a:pt x="741699" y="494675"/>
                </a:cubicBezTo>
                <a:close/>
                <a:moveTo>
                  <a:pt x="741699" y="425473"/>
                </a:moveTo>
                <a:cubicBezTo>
                  <a:pt x="749527" y="425473"/>
                  <a:pt x="755879" y="431826"/>
                  <a:pt x="755879" y="439654"/>
                </a:cubicBezTo>
                <a:cubicBezTo>
                  <a:pt x="755879" y="447482"/>
                  <a:pt x="749527" y="453835"/>
                  <a:pt x="741699" y="453835"/>
                </a:cubicBezTo>
                <a:cubicBezTo>
                  <a:pt x="733871" y="453835"/>
                  <a:pt x="727518" y="447482"/>
                  <a:pt x="727518" y="439654"/>
                </a:cubicBezTo>
                <a:cubicBezTo>
                  <a:pt x="727518" y="431826"/>
                  <a:pt x="733871" y="425473"/>
                  <a:pt x="741699" y="425473"/>
                </a:cubicBezTo>
                <a:close/>
                <a:moveTo>
                  <a:pt x="741699" y="356272"/>
                </a:moveTo>
                <a:cubicBezTo>
                  <a:pt x="749527" y="356272"/>
                  <a:pt x="755879" y="362625"/>
                  <a:pt x="755879" y="370453"/>
                </a:cubicBezTo>
                <a:cubicBezTo>
                  <a:pt x="755879" y="378281"/>
                  <a:pt x="749527" y="384634"/>
                  <a:pt x="741699" y="384634"/>
                </a:cubicBezTo>
                <a:cubicBezTo>
                  <a:pt x="733871" y="384634"/>
                  <a:pt x="727518" y="378281"/>
                  <a:pt x="727518" y="370453"/>
                </a:cubicBezTo>
                <a:cubicBezTo>
                  <a:pt x="727518" y="362625"/>
                  <a:pt x="733871" y="356272"/>
                  <a:pt x="741699" y="356272"/>
                </a:cubicBezTo>
                <a:close/>
                <a:moveTo>
                  <a:pt x="741699" y="287071"/>
                </a:moveTo>
                <a:cubicBezTo>
                  <a:pt x="749527" y="287071"/>
                  <a:pt x="755879" y="293367"/>
                  <a:pt x="755879" y="301252"/>
                </a:cubicBezTo>
                <a:cubicBezTo>
                  <a:pt x="755879" y="309080"/>
                  <a:pt x="749527" y="315376"/>
                  <a:pt x="741699" y="315376"/>
                </a:cubicBezTo>
                <a:cubicBezTo>
                  <a:pt x="733871" y="315376"/>
                  <a:pt x="727518" y="309080"/>
                  <a:pt x="727518" y="301252"/>
                </a:cubicBezTo>
                <a:cubicBezTo>
                  <a:pt x="727518" y="293367"/>
                  <a:pt x="733871" y="287071"/>
                  <a:pt x="741699" y="287071"/>
                </a:cubicBezTo>
                <a:close/>
                <a:moveTo>
                  <a:pt x="741699" y="217814"/>
                </a:moveTo>
                <a:cubicBezTo>
                  <a:pt x="749527" y="217814"/>
                  <a:pt x="755879" y="224166"/>
                  <a:pt x="755879" y="231994"/>
                </a:cubicBezTo>
                <a:cubicBezTo>
                  <a:pt x="755879" y="239878"/>
                  <a:pt x="749527" y="246175"/>
                  <a:pt x="741699" y="246175"/>
                </a:cubicBezTo>
                <a:cubicBezTo>
                  <a:pt x="733871" y="246175"/>
                  <a:pt x="727518" y="239878"/>
                  <a:pt x="727518" y="231994"/>
                </a:cubicBezTo>
                <a:cubicBezTo>
                  <a:pt x="727518" y="224166"/>
                  <a:pt x="733871" y="217814"/>
                  <a:pt x="741699" y="217814"/>
                </a:cubicBezTo>
                <a:close/>
                <a:moveTo>
                  <a:pt x="741699" y="148612"/>
                </a:moveTo>
                <a:cubicBezTo>
                  <a:pt x="749527" y="148612"/>
                  <a:pt x="755879" y="154965"/>
                  <a:pt x="755879" y="162793"/>
                </a:cubicBezTo>
                <a:cubicBezTo>
                  <a:pt x="755879" y="170621"/>
                  <a:pt x="749527" y="176974"/>
                  <a:pt x="741699" y="176974"/>
                </a:cubicBezTo>
                <a:cubicBezTo>
                  <a:pt x="733871" y="176974"/>
                  <a:pt x="727518" y="170621"/>
                  <a:pt x="727518" y="162793"/>
                </a:cubicBezTo>
                <a:cubicBezTo>
                  <a:pt x="727518" y="154965"/>
                  <a:pt x="733871" y="148612"/>
                  <a:pt x="741699" y="148612"/>
                </a:cubicBezTo>
                <a:close/>
                <a:moveTo>
                  <a:pt x="697030" y="97917"/>
                </a:moveTo>
                <a:cubicBezTo>
                  <a:pt x="700661" y="97917"/>
                  <a:pt x="704291" y="99293"/>
                  <a:pt x="707042" y="102044"/>
                </a:cubicBezTo>
                <a:cubicBezTo>
                  <a:pt x="712600" y="107602"/>
                  <a:pt x="712600" y="116564"/>
                  <a:pt x="707042" y="122123"/>
                </a:cubicBezTo>
                <a:cubicBezTo>
                  <a:pt x="704319" y="124903"/>
                  <a:pt x="700689" y="126264"/>
                  <a:pt x="697059" y="126264"/>
                </a:cubicBezTo>
                <a:cubicBezTo>
                  <a:pt x="693428" y="126264"/>
                  <a:pt x="689798" y="124903"/>
                  <a:pt x="687019" y="122123"/>
                </a:cubicBezTo>
                <a:cubicBezTo>
                  <a:pt x="681460" y="116564"/>
                  <a:pt x="681460" y="107602"/>
                  <a:pt x="687019" y="102044"/>
                </a:cubicBezTo>
                <a:cubicBezTo>
                  <a:pt x="689770" y="99293"/>
                  <a:pt x="693400" y="97917"/>
                  <a:pt x="697030" y="97917"/>
                </a:cubicBezTo>
                <a:close/>
                <a:moveTo>
                  <a:pt x="648107" y="48980"/>
                </a:moveTo>
                <a:cubicBezTo>
                  <a:pt x="651737" y="48980"/>
                  <a:pt x="655367" y="50369"/>
                  <a:pt x="658147" y="53149"/>
                </a:cubicBezTo>
                <a:cubicBezTo>
                  <a:pt x="663649" y="58651"/>
                  <a:pt x="663649" y="67670"/>
                  <a:pt x="658147" y="73172"/>
                </a:cubicBezTo>
                <a:cubicBezTo>
                  <a:pt x="655368" y="75951"/>
                  <a:pt x="651738" y="77313"/>
                  <a:pt x="648107" y="77313"/>
                </a:cubicBezTo>
                <a:cubicBezTo>
                  <a:pt x="644477" y="77313"/>
                  <a:pt x="640847" y="75951"/>
                  <a:pt x="638067" y="73172"/>
                </a:cubicBezTo>
                <a:cubicBezTo>
                  <a:pt x="632566" y="67670"/>
                  <a:pt x="632566" y="58651"/>
                  <a:pt x="638067" y="53149"/>
                </a:cubicBezTo>
                <a:cubicBezTo>
                  <a:pt x="640846" y="50369"/>
                  <a:pt x="644476" y="48980"/>
                  <a:pt x="648107" y="48980"/>
                </a:cubicBezTo>
                <a:close/>
                <a:moveTo>
                  <a:pt x="16960" y="341"/>
                </a:moveTo>
                <a:cubicBezTo>
                  <a:pt x="17868" y="511"/>
                  <a:pt x="18775" y="795"/>
                  <a:pt x="19626" y="1135"/>
                </a:cubicBezTo>
                <a:cubicBezTo>
                  <a:pt x="20477" y="1475"/>
                  <a:pt x="21271" y="1929"/>
                  <a:pt x="22065" y="2440"/>
                </a:cubicBezTo>
                <a:cubicBezTo>
                  <a:pt x="22859" y="2950"/>
                  <a:pt x="23540" y="3517"/>
                  <a:pt x="24220" y="4198"/>
                </a:cubicBezTo>
                <a:cubicBezTo>
                  <a:pt x="26829" y="6807"/>
                  <a:pt x="28361" y="10494"/>
                  <a:pt x="28361" y="14181"/>
                </a:cubicBezTo>
                <a:cubicBezTo>
                  <a:pt x="28361" y="15145"/>
                  <a:pt x="28248" y="16053"/>
                  <a:pt x="28078" y="16961"/>
                </a:cubicBezTo>
                <a:cubicBezTo>
                  <a:pt x="27907" y="17868"/>
                  <a:pt x="27624" y="18776"/>
                  <a:pt x="27283" y="19627"/>
                </a:cubicBezTo>
                <a:cubicBezTo>
                  <a:pt x="26943" y="20477"/>
                  <a:pt x="26489" y="21328"/>
                  <a:pt x="25979" y="22066"/>
                </a:cubicBezTo>
                <a:cubicBezTo>
                  <a:pt x="25468" y="22860"/>
                  <a:pt x="24901" y="23597"/>
                  <a:pt x="24220" y="24221"/>
                </a:cubicBezTo>
                <a:cubicBezTo>
                  <a:pt x="23540" y="24902"/>
                  <a:pt x="22859" y="25469"/>
                  <a:pt x="22065" y="25979"/>
                </a:cubicBezTo>
                <a:cubicBezTo>
                  <a:pt x="21271" y="26490"/>
                  <a:pt x="20477" y="26944"/>
                  <a:pt x="19626" y="27284"/>
                </a:cubicBezTo>
                <a:cubicBezTo>
                  <a:pt x="18775" y="27681"/>
                  <a:pt x="17868" y="27908"/>
                  <a:pt x="16960" y="28135"/>
                </a:cubicBezTo>
                <a:cubicBezTo>
                  <a:pt x="16052" y="28305"/>
                  <a:pt x="15088" y="28418"/>
                  <a:pt x="14181" y="28418"/>
                </a:cubicBezTo>
                <a:cubicBezTo>
                  <a:pt x="10437" y="28418"/>
                  <a:pt x="6807" y="26887"/>
                  <a:pt x="4141" y="24221"/>
                </a:cubicBezTo>
                <a:cubicBezTo>
                  <a:pt x="3517" y="23597"/>
                  <a:pt x="2893" y="22860"/>
                  <a:pt x="2382" y="22066"/>
                </a:cubicBezTo>
                <a:cubicBezTo>
                  <a:pt x="1872" y="21328"/>
                  <a:pt x="1475" y="20477"/>
                  <a:pt x="1078" y="19627"/>
                </a:cubicBezTo>
                <a:cubicBezTo>
                  <a:pt x="737" y="18776"/>
                  <a:pt x="454" y="17868"/>
                  <a:pt x="284" y="16961"/>
                </a:cubicBezTo>
                <a:cubicBezTo>
                  <a:pt x="114" y="16053"/>
                  <a:pt x="0" y="15145"/>
                  <a:pt x="0" y="14181"/>
                </a:cubicBezTo>
                <a:cubicBezTo>
                  <a:pt x="0" y="10494"/>
                  <a:pt x="1532" y="6807"/>
                  <a:pt x="4141" y="4198"/>
                </a:cubicBezTo>
                <a:cubicBezTo>
                  <a:pt x="7431" y="908"/>
                  <a:pt x="12365" y="-623"/>
                  <a:pt x="16960" y="341"/>
                </a:cubicBezTo>
                <a:close/>
                <a:moveTo>
                  <a:pt x="601936" y="284"/>
                </a:moveTo>
                <a:cubicBezTo>
                  <a:pt x="602843" y="511"/>
                  <a:pt x="603751" y="738"/>
                  <a:pt x="604602" y="1135"/>
                </a:cubicBezTo>
                <a:cubicBezTo>
                  <a:pt x="605453" y="1475"/>
                  <a:pt x="606247" y="1929"/>
                  <a:pt x="607041" y="2439"/>
                </a:cubicBezTo>
                <a:cubicBezTo>
                  <a:pt x="607835" y="2950"/>
                  <a:pt x="608515" y="3517"/>
                  <a:pt x="609196" y="4198"/>
                </a:cubicBezTo>
                <a:cubicBezTo>
                  <a:pt x="609820" y="4822"/>
                  <a:pt x="610444" y="5559"/>
                  <a:pt x="610955" y="6353"/>
                </a:cubicBezTo>
                <a:cubicBezTo>
                  <a:pt x="611465" y="7090"/>
                  <a:pt x="611919" y="7941"/>
                  <a:pt x="612259" y="8792"/>
                </a:cubicBezTo>
                <a:cubicBezTo>
                  <a:pt x="612600" y="9643"/>
                  <a:pt x="612883" y="10551"/>
                  <a:pt x="613054" y="11458"/>
                </a:cubicBezTo>
                <a:cubicBezTo>
                  <a:pt x="613280" y="12366"/>
                  <a:pt x="613337" y="13273"/>
                  <a:pt x="613337" y="14237"/>
                </a:cubicBezTo>
                <a:cubicBezTo>
                  <a:pt x="613337" y="17924"/>
                  <a:pt x="611805" y="21611"/>
                  <a:pt x="609196" y="24221"/>
                </a:cubicBezTo>
                <a:cubicBezTo>
                  <a:pt x="608515" y="24901"/>
                  <a:pt x="607835" y="25469"/>
                  <a:pt x="607041" y="25979"/>
                </a:cubicBezTo>
                <a:cubicBezTo>
                  <a:pt x="606247" y="26489"/>
                  <a:pt x="605453" y="26943"/>
                  <a:pt x="604602" y="27284"/>
                </a:cubicBezTo>
                <a:cubicBezTo>
                  <a:pt x="603751" y="27681"/>
                  <a:pt x="602843" y="27908"/>
                  <a:pt x="601936" y="28134"/>
                </a:cubicBezTo>
                <a:cubicBezTo>
                  <a:pt x="601028" y="28305"/>
                  <a:pt x="600064" y="28418"/>
                  <a:pt x="599157" y="28418"/>
                </a:cubicBezTo>
                <a:cubicBezTo>
                  <a:pt x="595413" y="28418"/>
                  <a:pt x="591783" y="26887"/>
                  <a:pt x="589117" y="24221"/>
                </a:cubicBezTo>
                <a:cubicBezTo>
                  <a:pt x="588493" y="23597"/>
                  <a:pt x="587869" y="22859"/>
                  <a:pt x="587358" y="22065"/>
                </a:cubicBezTo>
                <a:cubicBezTo>
                  <a:pt x="586848" y="21328"/>
                  <a:pt x="586394" y="20477"/>
                  <a:pt x="586054" y="19626"/>
                </a:cubicBezTo>
                <a:cubicBezTo>
                  <a:pt x="585713" y="18775"/>
                  <a:pt x="585430" y="17868"/>
                  <a:pt x="585260" y="16960"/>
                </a:cubicBezTo>
                <a:cubicBezTo>
                  <a:pt x="585090" y="16053"/>
                  <a:pt x="584976" y="15145"/>
                  <a:pt x="584976" y="14237"/>
                </a:cubicBezTo>
                <a:cubicBezTo>
                  <a:pt x="584976" y="13273"/>
                  <a:pt x="585090" y="12366"/>
                  <a:pt x="585260" y="11458"/>
                </a:cubicBezTo>
                <a:cubicBezTo>
                  <a:pt x="585430" y="10551"/>
                  <a:pt x="585713" y="9643"/>
                  <a:pt x="586054" y="8792"/>
                </a:cubicBezTo>
                <a:cubicBezTo>
                  <a:pt x="586394" y="7941"/>
                  <a:pt x="586848" y="7090"/>
                  <a:pt x="587358" y="6353"/>
                </a:cubicBezTo>
                <a:cubicBezTo>
                  <a:pt x="587869" y="5559"/>
                  <a:pt x="588493" y="4822"/>
                  <a:pt x="589117" y="4198"/>
                </a:cubicBezTo>
                <a:cubicBezTo>
                  <a:pt x="592463" y="908"/>
                  <a:pt x="597341" y="-624"/>
                  <a:pt x="601936" y="284"/>
                </a:cubicBezTo>
                <a:close/>
                <a:moveTo>
                  <a:pt x="534152" y="0"/>
                </a:moveTo>
                <a:cubicBezTo>
                  <a:pt x="541980" y="0"/>
                  <a:pt x="548332" y="6353"/>
                  <a:pt x="548332" y="14237"/>
                </a:cubicBezTo>
                <a:cubicBezTo>
                  <a:pt x="548332" y="22065"/>
                  <a:pt x="541980" y="28418"/>
                  <a:pt x="534152" y="28418"/>
                </a:cubicBezTo>
                <a:cubicBezTo>
                  <a:pt x="526324" y="28418"/>
                  <a:pt x="519971" y="22065"/>
                  <a:pt x="519971" y="14237"/>
                </a:cubicBezTo>
                <a:cubicBezTo>
                  <a:pt x="519971" y="6353"/>
                  <a:pt x="526324" y="0"/>
                  <a:pt x="534152" y="0"/>
                </a:cubicBezTo>
                <a:close/>
                <a:moveTo>
                  <a:pt x="469148" y="0"/>
                </a:moveTo>
                <a:cubicBezTo>
                  <a:pt x="476976" y="0"/>
                  <a:pt x="483329" y="6353"/>
                  <a:pt x="483329" y="14237"/>
                </a:cubicBezTo>
                <a:cubicBezTo>
                  <a:pt x="483329" y="22065"/>
                  <a:pt x="476976" y="28418"/>
                  <a:pt x="469148" y="28418"/>
                </a:cubicBezTo>
                <a:cubicBezTo>
                  <a:pt x="461321" y="28418"/>
                  <a:pt x="454968" y="22065"/>
                  <a:pt x="454968" y="14237"/>
                </a:cubicBezTo>
                <a:cubicBezTo>
                  <a:pt x="454968" y="6353"/>
                  <a:pt x="461321" y="0"/>
                  <a:pt x="469148" y="0"/>
                </a:cubicBezTo>
                <a:close/>
                <a:moveTo>
                  <a:pt x="404145" y="0"/>
                </a:moveTo>
                <a:cubicBezTo>
                  <a:pt x="412029" y="0"/>
                  <a:pt x="418382" y="6353"/>
                  <a:pt x="418382" y="14237"/>
                </a:cubicBezTo>
                <a:cubicBezTo>
                  <a:pt x="418382" y="22065"/>
                  <a:pt x="412029" y="28418"/>
                  <a:pt x="404145" y="28418"/>
                </a:cubicBezTo>
                <a:cubicBezTo>
                  <a:pt x="396317" y="28418"/>
                  <a:pt x="390021" y="22065"/>
                  <a:pt x="390021" y="14237"/>
                </a:cubicBezTo>
                <a:cubicBezTo>
                  <a:pt x="390021" y="6353"/>
                  <a:pt x="396317" y="0"/>
                  <a:pt x="404145" y="0"/>
                </a:cubicBezTo>
                <a:close/>
                <a:moveTo>
                  <a:pt x="339198" y="0"/>
                </a:moveTo>
                <a:cubicBezTo>
                  <a:pt x="347025" y="0"/>
                  <a:pt x="353378" y="6353"/>
                  <a:pt x="353378" y="14237"/>
                </a:cubicBezTo>
                <a:cubicBezTo>
                  <a:pt x="353378" y="22065"/>
                  <a:pt x="347025" y="28418"/>
                  <a:pt x="339198" y="28418"/>
                </a:cubicBezTo>
                <a:cubicBezTo>
                  <a:pt x="331370" y="28418"/>
                  <a:pt x="325017" y="22065"/>
                  <a:pt x="325017" y="14237"/>
                </a:cubicBezTo>
                <a:cubicBezTo>
                  <a:pt x="325017" y="6353"/>
                  <a:pt x="331370" y="0"/>
                  <a:pt x="339198" y="0"/>
                </a:cubicBezTo>
                <a:close/>
                <a:moveTo>
                  <a:pt x="274194" y="0"/>
                </a:moveTo>
                <a:cubicBezTo>
                  <a:pt x="282022" y="0"/>
                  <a:pt x="288375" y="6353"/>
                  <a:pt x="288375" y="14237"/>
                </a:cubicBezTo>
                <a:cubicBezTo>
                  <a:pt x="288375" y="22065"/>
                  <a:pt x="282022" y="28418"/>
                  <a:pt x="274194" y="28418"/>
                </a:cubicBezTo>
                <a:cubicBezTo>
                  <a:pt x="266367" y="28418"/>
                  <a:pt x="260014" y="22065"/>
                  <a:pt x="260014" y="14237"/>
                </a:cubicBezTo>
                <a:cubicBezTo>
                  <a:pt x="260014" y="6353"/>
                  <a:pt x="266367" y="0"/>
                  <a:pt x="274194" y="0"/>
                </a:cubicBezTo>
                <a:close/>
                <a:moveTo>
                  <a:pt x="209191" y="0"/>
                </a:moveTo>
                <a:cubicBezTo>
                  <a:pt x="217018" y="0"/>
                  <a:pt x="223371" y="6353"/>
                  <a:pt x="223371" y="14237"/>
                </a:cubicBezTo>
                <a:cubicBezTo>
                  <a:pt x="223371" y="22065"/>
                  <a:pt x="217018" y="28418"/>
                  <a:pt x="209191" y="28418"/>
                </a:cubicBezTo>
                <a:cubicBezTo>
                  <a:pt x="201363" y="28418"/>
                  <a:pt x="195010" y="22065"/>
                  <a:pt x="195010" y="14237"/>
                </a:cubicBezTo>
                <a:cubicBezTo>
                  <a:pt x="195010" y="6353"/>
                  <a:pt x="201363" y="0"/>
                  <a:pt x="209191" y="0"/>
                </a:cubicBezTo>
                <a:close/>
                <a:moveTo>
                  <a:pt x="144187" y="0"/>
                </a:moveTo>
                <a:cubicBezTo>
                  <a:pt x="152015" y="0"/>
                  <a:pt x="158367" y="6353"/>
                  <a:pt x="158367" y="14237"/>
                </a:cubicBezTo>
                <a:cubicBezTo>
                  <a:pt x="158367" y="22065"/>
                  <a:pt x="152015" y="28418"/>
                  <a:pt x="144187" y="28418"/>
                </a:cubicBezTo>
                <a:cubicBezTo>
                  <a:pt x="136359" y="28418"/>
                  <a:pt x="130006" y="22065"/>
                  <a:pt x="130006" y="14237"/>
                </a:cubicBezTo>
                <a:cubicBezTo>
                  <a:pt x="130006" y="6353"/>
                  <a:pt x="136359" y="0"/>
                  <a:pt x="144187" y="0"/>
                </a:cubicBezTo>
                <a:close/>
                <a:moveTo>
                  <a:pt x="79184" y="0"/>
                </a:moveTo>
                <a:cubicBezTo>
                  <a:pt x="87011" y="0"/>
                  <a:pt x="93364" y="6353"/>
                  <a:pt x="93364" y="14237"/>
                </a:cubicBezTo>
                <a:cubicBezTo>
                  <a:pt x="93364" y="22065"/>
                  <a:pt x="87011" y="28418"/>
                  <a:pt x="79184" y="28418"/>
                </a:cubicBezTo>
                <a:cubicBezTo>
                  <a:pt x="71356" y="28418"/>
                  <a:pt x="65003" y="22065"/>
                  <a:pt x="65003" y="14237"/>
                </a:cubicBezTo>
                <a:cubicBezTo>
                  <a:pt x="65003" y="6353"/>
                  <a:pt x="71356" y="0"/>
                  <a:pt x="79184" y="0"/>
                </a:cubicBezTo>
                <a:close/>
              </a:path>
            </a:pathLst>
          </a:custGeom>
          <a:solidFill>
            <a:srgbClr val="FFFFFF"/>
          </a:solidFill>
          <a:ln w="0" cap="flat">
            <a:noFill/>
            <a:prstDash val="solid"/>
            <a:miter/>
          </a:ln>
        </p:spPr>
        <p:txBody>
          <a:bodyPr rtlCol="0" anchor="ctr"/>
          <a:lstStyle/>
          <a:p>
            <a:endParaRPr lang="sv-SE"/>
          </a:p>
        </p:txBody>
      </p:sp>
      <p:pic>
        <p:nvPicPr>
          <p:cNvPr id="6" name="Graphic 5" hidden="1">
            <a:extLst>
              <a:ext uri="{FF2B5EF4-FFF2-40B4-BE49-F238E27FC236}">
                <a16:creationId xmlns:a16="http://schemas.microsoft.com/office/drawing/2014/main" id="{2AB01A19-5F71-F1CC-4290-6C07E20854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00400" y="743274"/>
            <a:ext cx="10890657" cy="6125995"/>
          </a:xfrm>
          <a:prstGeom prst="rect">
            <a:avLst/>
          </a:prstGeom>
        </p:spPr>
      </p:pic>
      <p:grpSp>
        <p:nvGrpSpPr>
          <p:cNvPr id="448" name="Group 447">
            <a:extLst>
              <a:ext uri="{FF2B5EF4-FFF2-40B4-BE49-F238E27FC236}">
                <a16:creationId xmlns:a16="http://schemas.microsoft.com/office/drawing/2014/main" id="{0E7CBF92-64D9-EEF7-D0F8-4D3623732549}"/>
              </a:ext>
            </a:extLst>
          </p:cNvPr>
          <p:cNvGrpSpPr/>
          <p:nvPr/>
        </p:nvGrpSpPr>
        <p:grpSpPr>
          <a:xfrm flipH="1">
            <a:off x="7828575" y="3680821"/>
            <a:ext cx="346253" cy="80711"/>
            <a:chOff x="4571685" y="3680821"/>
            <a:chExt cx="346253" cy="80711"/>
          </a:xfrm>
        </p:grpSpPr>
        <p:sp>
          <p:nvSpPr>
            <p:cNvPr id="449" name="Freeform 448">
              <a:extLst>
                <a:ext uri="{FF2B5EF4-FFF2-40B4-BE49-F238E27FC236}">
                  <a16:creationId xmlns:a16="http://schemas.microsoft.com/office/drawing/2014/main" id="{9C971A36-D131-D293-E9EB-EAD7CA5A279F}"/>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DAA48"/>
              </a:solidFill>
              <a:prstDash val="solid"/>
              <a:miter/>
            </a:ln>
          </p:spPr>
          <p:txBody>
            <a:bodyPr rtlCol="0" anchor="ctr"/>
            <a:lstStyle/>
            <a:p>
              <a:endParaRPr lang="sv-SE"/>
            </a:p>
          </p:txBody>
        </p:sp>
        <p:sp>
          <p:nvSpPr>
            <p:cNvPr id="450" name="Freeform 449">
              <a:extLst>
                <a:ext uri="{FF2B5EF4-FFF2-40B4-BE49-F238E27FC236}">
                  <a16:creationId xmlns:a16="http://schemas.microsoft.com/office/drawing/2014/main" id="{B68B836A-C46D-A6E6-623E-16FA0E20B54B}"/>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DAA48"/>
              </a:solidFill>
              <a:prstDash val="solid"/>
              <a:miter/>
            </a:ln>
          </p:spPr>
          <p:txBody>
            <a:bodyPr rtlCol="0" anchor="ctr"/>
            <a:lstStyle/>
            <a:p>
              <a:endParaRPr lang="sv-SE"/>
            </a:p>
          </p:txBody>
        </p:sp>
      </p:grpSp>
      <p:sp>
        <p:nvSpPr>
          <p:cNvPr id="387" name="Freeform 386">
            <a:extLst>
              <a:ext uri="{FF2B5EF4-FFF2-40B4-BE49-F238E27FC236}">
                <a16:creationId xmlns:a16="http://schemas.microsoft.com/office/drawing/2014/main" id="{FB68D370-27A0-9CBA-C22F-8851F0D21F7E}"/>
              </a:ext>
            </a:extLst>
          </p:cNvPr>
          <p:cNvSpPr/>
          <p:nvPr/>
        </p:nvSpPr>
        <p:spPr>
          <a:xfrm>
            <a:off x="6468981" y="3206831"/>
            <a:ext cx="554232" cy="484861"/>
          </a:xfrm>
          <a:custGeom>
            <a:avLst/>
            <a:gdLst>
              <a:gd name="connsiteX0" fmla="*/ 441015 w 554232"/>
              <a:gd name="connsiteY0" fmla="*/ 0 h 484861"/>
              <a:gd name="connsiteX1" fmla="*/ 554232 w 554232"/>
              <a:gd name="connsiteY1" fmla="*/ 95463 h 484861"/>
              <a:gd name="connsiteX2" fmla="*/ 554232 w 554232"/>
              <a:gd name="connsiteY2" fmla="*/ 484861 h 484861"/>
              <a:gd name="connsiteX3" fmla="*/ 0 w 554232"/>
              <a:gd name="connsiteY3" fmla="*/ 484861 h 484861"/>
              <a:gd name="connsiteX4" fmla="*/ 0 w 554232"/>
              <a:gd name="connsiteY4" fmla="*/ 0 h 484861"/>
              <a:gd name="connsiteX5" fmla="*/ 441015 w 554232"/>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32" h="484861">
                <a:moveTo>
                  <a:pt x="441015" y="0"/>
                </a:moveTo>
                <a:lnTo>
                  <a:pt x="554232" y="95463"/>
                </a:lnTo>
                <a:lnTo>
                  <a:pt x="554232" y="484861"/>
                </a:lnTo>
                <a:lnTo>
                  <a:pt x="0" y="484861"/>
                </a:lnTo>
                <a:lnTo>
                  <a:pt x="0" y="0"/>
                </a:lnTo>
                <a:lnTo>
                  <a:pt x="441015" y="0"/>
                </a:lnTo>
                <a:close/>
              </a:path>
            </a:pathLst>
          </a:custGeom>
          <a:solidFill>
            <a:schemeClr val="accent5"/>
          </a:solidFill>
          <a:ln w="11341" cap="flat">
            <a:solidFill>
              <a:srgbClr val="FFFFFF"/>
            </a:solidFill>
            <a:prstDash val="solid"/>
            <a:miter/>
          </a:ln>
        </p:spPr>
        <p:txBody>
          <a:bodyPr rtlCol="0" anchor="ctr"/>
          <a:lstStyle/>
          <a:p>
            <a:endParaRPr lang="sv-SE"/>
          </a:p>
        </p:txBody>
      </p:sp>
      <p:grpSp>
        <p:nvGrpSpPr>
          <p:cNvPr id="447" name="Group 446">
            <a:extLst>
              <a:ext uri="{FF2B5EF4-FFF2-40B4-BE49-F238E27FC236}">
                <a16:creationId xmlns:a16="http://schemas.microsoft.com/office/drawing/2014/main" id="{B4A159A9-EFFF-4DDA-5026-07CE9E2FA348}"/>
              </a:ext>
            </a:extLst>
          </p:cNvPr>
          <p:cNvGrpSpPr/>
          <p:nvPr/>
        </p:nvGrpSpPr>
        <p:grpSpPr>
          <a:xfrm>
            <a:off x="6125584" y="3335590"/>
            <a:ext cx="804547" cy="253775"/>
            <a:chOff x="6125584" y="3335590"/>
            <a:chExt cx="804547" cy="253775"/>
          </a:xfrm>
        </p:grpSpPr>
        <p:sp>
          <p:nvSpPr>
            <p:cNvPr id="388" name="Freeform 387">
              <a:extLst>
                <a:ext uri="{FF2B5EF4-FFF2-40B4-BE49-F238E27FC236}">
                  <a16:creationId xmlns:a16="http://schemas.microsoft.com/office/drawing/2014/main" id="{C96AD735-02D4-F88A-A204-D10EEF1ADEC2}"/>
                </a:ext>
              </a:extLst>
            </p:cNvPr>
            <p:cNvSpPr/>
            <p:nvPr/>
          </p:nvSpPr>
          <p:spPr>
            <a:xfrm>
              <a:off x="6179187" y="3335590"/>
              <a:ext cx="76915" cy="253775"/>
            </a:xfrm>
            <a:custGeom>
              <a:avLst/>
              <a:gdLst>
                <a:gd name="connsiteX0" fmla="*/ 76915 w 76915"/>
                <a:gd name="connsiteY0" fmla="*/ 232107 h 253775"/>
                <a:gd name="connsiteX1" fmla="*/ 49292 w 76915"/>
                <a:gd name="connsiteY1" fmla="*/ 253775 h 253775"/>
                <a:gd name="connsiteX2" fmla="*/ 0 w 76915"/>
                <a:gd name="connsiteY2" fmla="*/ 126888 h 253775"/>
                <a:gd name="connsiteX3" fmla="*/ 39422 w 76915"/>
                <a:gd name="connsiteY3" fmla="*/ 2553 h 253775"/>
                <a:gd name="connsiteX4" fmla="*/ 46229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76915" y="232107"/>
                  </a:moveTo>
                  <a:cubicBezTo>
                    <a:pt x="69031" y="245777"/>
                    <a:pt x="59558" y="253775"/>
                    <a:pt x="49292" y="253775"/>
                  </a:cubicBezTo>
                  <a:cubicBezTo>
                    <a:pt x="22065" y="253775"/>
                    <a:pt x="0" y="196996"/>
                    <a:pt x="0" y="126888"/>
                  </a:cubicBezTo>
                  <a:cubicBezTo>
                    <a:pt x="0" y="65571"/>
                    <a:pt x="16903" y="14464"/>
                    <a:pt x="39422" y="2553"/>
                  </a:cubicBezTo>
                  <a:cubicBezTo>
                    <a:pt x="39422" y="2553"/>
                    <a:pt x="44073" y="0"/>
                    <a:pt x="46229" y="0"/>
                  </a:cubicBezTo>
                </a:path>
              </a:pathLst>
            </a:custGeom>
            <a:noFill/>
            <a:ln w="9525" cap="flat">
              <a:solidFill>
                <a:srgbClr val="FFFFFF"/>
              </a:solidFill>
              <a:prstDash val="solid"/>
              <a:round/>
            </a:ln>
          </p:spPr>
          <p:txBody>
            <a:bodyPr rtlCol="0" anchor="ctr"/>
            <a:lstStyle/>
            <a:p>
              <a:endParaRPr lang="sv-SE"/>
            </a:p>
          </p:txBody>
        </p:sp>
        <p:sp>
          <p:nvSpPr>
            <p:cNvPr id="389" name="Freeform 388">
              <a:extLst>
                <a:ext uri="{FF2B5EF4-FFF2-40B4-BE49-F238E27FC236}">
                  <a16:creationId xmlns:a16="http://schemas.microsoft.com/office/drawing/2014/main" id="{0930FE1B-F0BB-8E3A-DA18-4AEAED32A107}"/>
                </a:ext>
              </a:extLst>
            </p:cNvPr>
            <p:cNvSpPr/>
            <p:nvPr/>
          </p:nvSpPr>
          <p:spPr>
            <a:xfrm>
              <a:off x="6161319" y="3335590"/>
              <a:ext cx="94215" cy="253775"/>
            </a:xfrm>
            <a:custGeom>
              <a:avLst/>
              <a:gdLst>
                <a:gd name="connsiteX0" fmla="*/ 94216 w 94215"/>
                <a:gd name="connsiteY0" fmla="*/ 20704 h 253775"/>
                <a:gd name="connsiteX1" fmla="*/ 67159 w 94215"/>
                <a:gd name="connsiteY1" fmla="*/ 0 h 253775"/>
                <a:gd name="connsiteX2" fmla="*/ 49292 w 94215"/>
                <a:gd name="connsiteY2" fmla="*/ 0 h 253775"/>
                <a:gd name="connsiteX3" fmla="*/ 0 w 94215"/>
                <a:gd name="connsiteY3" fmla="*/ 126888 h 253775"/>
                <a:gd name="connsiteX4" fmla="*/ 49292 w 94215"/>
                <a:gd name="connsiteY4" fmla="*/ 253775 h 253775"/>
                <a:gd name="connsiteX5" fmla="*/ 67159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94216" y="20704"/>
                  </a:moveTo>
                  <a:cubicBezTo>
                    <a:pt x="86445" y="7601"/>
                    <a:pt x="77199" y="0"/>
                    <a:pt x="67159" y="0"/>
                  </a:cubicBezTo>
                  <a:lnTo>
                    <a:pt x="49292" y="0"/>
                  </a:lnTo>
                  <a:cubicBezTo>
                    <a:pt x="22065" y="0"/>
                    <a:pt x="0" y="56779"/>
                    <a:pt x="0" y="126888"/>
                  </a:cubicBezTo>
                  <a:cubicBezTo>
                    <a:pt x="0" y="196996"/>
                    <a:pt x="22122" y="253775"/>
                    <a:pt x="49292" y="253775"/>
                  </a:cubicBezTo>
                  <a:lnTo>
                    <a:pt x="67159" y="253775"/>
                  </a:lnTo>
                </a:path>
              </a:pathLst>
            </a:custGeom>
            <a:noFill/>
            <a:ln w="9525" cap="flat">
              <a:solidFill>
                <a:srgbClr val="FFFFFF"/>
              </a:solidFill>
              <a:prstDash val="solid"/>
              <a:round/>
            </a:ln>
          </p:spPr>
          <p:txBody>
            <a:bodyPr rtlCol="0" anchor="ctr"/>
            <a:lstStyle/>
            <a:p>
              <a:endParaRPr lang="sv-SE"/>
            </a:p>
          </p:txBody>
        </p:sp>
        <p:sp>
          <p:nvSpPr>
            <p:cNvPr id="390" name="Freeform 389">
              <a:extLst>
                <a:ext uri="{FF2B5EF4-FFF2-40B4-BE49-F238E27FC236}">
                  <a16:creationId xmlns:a16="http://schemas.microsoft.com/office/drawing/2014/main" id="{331D91B5-4130-DF36-8557-E8B43256D085}"/>
                </a:ext>
              </a:extLst>
            </p:cNvPr>
            <p:cNvSpPr/>
            <p:nvPr/>
          </p:nvSpPr>
          <p:spPr>
            <a:xfrm>
              <a:off x="6799331" y="3335590"/>
              <a:ext cx="76915" cy="253775"/>
            </a:xfrm>
            <a:custGeom>
              <a:avLst/>
              <a:gdLst>
                <a:gd name="connsiteX0" fmla="*/ 0 w 76915"/>
                <a:gd name="connsiteY0" fmla="*/ 232107 h 253775"/>
                <a:gd name="connsiteX1" fmla="*/ 27624 w 76915"/>
                <a:gd name="connsiteY1" fmla="*/ 253775 h 253775"/>
                <a:gd name="connsiteX2" fmla="*/ 76915 w 76915"/>
                <a:gd name="connsiteY2" fmla="*/ 126888 h 253775"/>
                <a:gd name="connsiteX3" fmla="*/ 37493 w 76915"/>
                <a:gd name="connsiteY3" fmla="*/ 2553 h 253775"/>
                <a:gd name="connsiteX4" fmla="*/ 30687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0" y="232107"/>
                  </a:moveTo>
                  <a:cubicBezTo>
                    <a:pt x="7884" y="245777"/>
                    <a:pt x="17357" y="253775"/>
                    <a:pt x="27624" y="253775"/>
                  </a:cubicBezTo>
                  <a:cubicBezTo>
                    <a:pt x="54850" y="253775"/>
                    <a:pt x="76915" y="196996"/>
                    <a:pt x="76915" y="126888"/>
                  </a:cubicBezTo>
                  <a:cubicBezTo>
                    <a:pt x="76915" y="65571"/>
                    <a:pt x="60012" y="14464"/>
                    <a:pt x="37493" y="2553"/>
                  </a:cubicBezTo>
                  <a:cubicBezTo>
                    <a:pt x="37493" y="2553"/>
                    <a:pt x="32842" y="0"/>
                    <a:pt x="30687" y="0"/>
                  </a:cubicBezTo>
                </a:path>
              </a:pathLst>
            </a:custGeom>
            <a:noFill/>
            <a:ln w="9525" cap="flat">
              <a:solidFill>
                <a:srgbClr val="FFFFFF"/>
              </a:solidFill>
              <a:prstDash val="solid"/>
              <a:round/>
            </a:ln>
          </p:spPr>
          <p:txBody>
            <a:bodyPr rtlCol="0" anchor="ctr"/>
            <a:lstStyle/>
            <a:p>
              <a:endParaRPr lang="sv-SE"/>
            </a:p>
          </p:txBody>
        </p:sp>
        <p:sp>
          <p:nvSpPr>
            <p:cNvPr id="391" name="Freeform 390">
              <a:extLst>
                <a:ext uri="{FF2B5EF4-FFF2-40B4-BE49-F238E27FC236}">
                  <a16:creationId xmlns:a16="http://schemas.microsoft.com/office/drawing/2014/main" id="{A9B3AC27-5DB5-5AE0-4B17-F834FCA7117C}"/>
                </a:ext>
              </a:extLst>
            </p:cNvPr>
            <p:cNvSpPr/>
            <p:nvPr/>
          </p:nvSpPr>
          <p:spPr>
            <a:xfrm>
              <a:off x="6799898" y="3335590"/>
              <a:ext cx="94215" cy="253775"/>
            </a:xfrm>
            <a:custGeom>
              <a:avLst/>
              <a:gdLst>
                <a:gd name="connsiteX0" fmla="*/ 0 w 94215"/>
                <a:gd name="connsiteY0" fmla="*/ 20704 h 253775"/>
                <a:gd name="connsiteX1" fmla="*/ 27057 w 94215"/>
                <a:gd name="connsiteY1" fmla="*/ 0 h 253775"/>
                <a:gd name="connsiteX2" fmla="*/ 44924 w 94215"/>
                <a:gd name="connsiteY2" fmla="*/ 0 h 253775"/>
                <a:gd name="connsiteX3" fmla="*/ 94215 w 94215"/>
                <a:gd name="connsiteY3" fmla="*/ 126888 h 253775"/>
                <a:gd name="connsiteX4" fmla="*/ 44924 w 94215"/>
                <a:gd name="connsiteY4" fmla="*/ 253775 h 253775"/>
                <a:gd name="connsiteX5" fmla="*/ 27057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0" y="20704"/>
                  </a:moveTo>
                  <a:cubicBezTo>
                    <a:pt x="7771" y="7601"/>
                    <a:pt x="17017" y="0"/>
                    <a:pt x="27057" y="0"/>
                  </a:cubicBezTo>
                  <a:lnTo>
                    <a:pt x="44924" y="0"/>
                  </a:lnTo>
                  <a:cubicBezTo>
                    <a:pt x="72151" y="0"/>
                    <a:pt x="94215" y="56779"/>
                    <a:pt x="94215" y="126888"/>
                  </a:cubicBezTo>
                  <a:cubicBezTo>
                    <a:pt x="94215" y="196996"/>
                    <a:pt x="72094" y="253775"/>
                    <a:pt x="44924" y="253775"/>
                  </a:cubicBezTo>
                  <a:lnTo>
                    <a:pt x="27057" y="253775"/>
                  </a:lnTo>
                </a:path>
              </a:pathLst>
            </a:custGeom>
            <a:noFill/>
            <a:ln w="9525" cap="flat">
              <a:solidFill>
                <a:srgbClr val="FFFFFF"/>
              </a:solidFill>
              <a:prstDash val="solid"/>
              <a:round/>
            </a:ln>
          </p:spPr>
          <p:txBody>
            <a:bodyPr rtlCol="0" anchor="ctr"/>
            <a:lstStyle/>
            <a:p>
              <a:endParaRPr lang="sv-SE"/>
            </a:p>
          </p:txBody>
        </p:sp>
        <p:sp>
          <p:nvSpPr>
            <p:cNvPr id="392" name="Freeform 391">
              <a:extLst>
                <a:ext uri="{FF2B5EF4-FFF2-40B4-BE49-F238E27FC236}">
                  <a16:creationId xmlns:a16="http://schemas.microsoft.com/office/drawing/2014/main" id="{CE4B969A-0346-EFDD-26E0-4D8B4461380F}"/>
                </a:ext>
              </a:extLst>
            </p:cNvPr>
            <p:cNvSpPr/>
            <p:nvPr/>
          </p:nvSpPr>
          <p:spPr>
            <a:xfrm>
              <a:off x="6144927" y="3384428"/>
              <a:ext cx="25808" cy="16449"/>
            </a:xfrm>
            <a:custGeom>
              <a:avLst/>
              <a:gdLst>
                <a:gd name="connsiteX0" fmla="*/ 23142 w 25808"/>
                <a:gd name="connsiteY0" fmla="*/ 16449 h 16449"/>
                <a:gd name="connsiteX1" fmla="*/ 0 w 25808"/>
                <a:gd name="connsiteY1" fmla="*/ 16449 h 16449"/>
                <a:gd name="connsiteX2" fmla="*/ 0 w 25808"/>
                <a:gd name="connsiteY2" fmla="*/ 0 h 16449"/>
                <a:gd name="connsiteX3" fmla="*/ 25809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3142" y="16449"/>
                  </a:moveTo>
                  <a:lnTo>
                    <a:pt x="0" y="16449"/>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3" name="Freeform 392">
              <a:extLst>
                <a:ext uri="{FF2B5EF4-FFF2-40B4-BE49-F238E27FC236}">
                  <a16:creationId xmlns:a16="http://schemas.microsoft.com/office/drawing/2014/main" id="{76F78587-8138-2921-4ED7-0D6BE9812AB3}"/>
                </a:ext>
              </a:extLst>
            </p:cNvPr>
            <p:cNvSpPr/>
            <p:nvPr/>
          </p:nvSpPr>
          <p:spPr>
            <a:xfrm>
              <a:off x="6136702" y="343139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4" name="Freeform 393">
              <a:extLst>
                <a:ext uri="{FF2B5EF4-FFF2-40B4-BE49-F238E27FC236}">
                  <a16:creationId xmlns:a16="http://schemas.microsoft.com/office/drawing/2014/main" id="{E2A82179-CF0B-5AC8-8D83-6889D70976C0}"/>
                </a:ext>
              </a:extLst>
            </p:cNvPr>
            <p:cNvSpPr/>
            <p:nvPr/>
          </p:nvSpPr>
          <p:spPr>
            <a:xfrm>
              <a:off x="6136702" y="3477055"/>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5" name="Freeform 394">
              <a:extLst>
                <a:ext uri="{FF2B5EF4-FFF2-40B4-BE49-F238E27FC236}">
                  <a16:creationId xmlns:a16="http://schemas.microsoft.com/office/drawing/2014/main" id="{CB6B5E63-017D-47A0-07FC-EBF9B901CFE8}"/>
                </a:ext>
              </a:extLst>
            </p:cNvPr>
            <p:cNvSpPr/>
            <p:nvPr/>
          </p:nvSpPr>
          <p:spPr>
            <a:xfrm>
              <a:off x="6144927" y="352362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3142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3142" y="0"/>
                  </a:lnTo>
                </a:path>
              </a:pathLst>
            </a:custGeom>
            <a:noFill/>
            <a:ln w="9525" cap="flat">
              <a:solidFill>
                <a:srgbClr val="FFFFFF"/>
              </a:solidFill>
              <a:prstDash val="solid"/>
              <a:round/>
            </a:ln>
          </p:spPr>
          <p:txBody>
            <a:bodyPr rtlCol="0" anchor="ctr"/>
            <a:lstStyle/>
            <a:p>
              <a:endParaRPr lang="sv-SE"/>
            </a:p>
          </p:txBody>
        </p:sp>
        <p:sp>
          <p:nvSpPr>
            <p:cNvPr id="396" name="Freeform 395">
              <a:extLst>
                <a:ext uri="{FF2B5EF4-FFF2-40B4-BE49-F238E27FC236}">
                  <a16:creationId xmlns:a16="http://schemas.microsoft.com/office/drawing/2014/main" id="{216C3E72-1637-E8DB-30F7-21520481A6D1}"/>
                </a:ext>
              </a:extLst>
            </p:cNvPr>
            <p:cNvSpPr/>
            <p:nvPr/>
          </p:nvSpPr>
          <p:spPr>
            <a:xfrm>
              <a:off x="6132051" y="3531849"/>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397" name="Freeform 396">
              <a:extLst>
                <a:ext uri="{FF2B5EF4-FFF2-40B4-BE49-F238E27FC236}">
                  <a16:creationId xmlns:a16="http://schemas.microsoft.com/office/drawing/2014/main" id="{E47A468B-1369-66BC-391A-DAAEA0138DEA}"/>
                </a:ext>
              </a:extLst>
            </p:cNvPr>
            <p:cNvSpPr/>
            <p:nvPr/>
          </p:nvSpPr>
          <p:spPr>
            <a:xfrm>
              <a:off x="6132051" y="339271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398" name="Freeform 397">
              <a:extLst>
                <a:ext uri="{FF2B5EF4-FFF2-40B4-BE49-F238E27FC236}">
                  <a16:creationId xmlns:a16="http://schemas.microsoft.com/office/drawing/2014/main" id="{88AFF20C-0B1A-A26D-7D43-E6D2607B85F6}"/>
                </a:ext>
              </a:extLst>
            </p:cNvPr>
            <p:cNvSpPr/>
            <p:nvPr/>
          </p:nvSpPr>
          <p:spPr>
            <a:xfrm>
              <a:off x="6198813" y="3439619"/>
              <a:ext cx="659451" cy="0"/>
            </a:xfrm>
            <a:custGeom>
              <a:avLst/>
              <a:gdLst>
                <a:gd name="connsiteX0" fmla="*/ 0 w 659451"/>
                <a:gd name="connsiteY0" fmla="*/ 0 h 5672"/>
                <a:gd name="connsiteX1" fmla="*/ 659452 w 659451"/>
                <a:gd name="connsiteY1" fmla="*/ 0 h 5672"/>
              </a:gdLst>
              <a:ahLst/>
              <a:cxnLst>
                <a:cxn ang="0">
                  <a:pos x="connsiteX0" y="connsiteY0"/>
                </a:cxn>
                <a:cxn ang="0">
                  <a:pos x="connsiteX1" y="connsiteY1"/>
                </a:cxn>
              </a:cxnLst>
              <a:rect l="l" t="t" r="r" b="b"/>
              <a:pathLst>
                <a:path w="659451" h="5672">
                  <a:moveTo>
                    <a:pt x="0" y="0"/>
                  </a:moveTo>
                  <a:lnTo>
                    <a:pt x="659452" y="0"/>
                  </a:lnTo>
                </a:path>
              </a:pathLst>
            </a:custGeom>
            <a:ln w="9525" cap="flat">
              <a:solidFill>
                <a:srgbClr val="FFFFFF"/>
              </a:solidFill>
              <a:prstDash val="solid"/>
              <a:miter/>
            </a:ln>
          </p:spPr>
          <p:txBody>
            <a:bodyPr rtlCol="0" anchor="ctr"/>
            <a:lstStyle/>
            <a:p>
              <a:endParaRPr lang="sv-SE"/>
            </a:p>
          </p:txBody>
        </p:sp>
        <p:sp>
          <p:nvSpPr>
            <p:cNvPr id="399" name="Freeform 398">
              <a:extLst>
                <a:ext uri="{FF2B5EF4-FFF2-40B4-BE49-F238E27FC236}">
                  <a16:creationId xmlns:a16="http://schemas.microsoft.com/office/drawing/2014/main" id="{62B84E2B-4E5D-1BAE-3ABF-A7178F793989}"/>
                </a:ext>
              </a:extLst>
            </p:cNvPr>
            <p:cNvSpPr/>
            <p:nvPr/>
          </p:nvSpPr>
          <p:spPr>
            <a:xfrm>
              <a:off x="6197111" y="3485280"/>
              <a:ext cx="660302" cy="0"/>
            </a:xfrm>
            <a:custGeom>
              <a:avLst/>
              <a:gdLst>
                <a:gd name="connsiteX0" fmla="*/ 0 w 660302"/>
                <a:gd name="connsiteY0" fmla="*/ 0 h 5672"/>
                <a:gd name="connsiteX1" fmla="*/ 660303 w 660302"/>
                <a:gd name="connsiteY1" fmla="*/ 0 h 5672"/>
              </a:gdLst>
              <a:ahLst/>
              <a:cxnLst>
                <a:cxn ang="0">
                  <a:pos x="connsiteX0" y="connsiteY0"/>
                </a:cxn>
                <a:cxn ang="0">
                  <a:pos x="connsiteX1" y="connsiteY1"/>
                </a:cxn>
              </a:cxnLst>
              <a:rect l="l" t="t" r="r" b="b"/>
              <a:pathLst>
                <a:path w="660302" h="5672">
                  <a:moveTo>
                    <a:pt x="0" y="0"/>
                  </a:moveTo>
                  <a:lnTo>
                    <a:pt x="660303" y="0"/>
                  </a:lnTo>
                </a:path>
              </a:pathLst>
            </a:custGeom>
            <a:ln w="9525" cap="flat">
              <a:solidFill>
                <a:srgbClr val="FFFFFF"/>
              </a:solidFill>
              <a:prstDash val="solid"/>
              <a:miter/>
            </a:ln>
          </p:spPr>
          <p:txBody>
            <a:bodyPr rtlCol="0" anchor="ctr"/>
            <a:lstStyle/>
            <a:p>
              <a:endParaRPr lang="sv-SE"/>
            </a:p>
          </p:txBody>
        </p:sp>
        <p:sp>
          <p:nvSpPr>
            <p:cNvPr id="400" name="Freeform 399">
              <a:extLst>
                <a:ext uri="{FF2B5EF4-FFF2-40B4-BE49-F238E27FC236}">
                  <a16:creationId xmlns:a16="http://schemas.microsoft.com/office/drawing/2014/main" id="{7CD9183A-F98B-1F99-BBC4-011CB6EE14D7}"/>
                </a:ext>
              </a:extLst>
            </p:cNvPr>
            <p:cNvSpPr/>
            <p:nvPr/>
          </p:nvSpPr>
          <p:spPr>
            <a:xfrm>
              <a:off x="6125584"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1" name="Freeform 400">
              <a:extLst>
                <a:ext uri="{FF2B5EF4-FFF2-40B4-BE49-F238E27FC236}">
                  <a16:creationId xmlns:a16="http://schemas.microsoft.com/office/drawing/2014/main" id="{1FB73D05-ECFA-79C6-F721-8765AE46A478}"/>
                </a:ext>
              </a:extLst>
            </p:cNvPr>
            <p:cNvSpPr/>
            <p:nvPr/>
          </p:nvSpPr>
          <p:spPr>
            <a:xfrm>
              <a:off x="6125584" y="348528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402" name="Freeform 401">
              <a:extLst>
                <a:ext uri="{FF2B5EF4-FFF2-40B4-BE49-F238E27FC236}">
                  <a16:creationId xmlns:a16="http://schemas.microsoft.com/office/drawing/2014/main" id="{7EDADEFF-FF5A-FFB0-D368-83D8E0965ECB}"/>
                </a:ext>
              </a:extLst>
            </p:cNvPr>
            <p:cNvSpPr/>
            <p:nvPr/>
          </p:nvSpPr>
          <p:spPr>
            <a:xfrm>
              <a:off x="6885038" y="3384428"/>
              <a:ext cx="25808" cy="16449"/>
            </a:xfrm>
            <a:custGeom>
              <a:avLst/>
              <a:gdLst>
                <a:gd name="connsiteX0" fmla="*/ 2666 w 25808"/>
                <a:gd name="connsiteY0" fmla="*/ 16449 h 16449"/>
                <a:gd name="connsiteX1" fmla="*/ 25809 w 25808"/>
                <a:gd name="connsiteY1" fmla="*/ 16449 h 16449"/>
                <a:gd name="connsiteX2" fmla="*/ 25809 w 25808"/>
                <a:gd name="connsiteY2" fmla="*/ 0 h 16449"/>
                <a:gd name="connsiteX3" fmla="*/ 0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666" y="16449"/>
                  </a:moveTo>
                  <a:lnTo>
                    <a:pt x="25809" y="16449"/>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3" name="Freeform 402">
              <a:extLst>
                <a:ext uri="{FF2B5EF4-FFF2-40B4-BE49-F238E27FC236}">
                  <a16:creationId xmlns:a16="http://schemas.microsoft.com/office/drawing/2014/main" id="{73DF378E-FC5C-E3DD-17CD-AC7F5B2B5AD5}"/>
                </a:ext>
              </a:extLst>
            </p:cNvPr>
            <p:cNvSpPr/>
            <p:nvPr/>
          </p:nvSpPr>
          <p:spPr>
            <a:xfrm>
              <a:off x="6893206" y="343139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4" name="Freeform 403">
              <a:extLst>
                <a:ext uri="{FF2B5EF4-FFF2-40B4-BE49-F238E27FC236}">
                  <a16:creationId xmlns:a16="http://schemas.microsoft.com/office/drawing/2014/main" id="{07960862-7F2D-F7AC-5D61-09B9BBE66F43}"/>
                </a:ext>
              </a:extLst>
            </p:cNvPr>
            <p:cNvSpPr/>
            <p:nvPr/>
          </p:nvSpPr>
          <p:spPr>
            <a:xfrm>
              <a:off x="6893206" y="3477055"/>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5" name="Freeform 404">
              <a:extLst>
                <a:ext uri="{FF2B5EF4-FFF2-40B4-BE49-F238E27FC236}">
                  <a16:creationId xmlns:a16="http://schemas.microsoft.com/office/drawing/2014/main" id="{3C05F71E-DD0A-4FC3-2FB6-BB460E059D8A}"/>
                </a:ext>
              </a:extLst>
            </p:cNvPr>
            <p:cNvSpPr/>
            <p:nvPr/>
          </p:nvSpPr>
          <p:spPr>
            <a:xfrm>
              <a:off x="6885038" y="352362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2666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2666" y="0"/>
                  </a:lnTo>
                </a:path>
              </a:pathLst>
            </a:custGeom>
            <a:noFill/>
            <a:ln w="9525" cap="flat">
              <a:solidFill>
                <a:srgbClr val="FFFFFF"/>
              </a:solidFill>
              <a:prstDash val="solid"/>
              <a:round/>
            </a:ln>
          </p:spPr>
          <p:txBody>
            <a:bodyPr rtlCol="0" anchor="ctr"/>
            <a:lstStyle/>
            <a:p>
              <a:endParaRPr lang="sv-SE"/>
            </a:p>
          </p:txBody>
        </p:sp>
        <p:sp>
          <p:nvSpPr>
            <p:cNvPr id="406" name="Freeform 405">
              <a:extLst>
                <a:ext uri="{FF2B5EF4-FFF2-40B4-BE49-F238E27FC236}">
                  <a16:creationId xmlns:a16="http://schemas.microsoft.com/office/drawing/2014/main" id="{7CDDA125-2807-A7D1-ED9A-DE0AD5E82187}"/>
                </a:ext>
              </a:extLst>
            </p:cNvPr>
            <p:cNvSpPr/>
            <p:nvPr/>
          </p:nvSpPr>
          <p:spPr>
            <a:xfrm>
              <a:off x="6911867" y="353184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7" name="Freeform 406">
              <a:extLst>
                <a:ext uri="{FF2B5EF4-FFF2-40B4-BE49-F238E27FC236}">
                  <a16:creationId xmlns:a16="http://schemas.microsoft.com/office/drawing/2014/main" id="{0990E035-BD9C-4DC4-5438-3B19068A354F}"/>
                </a:ext>
              </a:extLst>
            </p:cNvPr>
            <p:cNvSpPr/>
            <p:nvPr/>
          </p:nvSpPr>
          <p:spPr>
            <a:xfrm>
              <a:off x="6911867" y="339271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8" name="Freeform 407">
              <a:extLst>
                <a:ext uri="{FF2B5EF4-FFF2-40B4-BE49-F238E27FC236}">
                  <a16:creationId xmlns:a16="http://schemas.microsoft.com/office/drawing/2014/main" id="{28BD4D06-675B-E80F-7D30-86C7AB19690E}"/>
                </a:ext>
              </a:extLst>
            </p:cNvPr>
            <p:cNvSpPr/>
            <p:nvPr/>
          </p:nvSpPr>
          <p:spPr>
            <a:xfrm>
              <a:off x="6918277"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9" name="Freeform 408">
              <a:extLst>
                <a:ext uri="{FF2B5EF4-FFF2-40B4-BE49-F238E27FC236}">
                  <a16:creationId xmlns:a16="http://schemas.microsoft.com/office/drawing/2014/main" id="{4720DA7A-58C3-1274-850E-D413E764D6FB}"/>
                </a:ext>
              </a:extLst>
            </p:cNvPr>
            <p:cNvSpPr/>
            <p:nvPr/>
          </p:nvSpPr>
          <p:spPr>
            <a:xfrm>
              <a:off x="6918277" y="348528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10" name="Freeform 409">
              <a:extLst>
                <a:ext uri="{FF2B5EF4-FFF2-40B4-BE49-F238E27FC236}">
                  <a16:creationId xmlns:a16="http://schemas.microsoft.com/office/drawing/2014/main" id="{DE5D7E7B-AA65-CAF1-1753-9FBFA4798333}"/>
                </a:ext>
              </a:extLst>
            </p:cNvPr>
            <p:cNvSpPr/>
            <p:nvPr/>
          </p:nvSpPr>
          <p:spPr>
            <a:xfrm>
              <a:off x="6207151" y="3392710"/>
              <a:ext cx="642775" cy="0"/>
            </a:xfrm>
            <a:custGeom>
              <a:avLst/>
              <a:gdLst>
                <a:gd name="connsiteX0" fmla="*/ 0 w 642775"/>
                <a:gd name="connsiteY0" fmla="*/ 0 h 5672"/>
                <a:gd name="connsiteX1" fmla="*/ 642776 w 642775"/>
                <a:gd name="connsiteY1" fmla="*/ 0 h 5672"/>
              </a:gdLst>
              <a:ahLst/>
              <a:cxnLst>
                <a:cxn ang="0">
                  <a:pos x="connsiteX0" y="connsiteY0"/>
                </a:cxn>
                <a:cxn ang="0">
                  <a:pos x="connsiteX1" y="connsiteY1"/>
                </a:cxn>
              </a:cxnLst>
              <a:rect l="l" t="t" r="r" b="b"/>
              <a:pathLst>
                <a:path w="642775" h="5672">
                  <a:moveTo>
                    <a:pt x="0" y="0"/>
                  </a:moveTo>
                  <a:lnTo>
                    <a:pt x="642776" y="0"/>
                  </a:lnTo>
                </a:path>
              </a:pathLst>
            </a:custGeom>
            <a:ln w="9525" cap="flat">
              <a:solidFill>
                <a:srgbClr val="FFFFFF"/>
              </a:solidFill>
              <a:prstDash val="solid"/>
              <a:miter/>
            </a:ln>
          </p:spPr>
          <p:txBody>
            <a:bodyPr rtlCol="0" anchor="ctr"/>
            <a:lstStyle/>
            <a:p>
              <a:endParaRPr lang="sv-SE"/>
            </a:p>
          </p:txBody>
        </p:sp>
        <p:sp>
          <p:nvSpPr>
            <p:cNvPr id="411" name="Freeform 410">
              <a:extLst>
                <a:ext uri="{FF2B5EF4-FFF2-40B4-BE49-F238E27FC236}">
                  <a16:creationId xmlns:a16="http://schemas.microsoft.com/office/drawing/2014/main" id="{65760106-DB4F-0AE8-5A49-CD687ACD06D0}"/>
                </a:ext>
              </a:extLst>
            </p:cNvPr>
            <p:cNvSpPr/>
            <p:nvPr/>
          </p:nvSpPr>
          <p:spPr>
            <a:xfrm>
              <a:off x="6204655" y="3531849"/>
              <a:ext cx="645271" cy="0"/>
            </a:xfrm>
            <a:custGeom>
              <a:avLst/>
              <a:gdLst>
                <a:gd name="connsiteX0" fmla="*/ 0 w 645271"/>
                <a:gd name="connsiteY0" fmla="*/ 0 h 5672"/>
                <a:gd name="connsiteX1" fmla="*/ 645271 w 645271"/>
                <a:gd name="connsiteY1" fmla="*/ 0 h 5672"/>
              </a:gdLst>
              <a:ahLst/>
              <a:cxnLst>
                <a:cxn ang="0">
                  <a:pos x="connsiteX0" y="connsiteY0"/>
                </a:cxn>
                <a:cxn ang="0">
                  <a:pos x="connsiteX1" y="connsiteY1"/>
                </a:cxn>
              </a:cxnLst>
              <a:rect l="l" t="t" r="r" b="b"/>
              <a:pathLst>
                <a:path w="645271" h="5672">
                  <a:moveTo>
                    <a:pt x="0" y="0"/>
                  </a:moveTo>
                  <a:lnTo>
                    <a:pt x="645271" y="0"/>
                  </a:lnTo>
                </a:path>
              </a:pathLst>
            </a:custGeom>
            <a:ln w="9525" cap="flat">
              <a:solidFill>
                <a:srgbClr val="FFFFFF"/>
              </a:solidFill>
              <a:prstDash val="solid"/>
              <a:miter/>
            </a:ln>
          </p:spPr>
          <p:txBody>
            <a:bodyPr rtlCol="0" anchor="ctr"/>
            <a:lstStyle/>
            <a:p>
              <a:endParaRPr lang="sv-SE"/>
            </a:p>
          </p:txBody>
        </p:sp>
        <p:sp>
          <p:nvSpPr>
            <p:cNvPr id="412" name="Freeform 411">
              <a:extLst>
                <a:ext uri="{FF2B5EF4-FFF2-40B4-BE49-F238E27FC236}">
                  <a16:creationId xmlns:a16="http://schemas.microsoft.com/office/drawing/2014/main" id="{E8FE255E-0DC9-11A1-A310-42687E24F504}"/>
                </a:ext>
              </a:extLst>
            </p:cNvPr>
            <p:cNvSpPr/>
            <p:nvPr/>
          </p:nvSpPr>
          <p:spPr>
            <a:xfrm>
              <a:off x="6196657" y="3356975"/>
              <a:ext cx="662401" cy="211119"/>
            </a:xfrm>
            <a:custGeom>
              <a:avLst/>
              <a:gdLst>
                <a:gd name="connsiteX0" fmla="*/ 612089 w 662401"/>
                <a:gd name="connsiteY0" fmla="*/ 211120 h 211119"/>
                <a:gd name="connsiteX1" fmla="*/ 629673 w 662401"/>
                <a:gd name="connsiteY1" fmla="*/ 211120 h 211119"/>
                <a:gd name="connsiteX2" fmla="*/ 662401 w 662401"/>
                <a:gd name="connsiteY2" fmla="*/ 105560 h 211119"/>
                <a:gd name="connsiteX3" fmla="*/ 629673 w 662401"/>
                <a:gd name="connsiteY3" fmla="*/ 0 h 211119"/>
                <a:gd name="connsiteX4" fmla="*/ 32728 w 662401"/>
                <a:gd name="connsiteY4" fmla="*/ 0 h 211119"/>
                <a:gd name="connsiteX5" fmla="*/ 0 w 662401"/>
                <a:gd name="connsiteY5" fmla="*/ 105560 h 211119"/>
                <a:gd name="connsiteX6" fmla="*/ 32728 w 662401"/>
                <a:gd name="connsiteY6" fmla="*/ 211120 h 211119"/>
                <a:gd name="connsiteX7" fmla="*/ 612089 w 662401"/>
                <a:gd name="connsiteY7" fmla="*/ 211120 h 21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01" h="211119">
                  <a:moveTo>
                    <a:pt x="612089" y="211120"/>
                  </a:moveTo>
                  <a:lnTo>
                    <a:pt x="629673" y="211120"/>
                  </a:lnTo>
                  <a:cubicBezTo>
                    <a:pt x="647824" y="211120"/>
                    <a:pt x="662401" y="163870"/>
                    <a:pt x="662401" y="105560"/>
                  </a:cubicBezTo>
                  <a:cubicBezTo>
                    <a:pt x="662401" y="47249"/>
                    <a:pt x="647711" y="0"/>
                    <a:pt x="629673" y="0"/>
                  </a:cubicBezTo>
                  <a:lnTo>
                    <a:pt x="32728" y="0"/>
                  </a:lnTo>
                  <a:cubicBezTo>
                    <a:pt x="14691" y="0"/>
                    <a:pt x="0" y="47249"/>
                    <a:pt x="0" y="105560"/>
                  </a:cubicBezTo>
                  <a:cubicBezTo>
                    <a:pt x="0" y="163870"/>
                    <a:pt x="14634" y="211120"/>
                    <a:pt x="32728" y="211120"/>
                  </a:cubicBezTo>
                  <a:lnTo>
                    <a:pt x="612089" y="211120"/>
                  </a:lnTo>
                  <a:close/>
                </a:path>
              </a:pathLst>
            </a:custGeom>
            <a:noFill/>
            <a:ln w="9525" cap="flat">
              <a:solidFill>
                <a:srgbClr val="FFFFFF"/>
              </a:solidFill>
              <a:prstDash val="solid"/>
              <a:round/>
            </a:ln>
          </p:spPr>
          <p:txBody>
            <a:bodyPr rtlCol="0" anchor="ctr"/>
            <a:lstStyle/>
            <a:p>
              <a:endParaRPr lang="sv-SE"/>
            </a:p>
          </p:txBody>
        </p:sp>
      </p:grpSp>
      <p:grpSp>
        <p:nvGrpSpPr>
          <p:cNvPr id="452" name="Group 451">
            <a:extLst>
              <a:ext uri="{FF2B5EF4-FFF2-40B4-BE49-F238E27FC236}">
                <a16:creationId xmlns:a16="http://schemas.microsoft.com/office/drawing/2014/main" id="{A0E22839-AF89-CAE1-5031-5820478E716E}"/>
              </a:ext>
            </a:extLst>
          </p:cNvPr>
          <p:cNvGrpSpPr/>
          <p:nvPr/>
        </p:nvGrpSpPr>
        <p:grpSpPr>
          <a:xfrm>
            <a:off x="5915883" y="3206831"/>
            <a:ext cx="554288" cy="484861"/>
            <a:chOff x="5915883" y="3206831"/>
            <a:chExt cx="554288" cy="484861"/>
          </a:xfrm>
        </p:grpSpPr>
        <p:sp>
          <p:nvSpPr>
            <p:cNvPr id="413" name="Freeform 412">
              <a:extLst>
                <a:ext uri="{FF2B5EF4-FFF2-40B4-BE49-F238E27FC236}">
                  <a16:creationId xmlns:a16="http://schemas.microsoft.com/office/drawing/2014/main" id="{C207ECEB-7DC8-3EC4-81C8-49C7B504B0CA}"/>
                </a:ext>
              </a:extLst>
            </p:cNvPr>
            <p:cNvSpPr/>
            <p:nvPr/>
          </p:nvSpPr>
          <p:spPr>
            <a:xfrm>
              <a:off x="5915883" y="3206831"/>
              <a:ext cx="554288" cy="484861"/>
            </a:xfrm>
            <a:custGeom>
              <a:avLst/>
              <a:gdLst>
                <a:gd name="connsiteX0" fmla="*/ 113217 w 554288"/>
                <a:gd name="connsiteY0" fmla="*/ 0 h 484861"/>
                <a:gd name="connsiteX1" fmla="*/ 0 w 554288"/>
                <a:gd name="connsiteY1" fmla="*/ 95463 h 484861"/>
                <a:gd name="connsiteX2" fmla="*/ 0 w 554288"/>
                <a:gd name="connsiteY2" fmla="*/ 484861 h 484861"/>
                <a:gd name="connsiteX3" fmla="*/ 554289 w 554288"/>
                <a:gd name="connsiteY3" fmla="*/ 484861 h 484861"/>
                <a:gd name="connsiteX4" fmla="*/ 554289 w 554288"/>
                <a:gd name="connsiteY4" fmla="*/ 0 h 484861"/>
                <a:gd name="connsiteX5" fmla="*/ 113217 w 554288"/>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88" h="484861">
                  <a:moveTo>
                    <a:pt x="113217" y="0"/>
                  </a:moveTo>
                  <a:lnTo>
                    <a:pt x="0" y="95463"/>
                  </a:lnTo>
                  <a:lnTo>
                    <a:pt x="0" y="484861"/>
                  </a:lnTo>
                  <a:lnTo>
                    <a:pt x="554289" y="484861"/>
                  </a:lnTo>
                  <a:lnTo>
                    <a:pt x="554289" y="0"/>
                  </a:lnTo>
                  <a:lnTo>
                    <a:pt x="113217" y="0"/>
                  </a:lnTo>
                  <a:close/>
                </a:path>
              </a:pathLst>
            </a:custGeom>
            <a:solidFill>
              <a:srgbClr val="FFFFFF"/>
            </a:solidFill>
            <a:ln w="11341" cap="flat">
              <a:solidFill>
                <a:srgbClr val="FFFFFF"/>
              </a:solidFill>
              <a:prstDash val="solid"/>
              <a:miter/>
            </a:ln>
          </p:spPr>
          <p:txBody>
            <a:bodyPr rtlCol="0" anchor="ctr"/>
            <a:lstStyle/>
            <a:p>
              <a:endParaRPr lang="sv-SE"/>
            </a:p>
          </p:txBody>
        </p:sp>
        <p:grpSp>
          <p:nvGrpSpPr>
            <p:cNvPr id="446" name="Group 445">
              <a:extLst>
                <a:ext uri="{FF2B5EF4-FFF2-40B4-BE49-F238E27FC236}">
                  <a16:creationId xmlns:a16="http://schemas.microsoft.com/office/drawing/2014/main" id="{BAEC5D42-9953-2F0C-A873-6A875E8CE860}"/>
                </a:ext>
              </a:extLst>
            </p:cNvPr>
            <p:cNvGrpSpPr/>
            <p:nvPr/>
          </p:nvGrpSpPr>
          <p:grpSpPr>
            <a:xfrm>
              <a:off x="6017472" y="3291120"/>
              <a:ext cx="363929" cy="342715"/>
              <a:chOff x="6017472" y="3291120"/>
              <a:chExt cx="363929" cy="342715"/>
            </a:xfrm>
          </p:grpSpPr>
          <p:sp>
            <p:nvSpPr>
              <p:cNvPr id="414" name="Freeform 413">
                <a:extLst>
                  <a:ext uri="{FF2B5EF4-FFF2-40B4-BE49-F238E27FC236}">
                    <a16:creationId xmlns:a16="http://schemas.microsoft.com/office/drawing/2014/main" id="{44D9760C-054A-9CF5-8DCB-798AEF2CDEF7}"/>
                  </a:ext>
                </a:extLst>
              </p:cNvPr>
              <p:cNvSpPr/>
              <p:nvPr/>
            </p:nvSpPr>
            <p:spPr>
              <a:xfrm>
                <a:off x="63814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5" name="Freeform 414">
                <a:extLst>
                  <a:ext uri="{FF2B5EF4-FFF2-40B4-BE49-F238E27FC236}">
                    <a16:creationId xmlns:a16="http://schemas.microsoft.com/office/drawing/2014/main" id="{A147EA88-16E9-3ADC-AF68-23E10BBC5D77}"/>
                  </a:ext>
                </a:extLst>
              </p:cNvPr>
              <p:cNvSpPr/>
              <p:nvPr/>
            </p:nvSpPr>
            <p:spPr>
              <a:xfrm>
                <a:off x="6320765"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6" name="Freeform 415">
                <a:extLst>
                  <a:ext uri="{FF2B5EF4-FFF2-40B4-BE49-F238E27FC236}">
                    <a16:creationId xmlns:a16="http://schemas.microsoft.com/office/drawing/2014/main" id="{75FCDE5A-F873-9E2D-849F-8E287AA0F4CD}"/>
                  </a:ext>
                </a:extLst>
              </p:cNvPr>
              <p:cNvSpPr/>
              <p:nvPr/>
            </p:nvSpPr>
            <p:spPr>
              <a:xfrm>
                <a:off x="6260129"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7" name="Freeform 416">
                <a:extLst>
                  <a:ext uri="{FF2B5EF4-FFF2-40B4-BE49-F238E27FC236}">
                    <a16:creationId xmlns:a16="http://schemas.microsoft.com/office/drawing/2014/main" id="{9E4963AB-2A21-7547-90CA-96BFF6CC24A8}"/>
                  </a:ext>
                </a:extLst>
              </p:cNvPr>
              <p:cNvSpPr/>
              <p:nvPr/>
            </p:nvSpPr>
            <p:spPr>
              <a:xfrm>
                <a:off x="6199437"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8" name="Freeform 417">
                <a:extLst>
                  <a:ext uri="{FF2B5EF4-FFF2-40B4-BE49-F238E27FC236}">
                    <a16:creationId xmlns:a16="http://schemas.microsoft.com/office/drawing/2014/main" id="{1D773C61-3EBC-6101-C83B-7A4D2F712F1F}"/>
                  </a:ext>
                </a:extLst>
              </p:cNvPr>
              <p:cNvSpPr/>
              <p:nvPr/>
            </p:nvSpPr>
            <p:spPr>
              <a:xfrm>
                <a:off x="61388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9" name="Freeform 418">
                <a:extLst>
                  <a:ext uri="{FF2B5EF4-FFF2-40B4-BE49-F238E27FC236}">
                    <a16:creationId xmlns:a16="http://schemas.microsoft.com/office/drawing/2014/main" id="{9B78C055-BFD4-D160-23C7-792D395D214A}"/>
                  </a:ext>
                </a:extLst>
              </p:cNvPr>
              <p:cNvSpPr/>
              <p:nvPr/>
            </p:nvSpPr>
            <p:spPr>
              <a:xfrm>
                <a:off x="6078108"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20" name="Freeform 419">
                <a:extLst>
                  <a:ext uri="{FF2B5EF4-FFF2-40B4-BE49-F238E27FC236}">
                    <a16:creationId xmlns:a16="http://schemas.microsoft.com/office/drawing/2014/main" id="{439C9B6B-E332-C18E-DB2D-BF9153EA956D}"/>
                  </a:ext>
                </a:extLst>
              </p:cNvPr>
              <p:cNvSpPr/>
              <p:nvPr/>
            </p:nvSpPr>
            <p:spPr>
              <a:xfrm>
                <a:off x="6017472"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grpSp>
      </p:grpSp>
      <p:sp>
        <p:nvSpPr>
          <p:cNvPr id="458" name="Title 457">
            <a:extLst>
              <a:ext uri="{FF2B5EF4-FFF2-40B4-BE49-F238E27FC236}">
                <a16:creationId xmlns:a16="http://schemas.microsoft.com/office/drawing/2014/main" id="{2B8A8120-44B1-09E7-9409-76845628DA2A}"/>
              </a:ext>
            </a:extLst>
          </p:cNvPr>
          <p:cNvSpPr>
            <a:spLocks noGrp="1"/>
          </p:cNvSpPr>
          <p:nvPr>
            <p:ph type="title"/>
          </p:nvPr>
        </p:nvSpPr>
        <p:spPr>
          <a:xfrm>
            <a:off x="546100" y="752400"/>
            <a:ext cx="11095038" cy="1356708"/>
          </a:xfrm>
        </p:spPr>
        <p:txBody>
          <a:bodyPr/>
          <a:lstStyle/>
          <a:p>
            <a:r>
              <a:rPr lang="sv-SE" dirty="0">
                <a:solidFill>
                  <a:schemeClr val="bg1"/>
                </a:solidFill>
              </a:rPr>
              <a:t>Flexibilitet i processen</a:t>
            </a:r>
          </a:p>
        </p:txBody>
      </p:sp>
      <p:sp>
        <p:nvSpPr>
          <p:cNvPr id="3" name="!!Mask" hidden="1">
            <a:extLst>
              <a:ext uri="{FF2B5EF4-FFF2-40B4-BE49-F238E27FC236}">
                <a16:creationId xmlns:a16="http://schemas.microsoft.com/office/drawing/2014/main" id="{A84B8873-C1D8-A428-72CC-95A1C100501D}"/>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350438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fade">
                                      <p:cBhvr>
                                        <p:cTn id="7" dur="500"/>
                                        <p:tgtEl>
                                          <p:spTgt spid="143"/>
                                        </p:tgtEl>
                                      </p:cBhvr>
                                    </p:animEffect>
                                  </p:childTnLst>
                                </p:cTn>
                              </p:par>
                              <p:par>
                                <p:cTn id="8" presetID="22" presetClass="entr" presetSubtype="8" fill="hold" nodeType="withEffect">
                                  <p:stCondLst>
                                    <p:cond delay="0"/>
                                  </p:stCondLst>
                                  <p:childTnLst>
                                    <p:set>
                                      <p:cBhvr>
                                        <p:cTn id="9" dur="1" fill="hold">
                                          <p:stCondLst>
                                            <p:cond delay="0"/>
                                          </p:stCondLst>
                                        </p:cTn>
                                        <p:tgtEl>
                                          <p:spTgt spid="368"/>
                                        </p:tgtEl>
                                        <p:attrNameLst>
                                          <p:attrName>style.visibility</p:attrName>
                                        </p:attrNameLst>
                                      </p:cBhvr>
                                      <p:to>
                                        <p:strVal val="visible"/>
                                      </p:to>
                                    </p:set>
                                    <p:animEffect transition="in" filter="wipe(left)">
                                      <p:cBhvr>
                                        <p:cTn id="10" dur="500"/>
                                        <p:tgtEl>
                                          <p:spTgt spid="368"/>
                                        </p:tgtEl>
                                      </p:cBhvr>
                                    </p:animEffect>
                                  </p:childTnLst>
                                </p:cTn>
                              </p:par>
                              <p:par>
                                <p:cTn id="11" presetID="22" presetClass="entr" presetSubtype="4" fill="hold" nodeType="withEffect">
                                  <p:stCondLst>
                                    <p:cond delay="0"/>
                                  </p:stCondLst>
                                  <p:childTnLst>
                                    <p:set>
                                      <p:cBhvr>
                                        <p:cTn id="12" dur="1" fill="hold">
                                          <p:stCondLst>
                                            <p:cond delay="0"/>
                                          </p:stCondLst>
                                        </p:cTn>
                                        <p:tgtEl>
                                          <p:spTgt spid="371"/>
                                        </p:tgtEl>
                                        <p:attrNameLst>
                                          <p:attrName>style.visibility</p:attrName>
                                        </p:attrNameLst>
                                      </p:cBhvr>
                                      <p:to>
                                        <p:strVal val="visible"/>
                                      </p:to>
                                    </p:set>
                                    <p:animEffect transition="in" filter="wipe(down)">
                                      <p:cBhvr>
                                        <p:cTn id="13" dur="500"/>
                                        <p:tgtEl>
                                          <p:spTgt spid="371"/>
                                        </p:tgtEl>
                                      </p:cBhvr>
                                    </p:animEffect>
                                  </p:childTnLst>
                                </p:cTn>
                              </p:par>
                              <p:par>
                                <p:cTn id="14" presetID="18" presetClass="entr" presetSubtype="6" repeatCount="0" fill="hold" grpId="0" nodeType="withEffect">
                                  <p:stCondLst>
                                    <p:cond delay="0"/>
                                  </p:stCondLst>
                                  <p:childTnLst>
                                    <p:set>
                                      <p:cBhvr>
                                        <p:cTn id="15" dur="1" fill="hold">
                                          <p:stCondLst>
                                            <p:cond delay="0"/>
                                          </p:stCondLst>
                                        </p:cTn>
                                        <p:tgtEl>
                                          <p:spTgt spid="453"/>
                                        </p:tgtEl>
                                        <p:attrNameLst>
                                          <p:attrName>style.visibility</p:attrName>
                                        </p:attrNameLst>
                                      </p:cBhvr>
                                      <p:to>
                                        <p:strVal val="visible"/>
                                      </p:to>
                                    </p:set>
                                    <p:animEffect transition="in" filter="strips(downRight)">
                                      <p:cBhvr>
                                        <p:cTn id="16" dur="1000"/>
                                        <p:tgtEl>
                                          <p:spTgt spid="453"/>
                                        </p:tgtEl>
                                      </p:cBhvr>
                                    </p:animEffect>
                                  </p:childTnLst>
                                </p:cTn>
                              </p:par>
                              <p:par>
                                <p:cTn id="17" presetID="18" presetClass="exit" presetSubtype="9" fill="hold" grpId="1" nodeType="withEffect">
                                  <p:stCondLst>
                                    <p:cond delay="1000"/>
                                  </p:stCondLst>
                                  <p:childTnLst>
                                    <p:animEffect transition="out" filter="strips(upLeft)">
                                      <p:cBhvr>
                                        <p:cTn id="18" dur="1000"/>
                                        <p:tgtEl>
                                          <p:spTgt spid="453"/>
                                        </p:tgtEl>
                                      </p:cBhvr>
                                    </p:animEffect>
                                    <p:set>
                                      <p:cBhvr>
                                        <p:cTn id="19" dur="1" fill="hold">
                                          <p:stCondLst>
                                            <p:cond delay="999"/>
                                          </p:stCondLst>
                                        </p:cTn>
                                        <p:tgtEl>
                                          <p:spTgt spid="453"/>
                                        </p:tgtEl>
                                        <p:attrNameLst>
                                          <p:attrName>style.visibility</p:attrName>
                                        </p:attrNameLst>
                                      </p:cBhvr>
                                      <p:to>
                                        <p:strVal val="hidden"/>
                                      </p:to>
                                    </p:set>
                                  </p:childTnLst>
                                </p:cTn>
                              </p:par>
                              <p:par>
                                <p:cTn id="20" presetID="18" presetClass="entr" presetSubtype="6" fill="hold" grpId="2" nodeType="withEffect">
                                  <p:stCondLst>
                                    <p:cond delay="2000"/>
                                  </p:stCondLst>
                                  <p:childTnLst>
                                    <p:set>
                                      <p:cBhvr>
                                        <p:cTn id="21" dur="1" fill="hold">
                                          <p:stCondLst>
                                            <p:cond delay="0"/>
                                          </p:stCondLst>
                                        </p:cTn>
                                        <p:tgtEl>
                                          <p:spTgt spid="453"/>
                                        </p:tgtEl>
                                        <p:attrNameLst>
                                          <p:attrName>style.visibility</p:attrName>
                                        </p:attrNameLst>
                                      </p:cBhvr>
                                      <p:to>
                                        <p:strVal val="visible"/>
                                      </p:to>
                                    </p:set>
                                    <p:animEffect transition="in" filter="strips(downRight)">
                                      <p:cBhvr>
                                        <p:cTn id="22" dur="1000"/>
                                        <p:tgtEl>
                                          <p:spTgt spid="453"/>
                                        </p:tgtEl>
                                      </p:cBhvr>
                                    </p:animEffect>
                                  </p:childTnLst>
                                </p:cTn>
                              </p:par>
                              <p:par>
                                <p:cTn id="23" presetID="18" presetClass="exit" presetSubtype="9" fill="hold" grpId="3" nodeType="withEffect">
                                  <p:stCondLst>
                                    <p:cond delay="3000"/>
                                  </p:stCondLst>
                                  <p:childTnLst>
                                    <p:animEffect transition="out" filter="strips(upLeft)">
                                      <p:cBhvr>
                                        <p:cTn id="24" dur="1000"/>
                                        <p:tgtEl>
                                          <p:spTgt spid="453"/>
                                        </p:tgtEl>
                                      </p:cBhvr>
                                    </p:animEffect>
                                    <p:set>
                                      <p:cBhvr>
                                        <p:cTn id="25" dur="1" fill="hold">
                                          <p:stCondLst>
                                            <p:cond delay="999"/>
                                          </p:stCondLst>
                                        </p:cTn>
                                        <p:tgtEl>
                                          <p:spTgt spid="453"/>
                                        </p:tgtEl>
                                        <p:attrNameLst>
                                          <p:attrName>style.visibility</p:attrName>
                                        </p:attrNameLst>
                                      </p:cBhvr>
                                      <p:to>
                                        <p:strVal val="hidden"/>
                                      </p:to>
                                    </p:set>
                                  </p:childTnLst>
                                </p:cTn>
                              </p:par>
                              <p:par>
                                <p:cTn id="26" presetID="18" presetClass="entr" presetSubtype="6" fill="hold" grpId="4" nodeType="withEffect">
                                  <p:stCondLst>
                                    <p:cond delay="4000"/>
                                  </p:stCondLst>
                                  <p:childTnLst>
                                    <p:set>
                                      <p:cBhvr>
                                        <p:cTn id="27" dur="1" fill="hold">
                                          <p:stCondLst>
                                            <p:cond delay="0"/>
                                          </p:stCondLst>
                                        </p:cTn>
                                        <p:tgtEl>
                                          <p:spTgt spid="453"/>
                                        </p:tgtEl>
                                        <p:attrNameLst>
                                          <p:attrName>style.visibility</p:attrName>
                                        </p:attrNameLst>
                                      </p:cBhvr>
                                      <p:to>
                                        <p:strVal val="visible"/>
                                      </p:to>
                                    </p:set>
                                    <p:animEffect transition="in" filter="strips(downRight)">
                                      <p:cBhvr>
                                        <p:cTn id="28" dur="1000"/>
                                        <p:tgtEl>
                                          <p:spTgt spid="453"/>
                                        </p:tgtEl>
                                      </p:cBhvr>
                                    </p:animEffect>
                                  </p:childTnLst>
                                </p:cTn>
                              </p:par>
                              <p:par>
                                <p:cTn id="29" presetID="18" presetClass="exit" presetSubtype="9" fill="hold" grpId="5" nodeType="withEffect">
                                  <p:stCondLst>
                                    <p:cond delay="5000"/>
                                  </p:stCondLst>
                                  <p:childTnLst>
                                    <p:animEffect transition="out" filter="strips(upLeft)">
                                      <p:cBhvr>
                                        <p:cTn id="30" dur="1000"/>
                                        <p:tgtEl>
                                          <p:spTgt spid="453"/>
                                        </p:tgtEl>
                                      </p:cBhvr>
                                    </p:animEffect>
                                    <p:set>
                                      <p:cBhvr>
                                        <p:cTn id="31" dur="1" fill="hold">
                                          <p:stCondLst>
                                            <p:cond delay="999"/>
                                          </p:stCondLst>
                                        </p:cTn>
                                        <p:tgtEl>
                                          <p:spTgt spid="453"/>
                                        </p:tgtEl>
                                        <p:attrNameLst>
                                          <p:attrName>style.visibility</p:attrName>
                                        </p:attrNameLst>
                                      </p:cBhvr>
                                      <p:to>
                                        <p:strVal val="hidden"/>
                                      </p:to>
                                    </p:set>
                                  </p:childTnLst>
                                </p:cTn>
                              </p:par>
                              <p:par>
                                <p:cTn id="32" presetID="18" presetClass="entr" presetSubtype="6" fill="hold" grpId="6" nodeType="withEffect">
                                  <p:stCondLst>
                                    <p:cond delay="6000"/>
                                  </p:stCondLst>
                                  <p:childTnLst>
                                    <p:set>
                                      <p:cBhvr>
                                        <p:cTn id="33" dur="1" fill="hold">
                                          <p:stCondLst>
                                            <p:cond delay="0"/>
                                          </p:stCondLst>
                                        </p:cTn>
                                        <p:tgtEl>
                                          <p:spTgt spid="453"/>
                                        </p:tgtEl>
                                        <p:attrNameLst>
                                          <p:attrName>style.visibility</p:attrName>
                                        </p:attrNameLst>
                                      </p:cBhvr>
                                      <p:to>
                                        <p:strVal val="visible"/>
                                      </p:to>
                                    </p:set>
                                    <p:animEffect transition="in" filter="strips(downRight)">
                                      <p:cBhvr>
                                        <p:cTn id="34" dur="1000"/>
                                        <p:tgtEl>
                                          <p:spTgt spid="453"/>
                                        </p:tgtEl>
                                      </p:cBhvr>
                                    </p:animEffect>
                                  </p:childTnLst>
                                </p:cTn>
                              </p:par>
                              <p:par>
                                <p:cTn id="35" presetID="18" presetClass="exit" presetSubtype="9" fill="hold" grpId="7" nodeType="withEffect">
                                  <p:stCondLst>
                                    <p:cond delay="7000"/>
                                  </p:stCondLst>
                                  <p:childTnLst>
                                    <p:animEffect transition="out" filter="strips(upLeft)">
                                      <p:cBhvr>
                                        <p:cTn id="36" dur="1000"/>
                                        <p:tgtEl>
                                          <p:spTgt spid="453"/>
                                        </p:tgtEl>
                                      </p:cBhvr>
                                    </p:animEffect>
                                    <p:set>
                                      <p:cBhvr>
                                        <p:cTn id="37" dur="1" fill="hold">
                                          <p:stCondLst>
                                            <p:cond delay="999"/>
                                          </p:stCondLst>
                                        </p:cTn>
                                        <p:tgtEl>
                                          <p:spTgt spid="453"/>
                                        </p:tgtEl>
                                        <p:attrNameLst>
                                          <p:attrName>style.visibility</p:attrName>
                                        </p:attrNameLst>
                                      </p:cBhvr>
                                      <p:to>
                                        <p:strVal val="hidden"/>
                                      </p:to>
                                    </p:set>
                                  </p:childTnLst>
                                </p:cTn>
                              </p:par>
                              <p:par>
                                <p:cTn id="38" presetID="18" presetClass="entr" presetSubtype="6" fill="hold" grpId="8" nodeType="withEffect">
                                  <p:stCondLst>
                                    <p:cond delay="8000"/>
                                  </p:stCondLst>
                                  <p:childTnLst>
                                    <p:set>
                                      <p:cBhvr>
                                        <p:cTn id="39" dur="1" fill="hold">
                                          <p:stCondLst>
                                            <p:cond delay="0"/>
                                          </p:stCondLst>
                                        </p:cTn>
                                        <p:tgtEl>
                                          <p:spTgt spid="453"/>
                                        </p:tgtEl>
                                        <p:attrNameLst>
                                          <p:attrName>style.visibility</p:attrName>
                                        </p:attrNameLst>
                                      </p:cBhvr>
                                      <p:to>
                                        <p:strVal val="visible"/>
                                      </p:to>
                                    </p:set>
                                    <p:animEffect transition="in" filter="strips(downRight)">
                                      <p:cBhvr>
                                        <p:cTn id="40" dur="1000"/>
                                        <p:tgtEl>
                                          <p:spTgt spid="453"/>
                                        </p:tgtEl>
                                      </p:cBhvr>
                                    </p:animEffect>
                                  </p:childTnLst>
                                </p:cTn>
                              </p:par>
                              <p:par>
                                <p:cTn id="41" presetID="18" presetClass="entr" presetSubtype="3" fill="hold" grpId="0" nodeType="withEffect">
                                  <p:stCondLst>
                                    <p:cond delay="1000"/>
                                  </p:stCondLst>
                                  <p:childTnLst>
                                    <p:set>
                                      <p:cBhvr>
                                        <p:cTn id="42" dur="1" fill="hold">
                                          <p:stCondLst>
                                            <p:cond delay="0"/>
                                          </p:stCondLst>
                                        </p:cTn>
                                        <p:tgtEl>
                                          <p:spTgt spid="457"/>
                                        </p:tgtEl>
                                        <p:attrNameLst>
                                          <p:attrName>style.visibility</p:attrName>
                                        </p:attrNameLst>
                                      </p:cBhvr>
                                      <p:to>
                                        <p:strVal val="visible"/>
                                      </p:to>
                                    </p:set>
                                    <p:animEffect transition="in" filter="strips(upRight)">
                                      <p:cBhvr>
                                        <p:cTn id="43" dur="1500"/>
                                        <p:tgtEl>
                                          <p:spTgt spid="457"/>
                                        </p:tgtEl>
                                      </p:cBhvr>
                                    </p:animEffect>
                                  </p:childTnLst>
                                </p:cTn>
                              </p:par>
                              <p:par>
                                <p:cTn id="44" presetID="18" presetClass="exit" presetSubtype="12" fill="hold" grpId="1" nodeType="withEffect">
                                  <p:stCondLst>
                                    <p:cond delay="2500"/>
                                  </p:stCondLst>
                                  <p:childTnLst>
                                    <p:animEffect transition="out" filter="strips(downLeft)">
                                      <p:cBhvr>
                                        <p:cTn id="45" dur="1500"/>
                                        <p:tgtEl>
                                          <p:spTgt spid="457"/>
                                        </p:tgtEl>
                                      </p:cBhvr>
                                    </p:animEffect>
                                    <p:set>
                                      <p:cBhvr>
                                        <p:cTn id="46" dur="1" fill="hold">
                                          <p:stCondLst>
                                            <p:cond delay="1499"/>
                                          </p:stCondLst>
                                        </p:cTn>
                                        <p:tgtEl>
                                          <p:spTgt spid="457"/>
                                        </p:tgtEl>
                                        <p:attrNameLst>
                                          <p:attrName>style.visibility</p:attrName>
                                        </p:attrNameLst>
                                      </p:cBhvr>
                                      <p:to>
                                        <p:strVal val="hidden"/>
                                      </p:to>
                                    </p:set>
                                  </p:childTnLst>
                                </p:cTn>
                              </p:par>
                              <p:par>
                                <p:cTn id="47" presetID="18" presetClass="entr" presetSubtype="3" fill="hold" grpId="2" nodeType="withEffect">
                                  <p:stCondLst>
                                    <p:cond delay="4000"/>
                                  </p:stCondLst>
                                  <p:childTnLst>
                                    <p:set>
                                      <p:cBhvr>
                                        <p:cTn id="48" dur="1" fill="hold">
                                          <p:stCondLst>
                                            <p:cond delay="0"/>
                                          </p:stCondLst>
                                        </p:cTn>
                                        <p:tgtEl>
                                          <p:spTgt spid="457"/>
                                        </p:tgtEl>
                                        <p:attrNameLst>
                                          <p:attrName>style.visibility</p:attrName>
                                        </p:attrNameLst>
                                      </p:cBhvr>
                                      <p:to>
                                        <p:strVal val="visible"/>
                                      </p:to>
                                    </p:set>
                                    <p:animEffect transition="in" filter="strips(upRight)">
                                      <p:cBhvr>
                                        <p:cTn id="49" dur="1500"/>
                                        <p:tgtEl>
                                          <p:spTgt spid="457"/>
                                        </p:tgtEl>
                                      </p:cBhvr>
                                    </p:animEffect>
                                  </p:childTnLst>
                                </p:cTn>
                              </p:par>
                              <p:par>
                                <p:cTn id="50" presetID="18" presetClass="exit" presetSubtype="12" fill="hold" grpId="3" nodeType="withEffect">
                                  <p:stCondLst>
                                    <p:cond delay="5500"/>
                                  </p:stCondLst>
                                  <p:childTnLst>
                                    <p:animEffect transition="out" filter="strips(downLeft)">
                                      <p:cBhvr>
                                        <p:cTn id="51" dur="1500"/>
                                        <p:tgtEl>
                                          <p:spTgt spid="457"/>
                                        </p:tgtEl>
                                      </p:cBhvr>
                                    </p:animEffect>
                                    <p:set>
                                      <p:cBhvr>
                                        <p:cTn id="52" dur="1" fill="hold">
                                          <p:stCondLst>
                                            <p:cond delay="1499"/>
                                          </p:stCondLst>
                                        </p:cTn>
                                        <p:tgtEl>
                                          <p:spTgt spid="457"/>
                                        </p:tgtEl>
                                        <p:attrNameLst>
                                          <p:attrName>style.visibility</p:attrName>
                                        </p:attrNameLst>
                                      </p:cBhvr>
                                      <p:to>
                                        <p:strVal val="hidden"/>
                                      </p:to>
                                    </p:set>
                                  </p:childTnLst>
                                </p:cTn>
                              </p:par>
                              <p:par>
                                <p:cTn id="53" presetID="18" presetClass="entr" presetSubtype="3" fill="hold" grpId="4" nodeType="withEffect">
                                  <p:stCondLst>
                                    <p:cond delay="7000"/>
                                  </p:stCondLst>
                                  <p:childTnLst>
                                    <p:set>
                                      <p:cBhvr>
                                        <p:cTn id="54" dur="1" fill="hold">
                                          <p:stCondLst>
                                            <p:cond delay="0"/>
                                          </p:stCondLst>
                                        </p:cTn>
                                        <p:tgtEl>
                                          <p:spTgt spid="457"/>
                                        </p:tgtEl>
                                        <p:attrNameLst>
                                          <p:attrName>style.visibility</p:attrName>
                                        </p:attrNameLst>
                                      </p:cBhvr>
                                      <p:to>
                                        <p:strVal val="visible"/>
                                      </p:to>
                                    </p:set>
                                    <p:animEffect transition="in" filter="strips(upRight)">
                                      <p:cBhvr>
                                        <p:cTn id="55" dur="1500"/>
                                        <p:tgtEl>
                                          <p:spTgt spid="457"/>
                                        </p:tgtEl>
                                      </p:cBhvr>
                                    </p:animEffect>
                                  </p:childTnLst>
                                </p:cTn>
                              </p:par>
                              <p:par>
                                <p:cTn id="56" presetID="18" presetClass="exit" presetSubtype="12" fill="hold" grpId="5" nodeType="withEffect">
                                  <p:stCondLst>
                                    <p:cond delay="8500"/>
                                  </p:stCondLst>
                                  <p:childTnLst>
                                    <p:animEffect transition="out" filter="strips(downLeft)">
                                      <p:cBhvr>
                                        <p:cTn id="57" dur="1500"/>
                                        <p:tgtEl>
                                          <p:spTgt spid="457"/>
                                        </p:tgtEl>
                                      </p:cBhvr>
                                    </p:animEffect>
                                    <p:set>
                                      <p:cBhvr>
                                        <p:cTn id="58" dur="1" fill="hold">
                                          <p:stCondLst>
                                            <p:cond delay="1499"/>
                                          </p:stCondLst>
                                        </p:cTn>
                                        <p:tgtEl>
                                          <p:spTgt spid="457"/>
                                        </p:tgtEl>
                                        <p:attrNameLst>
                                          <p:attrName>style.visibility</p:attrName>
                                        </p:attrNameLst>
                                      </p:cBhvr>
                                      <p:to>
                                        <p:strVal val="hidden"/>
                                      </p:to>
                                    </p:set>
                                  </p:childTnLst>
                                </p:cTn>
                              </p:par>
                              <p:par>
                                <p:cTn id="59" presetID="18" presetClass="entr" presetSubtype="3" fill="hold" grpId="6" nodeType="withEffect">
                                  <p:stCondLst>
                                    <p:cond delay="10000"/>
                                  </p:stCondLst>
                                  <p:childTnLst>
                                    <p:set>
                                      <p:cBhvr>
                                        <p:cTn id="60" dur="1" fill="hold">
                                          <p:stCondLst>
                                            <p:cond delay="0"/>
                                          </p:stCondLst>
                                        </p:cTn>
                                        <p:tgtEl>
                                          <p:spTgt spid="457"/>
                                        </p:tgtEl>
                                        <p:attrNameLst>
                                          <p:attrName>style.visibility</p:attrName>
                                        </p:attrNameLst>
                                      </p:cBhvr>
                                      <p:to>
                                        <p:strVal val="visible"/>
                                      </p:to>
                                    </p:set>
                                    <p:animEffect transition="in" filter="strips(upRight)">
                                      <p:cBhvr>
                                        <p:cTn id="61" dur="1500"/>
                                        <p:tgtEl>
                                          <p:spTgt spid="457"/>
                                        </p:tgtEl>
                                      </p:cBhvr>
                                    </p:animEffect>
                                  </p:childTnLst>
                                </p:cTn>
                              </p:par>
                              <p:par>
                                <p:cTn id="62" presetID="18" presetClass="entr" presetSubtype="6" fill="hold" grpId="0" nodeType="withEffect">
                                  <p:stCondLst>
                                    <p:cond delay="1000"/>
                                  </p:stCondLst>
                                  <p:childTnLst>
                                    <p:set>
                                      <p:cBhvr>
                                        <p:cTn id="63" dur="1" fill="hold">
                                          <p:stCondLst>
                                            <p:cond delay="0"/>
                                          </p:stCondLst>
                                        </p:cTn>
                                        <p:tgtEl>
                                          <p:spTgt spid="445"/>
                                        </p:tgtEl>
                                        <p:attrNameLst>
                                          <p:attrName>style.visibility</p:attrName>
                                        </p:attrNameLst>
                                      </p:cBhvr>
                                      <p:to>
                                        <p:strVal val="visible"/>
                                      </p:to>
                                    </p:set>
                                    <p:animEffect transition="in" filter="strips(downRight)">
                                      <p:cBhvr>
                                        <p:cTn id="64" dur="1500"/>
                                        <p:tgtEl>
                                          <p:spTgt spid="445"/>
                                        </p:tgtEl>
                                      </p:cBhvr>
                                    </p:animEffect>
                                  </p:childTnLst>
                                </p:cTn>
                              </p:par>
                              <p:par>
                                <p:cTn id="65" presetID="18" presetClass="exit" presetSubtype="9" fill="hold" grpId="1" nodeType="withEffect">
                                  <p:stCondLst>
                                    <p:cond delay="2500"/>
                                  </p:stCondLst>
                                  <p:childTnLst>
                                    <p:animEffect transition="out" filter="strips(upLeft)">
                                      <p:cBhvr>
                                        <p:cTn id="66" dur="1500"/>
                                        <p:tgtEl>
                                          <p:spTgt spid="445"/>
                                        </p:tgtEl>
                                      </p:cBhvr>
                                    </p:animEffect>
                                    <p:set>
                                      <p:cBhvr>
                                        <p:cTn id="67" dur="1" fill="hold">
                                          <p:stCondLst>
                                            <p:cond delay="1499"/>
                                          </p:stCondLst>
                                        </p:cTn>
                                        <p:tgtEl>
                                          <p:spTgt spid="445"/>
                                        </p:tgtEl>
                                        <p:attrNameLst>
                                          <p:attrName>style.visibility</p:attrName>
                                        </p:attrNameLst>
                                      </p:cBhvr>
                                      <p:to>
                                        <p:strVal val="hidden"/>
                                      </p:to>
                                    </p:set>
                                  </p:childTnLst>
                                </p:cTn>
                              </p:par>
                              <p:par>
                                <p:cTn id="68" presetID="18" presetClass="entr" presetSubtype="6" fill="hold" grpId="2" nodeType="withEffect">
                                  <p:stCondLst>
                                    <p:cond delay="4000"/>
                                  </p:stCondLst>
                                  <p:childTnLst>
                                    <p:set>
                                      <p:cBhvr>
                                        <p:cTn id="69" dur="1" fill="hold">
                                          <p:stCondLst>
                                            <p:cond delay="0"/>
                                          </p:stCondLst>
                                        </p:cTn>
                                        <p:tgtEl>
                                          <p:spTgt spid="445"/>
                                        </p:tgtEl>
                                        <p:attrNameLst>
                                          <p:attrName>style.visibility</p:attrName>
                                        </p:attrNameLst>
                                      </p:cBhvr>
                                      <p:to>
                                        <p:strVal val="visible"/>
                                      </p:to>
                                    </p:set>
                                    <p:animEffect transition="in" filter="strips(downRight)">
                                      <p:cBhvr>
                                        <p:cTn id="70" dur="1500"/>
                                        <p:tgtEl>
                                          <p:spTgt spid="445"/>
                                        </p:tgtEl>
                                      </p:cBhvr>
                                    </p:animEffect>
                                  </p:childTnLst>
                                </p:cTn>
                              </p:par>
                              <p:par>
                                <p:cTn id="71" presetID="18" presetClass="exit" presetSubtype="9" fill="hold" grpId="3" nodeType="withEffect">
                                  <p:stCondLst>
                                    <p:cond delay="5500"/>
                                  </p:stCondLst>
                                  <p:childTnLst>
                                    <p:animEffect transition="out" filter="strips(upLeft)">
                                      <p:cBhvr>
                                        <p:cTn id="72" dur="1500"/>
                                        <p:tgtEl>
                                          <p:spTgt spid="445"/>
                                        </p:tgtEl>
                                      </p:cBhvr>
                                    </p:animEffect>
                                    <p:set>
                                      <p:cBhvr>
                                        <p:cTn id="73" dur="1" fill="hold">
                                          <p:stCondLst>
                                            <p:cond delay="1499"/>
                                          </p:stCondLst>
                                        </p:cTn>
                                        <p:tgtEl>
                                          <p:spTgt spid="445"/>
                                        </p:tgtEl>
                                        <p:attrNameLst>
                                          <p:attrName>style.visibility</p:attrName>
                                        </p:attrNameLst>
                                      </p:cBhvr>
                                      <p:to>
                                        <p:strVal val="hidden"/>
                                      </p:to>
                                    </p:set>
                                  </p:childTnLst>
                                </p:cTn>
                              </p:par>
                              <p:par>
                                <p:cTn id="74" presetID="18" presetClass="entr" presetSubtype="6" fill="hold" grpId="4" nodeType="withEffect">
                                  <p:stCondLst>
                                    <p:cond delay="7000"/>
                                  </p:stCondLst>
                                  <p:childTnLst>
                                    <p:set>
                                      <p:cBhvr>
                                        <p:cTn id="75" dur="1" fill="hold">
                                          <p:stCondLst>
                                            <p:cond delay="0"/>
                                          </p:stCondLst>
                                        </p:cTn>
                                        <p:tgtEl>
                                          <p:spTgt spid="445"/>
                                        </p:tgtEl>
                                        <p:attrNameLst>
                                          <p:attrName>style.visibility</p:attrName>
                                        </p:attrNameLst>
                                      </p:cBhvr>
                                      <p:to>
                                        <p:strVal val="visible"/>
                                      </p:to>
                                    </p:set>
                                    <p:animEffect transition="in" filter="strips(downRight)">
                                      <p:cBhvr>
                                        <p:cTn id="76" dur="1500"/>
                                        <p:tgtEl>
                                          <p:spTgt spid="445"/>
                                        </p:tgtEl>
                                      </p:cBhvr>
                                    </p:animEffect>
                                  </p:childTnLst>
                                </p:cTn>
                              </p:par>
                              <p:par>
                                <p:cTn id="77" presetID="18" presetClass="exit" presetSubtype="9" fill="hold" grpId="5" nodeType="withEffect">
                                  <p:stCondLst>
                                    <p:cond delay="8500"/>
                                  </p:stCondLst>
                                  <p:childTnLst>
                                    <p:animEffect transition="out" filter="strips(upLeft)">
                                      <p:cBhvr>
                                        <p:cTn id="78" dur="1500"/>
                                        <p:tgtEl>
                                          <p:spTgt spid="445"/>
                                        </p:tgtEl>
                                      </p:cBhvr>
                                    </p:animEffect>
                                    <p:set>
                                      <p:cBhvr>
                                        <p:cTn id="79" dur="1" fill="hold">
                                          <p:stCondLst>
                                            <p:cond delay="1499"/>
                                          </p:stCondLst>
                                        </p:cTn>
                                        <p:tgtEl>
                                          <p:spTgt spid="445"/>
                                        </p:tgtEl>
                                        <p:attrNameLst>
                                          <p:attrName>style.visibility</p:attrName>
                                        </p:attrNameLst>
                                      </p:cBhvr>
                                      <p:to>
                                        <p:strVal val="hidden"/>
                                      </p:to>
                                    </p:set>
                                  </p:childTnLst>
                                </p:cTn>
                              </p:par>
                              <p:par>
                                <p:cTn id="80" presetID="18" presetClass="entr" presetSubtype="6" fill="hold" grpId="6" nodeType="withEffect">
                                  <p:stCondLst>
                                    <p:cond delay="10000"/>
                                  </p:stCondLst>
                                  <p:childTnLst>
                                    <p:set>
                                      <p:cBhvr>
                                        <p:cTn id="81" dur="1" fill="hold">
                                          <p:stCondLst>
                                            <p:cond delay="0"/>
                                          </p:stCondLst>
                                        </p:cTn>
                                        <p:tgtEl>
                                          <p:spTgt spid="445"/>
                                        </p:tgtEl>
                                        <p:attrNameLst>
                                          <p:attrName>style.visibility</p:attrName>
                                        </p:attrNameLst>
                                      </p:cBhvr>
                                      <p:to>
                                        <p:strVal val="visible"/>
                                      </p:to>
                                    </p:set>
                                    <p:animEffect transition="in" filter="strips(downRight)">
                                      <p:cBhvr>
                                        <p:cTn id="82" dur="1500"/>
                                        <p:tgtEl>
                                          <p:spTgt spid="445"/>
                                        </p:tgtEl>
                                      </p:cBhvr>
                                    </p:animEffect>
                                  </p:childTnLst>
                                </p:cTn>
                              </p:par>
                              <p:par>
                                <p:cTn id="83" presetID="1" presetClass="emph" presetSubtype="2" fill="hold" nodeType="withEffect">
                                  <p:stCondLst>
                                    <p:cond delay="1000"/>
                                  </p:stCondLst>
                                  <p:childTnLst>
                                    <p:animClr clrSpc="rgb" dir="cw">
                                      <p:cBhvr>
                                        <p:cTn id="84" dur="10000" fill="hold"/>
                                        <p:tgtEl>
                                          <p:spTgt spid="2"/>
                                        </p:tgtEl>
                                        <p:attrNameLst>
                                          <p:attrName>fillcolor</p:attrName>
                                        </p:attrNameLst>
                                      </p:cBhvr>
                                      <p:to>
                                        <a:srgbClr val="FED78B"/>
                                      </p:to>
                                    </p:animClr>
                                    <p:set>
                                      <p:cBhvr>
                                        <p:cTn id="85" dur="10000" fill="hold"/>
                                        <p:tgtEl>
                                          <p:spTgt spid="2"/>
                                        </p:tgtEl>
                                        <p:attrNameLst>
                                          <p:attrName>fill.type</p:attrName>
                                        </p:attrNameLst>
                                      </p:cBhvr>
                                      <p:to>
                                        <p:strVal val="solid"/>
                                      </p:to>
                                    </p:set>
                                    <p:set>
                                      <p:cBhvr>
                                        <p:cTn id="86" dur="10000" fill="hold"/>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p:bldP spid="457" grpId="0" animBg="1"/>
      <p:bldP spid="457" grpId="1" animBg="1"/>
      <p:bldP spid="457" grpId="2" animBg="1"/>
      <p:bldP spid="457" grpId="3" animBg="1"/>
      <p:bldP spid="457" grpId="4" animBg="1"/>
      <p:bldP spid="457" grpId="5" animBg="1"/>
      <p:bldP spid="457" grpId="6" animBg="1"/>
      <p:bldP spid="445" grpId="0" animBg="1"/>
      <p:bldP spid="445" grpId="1" animBg="1"/>
      <p:bldP spid="445" grpId="2" animBg="1"/>
      <p:bldP spid="445" grpId="3" animBg="1"/>
      <p:bldP spid="445" grpId="4" animBg="1"/>
      <p:bldP spid="445" grpId="5" animBg="1"/>
      <p:bldP spid="445" grpId="6" animBg="1"/>
      <p:bldP spid="453" grpId="0" animBg="1"/>
      <p:bldP spid="453" grpId="1" animBg="1"/>
      <p:bldP spid="453" grpId="2" animBg="1"/>
      <p:bldP spid="453" grpId="3" animBg="1"/>
      <p:bldP spid="453" grpId="4" animBg="1"/>
      <p:bldP spid="453" grpId="5" animBg="1"/>
      <p:bldP spid="453" grpId="6" animBg="1"/>
      <p:bldP spid="453" grpId="7" animBg="1"/>
      <p:bldP spid="453" grpId="8"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a:extLst>
            <a:ext uri="{FF2B5EF4-FFF2-40B4-BE49-F238E27FC236}">
              <a16:creationId xmlns:a16="http://schemas.microsoft.com/office/drawing/2014/main" id="{5BD3F063-6419-8916-F150-86AF1B2B38A9}"/>
            </a:ext>
          </a:extLst>
        </p:cNvPr>
        <p:cNvGrpSpPr/>
        <p:nvPr/>
      </p:nvGrpSpPr>
      <p:grpSpPr>
        <a:xfrm>
          <a:off x="0" y="0"/>
          <a:ext cx="0" cy="0"/>
          <a:chOff x="0" y="0"/>
          <a:chExt cx="0" cy="0"/>
        </a:xfrm>
      </p:grpSpPr>
      <p:sp>
        <p:nvSpPr>
          <p:cNvPr id="16" name="Freeform 15">
            <a:extLst>
              <a:ext uri="{FF2B5EF4-FFF2-40B4-BE49-F238E27FC236}">
                <a16:creationId xmlns:a16="http://schemas.microsoft.com/office/drawing/2014/main" id="{37ED4F0C-316E-87DD-F4FF-B8BB330C061D}"/>
              </a:ext>
            </a:extLst>
          </p:cNvPr>
          <p:cNvSpPr/>
          <p:nvPr/>
        </p:nvSpPr>
        <p:spPr>
          <a:xfrm>
            <a:off x="2419925" y="3844843"/>
            <a:ext cx="6843077" cy="2313017"/>
          </a:xfrm>
          <a:custGeom>
            <a:avLst/>
            <a:gdLst>
              <a:gd name="connsiteX0" fmla="*/ 341865 w 6843077"/>
              <a:gd name="connsiteY0" fmla="*/ 0 h 2313017"/>
              <a:gd name="connsiteX1" fmla="*/ 367730 w 6843077"/>
              <a:gd name="connsiteY1" fmla="*/ 0 h 2313017"/>
              <a:gd name="connsiteX2" fmla="*/ 3774973 w 6843077"/>
              <a:gd name="connsiteY2" fmla="*/ 0 h 2313017"/>
              <a:gd name="connsiteX3" fmla="*/ 3774973 w 6843077"/>
              <a:gd name="connsiteY3" fmla="*/ 1929 h 2313017"/>
              <a:gd name="connsiteX4" fmla="*/ 4146822 w 6843077"/>
              <a:gd name="connsiteY4" fmla="*/ 1929 h 2313017"/>
              <a:gd name="connsiteX5" fmla="*/ 4146822 w 6843077"/>
              <a:gd name="connsiteY5" fmla="*/ 0 h 2313017"/>
              <a:gd name="connsiteX6" fmla="*/ 6638877 w 6843077"/>
              <a:gd name="connsiteY6" fmla="*/ 0 h 2313017"/>
              <a:gd name="connsiteX7" fmla="*/ 6843077 w 6843077"/>
              <a:gd name="connsiteY7" fmla="*/ 124789 h 2313017"/>
              <a:gd name="connsiteX8" fmla="*/ 393538 w 6843077"/>
              <a:gd name="connsiteY8" fmla="*/ 124789 h 2313017"/>
              <a:gd name="connsiteX9" fmla="*/ 324451 w 6843077"/>
              <a:gd name="connsiteY9" fmla="*/ 193877 h 2313017"/>
              <a:gd name="connsiteX10" fmla="*/ 324451 w 6843077"/>
              <a:gd name="connsiteY10" fmla="*/ 1264792 h 2313017"/>
              <a:gd name="connsiteX11" fmla="*/ 406698 w 6843077"/>
              <a:gd name="connsiteY11" fmla="*/ 1264792 h 2313017"/>
              <a:gd name="connsiteX12" fmla="*/ 524113 w 6843077"/>
              <a:gd name="connsiteY12" fmla="*/ 1382206 h 2313017"/>
              <a:gd name="connsiteX13" fmla="*/ 524113 w 6843077"/>
              <a:gd name="connsiteY13" fmla="*/ 2195602 h 2313017"/>
              <a:gd name="connsiteX14" fmla="*/ 406698 w 6843077"/>
              <a:gd name="connsiteY14" fmla="*/ 2313017 h 2313017"/>
              <a:gd name="connsiteX15" fmla="*/ 117415 w 6843077"/>
              <a:gd name="connsiteY15" fmla="*/ 2313017 h 2313017"/>
              <a:gd name="connsiteX16" fmla="*/ 0 w 6843077"/>
              <a:gd name="connsiteY16" fmla="*/ 2195602 h 2313017"/>
              <a:gd name="connsiteX17" fmla="*/ 0 w 6843077"/>
              <a:gd name="connsiteY17" fmla="*/ 1382206 h 2313017"/>
              <a:gd name="connsiteX18" fmla="*/ 117415 w 6843077"/>
              <a:gd name="connsiteY18" fmla="*/ 1264792 h 2313017"/>
              <a:gd name="connsiteX19" fmla="*/ 199662 w 6843077"/>
              <a:gd name="connsiteY19" fmla="*/ 1264792 h 2313017"/>
              <a:gd name="connsiteX20" fmla="*/ 199662 w 6843077"/>
              <a:gd name="connsiteY20" fmla="*/ 168068 h 2313017"/>
              <a:gd name="connsiteX21" fmla="*/ 199662 w 6843077"/>
              <a:gd name="connsiteY21" fmla="*/ 142203 h 2313017"/>
              <a:gd name="connsiteX22" fmla="*/ 217927 w 6843077"/>
              <a:gd name="connsiteY22" fmla="*/ 123938 h 2313017"/>
              <a:gd name="connsiteX23" fmla="*/ 323600 w 6843077"/>
              <a:gd name="connsiteY23" fmla="*/ 18265 h 231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7" h="2313017">
                <a:moveTo>
                  <a:pt x="341865" y="0"/>
                </a:moveTo>
                <a:lnTo>
                  <a:pt x="367730" y="0"/>
                </a:lnTo>
                <a:lnTo>
                  <a:pt x="3774973" y="0"/>
                </a:lnTo>
                <a:lnTo>
                  <a:pt x="3774973" y="1929"/>
                </a:lnTo>
                <a:lnTo>
                  <a:pt x="4146822" y="1929"/>
                </a:lnTo>
                <a:lnTo>
                  <a:pt x="4146822" y="0"/>
                </a:lnTo>
                <a:lnTo>
                  <a:pt x="6638877" y="0"/>
                </a:lnTo>
                <a:lnTo>
                  <a:pt x="6843077" y="124789"/>
                </a:lnTo>
                <a:lnTo>
                  <a:pt x="393538" y="124789"/>
                </a:lnTo>
                <a:lnTo>
                  <a:pt x="324451" y="193877"/>
                </a:lnTo>
                <a:lnTo>
                  <a:pt x="324451" y="1264792"/>
                </a:lnTo>
                <a:lnTo>
                  <a:pt x="406698" y="1264792"/>
                </a:lnTo>
                <a:lnTo>
                  <a:pt x="524113" y="1382206"/>
                </a:lnTo>
                <a:lnTo>
                  <a:pt x="524113" y="2195602"/>
                </a:lnTo>
                <a:lnTo>
                  <a:pt x="406698" y="2313017"/>
                </a:lnTo>
                <a:lnTo>
                  <a:pt x="117415" y="2313017"/>
                </a:lnTo>
                <a:lnTo>
                  <a:pt x="0" y="2195602"/>
                </a:lnTo>
                <a:lnTo>
                  <a:pt x="0" y="1382206"/>
                </a:lnTo>
                <a:lnTo>
                  <a:pt x="117415" y="1264792"/>
                </a:lnTo>
                <a:lnTo>
                  <a:pt x="199662" y="1264792"/>
                </a:lnTo>
                <a:lnTo>
                  <a:pt x="199662" y="168068"/>
                </a:lnTo>
                <a:lnTo>
                  <a:pt x="199662" y="142203"/>
                </a:lnTo>
                <a:lnTo>
                  <a:pt x="217927" y="123938"/>
                </a:lnTo>
                <a:lnTo>
                  <a:pt x="323600" y="18265"/>
                </a:lnTo>
                <a:close/>
              </a:path>
            </a:pathLst>
          </a:custGeom>
          <a:solidFill>
            <a:schemeClr val="accent4">
              <a:alpha val="50000"/>
            </a:schemeClr>
          </a:solidFill>
          <a:ln w="9525" cap="flat">
            <a:noFill/>
            <a:prstDash val="solid"/>
            <a:miter/>
          </a:ln>
        </p:spPr>
        <p:txBody>
          <a:bodyPr wrap="square" rtlCol="0" anchor="ctr">
            <a:noAutofit/>
          </a:bodyPr>
          <a:lstStyle/>
          <a:p>
            <a:endParaRPr lang="sv-SE"/>
          </a:p>
        </p:txBody>
      </p:sp>
      <p:sp>
        <p:nvSpPr>
          <p:cNvPr id="3" name="Rectangle 2">
            <a:extLst>
              <a:ext uri="{FF2B5EF4-FFF2-40B4-BE49-F238E27FC236}">
                <a16:creationId xmlns:a16="http://schemas.microsoft.com/office/drawing/2014/main" id="{FE818059-2282-4AAE-B095-E6129FCD1EA4}"/>
              </a:ext>
            </a:extLst>
          </p:cNvPr>
          <p:cNvSpPr/>
          <p:nvPr/>
        </p:nvSpPr>
        <p:spPr>
          <a:xfrm>
            <a:off x="2182996" y="5087983"/>
            <a:ext cx="980302" cy="1247277"/>
          </a:xfrm>
          <a:prstGeom prst="rect">
            <a:avLst/>
          </a:prstGeom>
          <a:solidFill>
            <a:srgbClr val="FDB316"/>
          </a:solidFill>
          <a:ln>
            <a:noFill/>
          </a:ln>
          <a:effectLst>
            <a:softEdge rad="48993"/>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10">
            <a:extLst>
              <a:ext uri="{FF2B5EF4-FFF2-40B4-BE49-F238E27FC236}">
                <a16:creationId xmlns:a16="http://schemas.microsoft.com/office/drawing/2014/main" id="{9CD90147-8E41-8B3F-A6E3-070F521AA8D1}"/>
              </a:ext>
            </a:extLst>
          </p:cNvPr>
          <p:cNvSpPr/>
          <p:nvPr/>
        </p:nvSpPr>
        <p:spPr>
          <a:xfrm>
            <a:off x="2667800" y="3893043"/>
            <a:ext cx="6359860" cy="1533837"/>
          </a:xfrm>
          <a:custGeom>
            <a:avLst/>
            <a:gdLst>
              <a:gd name="connsiteX0" fmla="*/ 16960 w 6359860"/>
              <a:gd name="connsiteY0" fmla="*/ 1505760 h 1533837"/>
              <a:gd name="connsiteX1" fmla="*/ 19626 w 6359860"/>
              <a:gd name="connsiteY1" fmla="*/ 1506554 h 1533837"/>
              <a:gd name="connsiteX2" fmla="*/ 22065 w 6359860"/>
              <a:gd name="connsiteY2" fmla="*/ 1507859 h 1533837"/>
              <a:gd name="connsiteX3" fmla="*/ 24220 w 6359860"/>
              <a:gd name="connsiteY3" fmla="*/ 1509674 h 1533837"/>
              <a:gd name="connsiteX4" fmla="*/ 25979 w 6359860"/>
              <a:gd name="connsiteY4" fmla="*/ 1511829 h 1533837"/>
              <a:gd name="connsiteX5" fmla="*/ 27283 w 6359860"/>
              <a:gd name="connsiteY5" fmla="*/ 1514268 h 1533837"/>
              <a:gd name="connsiteX6" fmla="*/ 28077 w 6359860"/>
              <a:gd name="connsiteY6" fmla="*/ 1516877 h 1533837"/>
              <a:gd name="connsiteX7" fmla="*/ 28361 w 6359860"/>
              <a:gd name="connsiteY7" fmla="*/ 1519657 h 1533837"/>
              <a:gd name="connsiteX8" fmla="*/ 24220 w 6359860"/>
              <a:gd name="connsiteY8" fmla="*/ 1529697 h 1533837"/>
              <a:gd name="connsiteX9" fmla="*/ 22065 w 6359860"/>
              <a:gd name="connsiteY9" fmla="*/ 1531455 h 1533837"/>
              <a:gd name="connsiteX10" fmla="*/ 19626 w 6359860"/>
              <a:gd name="connsiteY10" fmla="*/ 1532760 h 1533837"/>
              <a:gd name="connsiteX11" fmla="*/ 16960 w 6359860"/>
              <a:gd name="connsiteY11" fmla="*/ 1533554 h 1533837"/>
              <a:gd name="connsiteX12" fmla="*/ 14181 w 6359860"/>
              <a:gd name="connsiteY12" fmla="*/ 1533837 h 1533837"/>
              <a:gd name="connsiteX13" fmla="*/ 4141 w 6359860"/>
              <a:gd name="connsiteY13" fmla="*/ 1529697 h 1533837"/>
              <a:gd name="connsiteX14" fmla="*/ 0 w 6359860"/>
              <a:gd name="connsiteY14" fmla="*/ 1519657 h 1533837"/>
              <a:gd name="connsiteX15" fmla="*/ 284 w 6359860"/>
              <a:gd name="connsiteY15" fmla="*/ 1516877 h 1533837"/>
              <a:gd name="connsiteX16" fmla="*/ 1078 w 6359860"/>
              <a:gd name="connsiteY16" fmla="*/ 1514268 h 1533837"/>
              <a:gd name="connsiteX17" fmla="*/ 2382 w 6359860"/>
              <a:gd name="connsiteY17" fmla="*/ 1511829 h 1533837"/>
              <a:gd name="connsiteX18" fmla="*/ 4141 w 6359860"/>
              <a:gd name="connsiteY18" fmla="*/ 1509674 h 1533837"/>
              <a:gd name="connsiteX19" fmla="*/ 16960 w 6359860"/>
              <a:gd name="connsiteY19" fmla="*/ 1505760 h 1533837"/>
              <a:gd name="connsiteX20" fmla="*/ 14181 w 6359860"/>
              <a:gd name="connsiteY20" fmla="*/ 1448130 h 1533837"/>
              <a:gd name="connsiteX21" fmla="*/ 28361 w 6359860"/>
              <a:gd name="connsiteY21" fmla="*/ 1462311 h 1533837"/>
              <a:gd name="connsiteX22" fmla="*/ 14181 w 6359860"/>
              <a:gd name="connsiteY22" fmla="*/ 1476491 h 1533837"/>
              <a:gd name="connsiteX23" fmla="*/ 0 w 6359860"/>
              <a:gd name="connsiteY23" fmla="*/ 1462311 h 1533837"/>
              <a:gd name="connsiteX24" fmla="*/ 14181 w 6359860"/>
              <a:gd name="connsiteY24" fmla="*/ 1448130 h 1533837"/>
              <a:gd name="connsiteX25" fmla="*/ 14181 w 6359860"/>
              <a:gd name="connsiteY25" fmla="*/ 1390727 h 1533837"/>
              <a:gd name="connsiteX26" fmla="*/ 28361 w 6359860"/>
              <a:gd name="connsiteY26" fmla="*/ 1404908 h 1533837"/>
              <a:gd name="connsiteX27" fmla="*/ 14181 w 6359860"/>
              <a:gd name="connsiteY27" fmla="*/ 1419089 h 1533837"/>
              <a:gd name="connsiteX28" fmla="*/ 0 w 6359860"/>
              <a:gd name="connsiteY28" fmla="*/ 1404908 h 1533837"/>
              <a:gd name="connsiteX29" fmla="*/ 14181 w 6359860"/>
              <a:gd name="connsiteY29" fmla="*/ 1390727 h 1533837"/>
              <a:gd name="connsiteX30" fmla="*/ 14181 w 6359860"/>
              <a:gd name="connsiteY30" fmla="*/ 1333325 h 1533837"/>
              <a:gd name="connsiteX31" fmla="*/ 28361 w 6359860"/>
              <a:gd name="connsiteY31" fmla="*/ 1347562 h 1533837"/>
              <a:gd name="connsiteX32" fmla="*/ 14181 w 6359860"/>
              <a:gd name="connsiteY32" fmla="*/ 1361742 h 1533837"/>
              <a:gd name="connsiteX33" fmla="*/ 0 w 6359860"/>
              <a:gd name="connsiteY33" fmla="*/ 1347562 h 1533837"/>
              <a:gd name="connsiteX34" fmla="*/ 14181 w 6359860"/>
              <a:gd name="connsiteY34" fmla="*/ 1333325 h 1533837"/>
              <a:gd name="connsiteX35" fmla="*/ 14181 w 6359860"/>
              <a:gd name="connsiteY35" fmla="*/ 1275979 h 1533837"/>
              <a:gd name="connsiteX36" fmla="*/ 28361 w 6359860"/>
              <a:gd name="connsiteY36" fmla="*/ 1290159 h 1533837"/>
              <a:gd name="connsiteX37" fmla="*/ 14181 w 6359860"/>
              <a:gd name="connsiteY37" fmla="*/ 1304340 h 1533837"/>
              <a:gd name="connsiteX38" fmla="*/ 0 w 6359860"/>
              <a:gd name="connsiteY38" fmla="*/ 1290159 h 1533837"/>
              <a:gd name="connsiteX39" fmla="*/ 14181 w 6359860"/>
              <a:gd name="connsiteY39" fmla="*/ 1275979 h 1533837"/>
              <a:gd name="connsiteX40" fmla="*/ 14181 w 6359860"/>
              <a:gd name="connsiteY40" fmla="*/ 1218576 h 1533837"/>
              <a:gd name="connsiteX41" fmla="*/ 28361 w 6359860"/>
              <a:gd name="connsiteY41" fmla="*/ 1232813 h 1533837"/>
              <a:gd name="connsiteX42" fmla="*/ 14181 w 6359860"/>
              <a:gd name="connsiteY42" fmla="*/ 1246937 h 1533837"/>
              <a:gd name="connsiteX43" fmla="*/ 0 w 6359860"/>
              <a:gd name="connsiteY43" fmla="*/ 1232813 h 1533837"/>
              <a:gd name="connsiteX44" fmla="*/ 14181 w 6359860"/>
              <a:gd name="connsiteY44" fmla="*/ 1218576 h 1533837"/>
              <a:gd name="connsiteX45" fmla="*/ 14181 w 6359860"/>
              <a:gd name="connsiteY45" fmla="*/ 1161230 h 1533837"/>
              <a:gd name="connsiteX46" fmla="*/ 28361 w 6359860"/>
              <a:gd name="connsiteY46" fmla="*/ 1175410 h 1533837"/>
              <a:gd name="connsiteX47" fmla="*/ 14181 w 6359860"/>
              <a:gd name="connsiteY47" fmla="*/ 1189591 h 1533837"/>
              <a:gd name="connsiteX48" fmla="*/ 0 w 6359860"/>
              <a:gd name="connsiteY48" fmla="*/ 1175410 h 1533837"/>
              <a:gd name="connsiteX49" fmla="*/ 14181 w 6359860"/>
              <a:gd name="connsiteY49" fmla="*/ 1161230 h 1533837"/>
              <a:gd name="connsiteX50" fmla="*/ 14181 w 6359860"/>
              <a:gd name="connsiteY50" fmla="*/ 1103827 h 1533837"/>
              <a:gd name="connsiteX51" fmla="*/ 28361 w 6359860"/>
              <a:gd name="connsiteY51" fmla="*/ 1118007 h 1533837"/>
              <a:gd name="connsiteX52" fmla="*/ 14181 w 6359860"/>
              <a:gd name="connsiteY52" fmla="*/ 1132188 h 1533837"/>
              <a:gd name="connsiteX53" fmla="*/ 0 w 6359860"/>
              <a:gd name="connsiteY53" fmla="*/ 1118007 h 1533837"/>
              <a:gd name="connsiteX54" fmla="*/ 14181 w 6359860"/>
              <a:gd name="connsiteY54" fmla="*/ 1103827 h 1533837"/>
              <a:gd name="connsiteX55" fmla="*/ 14181 w 6359860"/>
              <a:gd name="connsiteY55" fmla="*/ 1046481 h 1533837"/>
              <a:gd name="connsiteX56" fmla="*/ 28361 w 6359860"/>
              <a:gd name="connsiteY56" fmla="*/ 1060661 h 1533837"/>
              <a:gd name="connsiteX57" fmla="*/ 14181 w 6359860"/>
              <a:gd name="connsiteY57" fmla="*/ 1074842 h 1533837"/>
              <a:gd name="connsiteX58" fmla="*/ 0 w 6359860"/>
              <a:gd name="connsiteY58" fmla="*/ 1060661 h 1533837"/>
              <a:gd name="connsiteX59" fmla="*/ 14181 w 6359860"/>
              <a:gd name="connsiteY59" fmla="*/ 1046481 h 1533837"/>
              <a:gd name="connsiteX60" fmla="*/ 14181 w 6359860"/>
              <a:gd name="connsiteY60" fmla="*/ 989078 h 1533837"/>
              <a:gd name="connsiteX61" fmla="*/ 28361 w 6359860"/>
              <a:gd name="connsiteY61" fmla="*/ 1003258 h 1533837"/>
              <a:gd name="connsiteX62" fmla="*/ 14181 w 6359860"/>
              <a:gd name="connsiteY62" fmla="*/ 1017439 h 1533837"/>
              <a:gd name="connsiteX63" fmla="*/ 0 w 6359860"/>
              <a:gd name="connsiteY63" fmla="*/ 1003258 h 1533837"/>
              <a:gd name="connsiteX64" fmla="*/ 14181 w 6359860"/>
              <a:gd name="connsiteY64" fmla="*/ 989078 h 1533837"/>
              <a:gd name="connsiteX65" fmla="*/ 14181 w 6359860"/>
              <a:gd name="connsiteY65" fmla="*/ 931732 h 1533837"/>
              <a:gd name="connsiteX66" fmla="*/ 28361 w 6359860"/>
              <a:gd name="connsiteY66" fmla="*/ 945912 h 1533837"/>
              <a:gd name="connsiteX67" fmla="*/ 14181 w 6359860"/>
              <a:gd name="connsiteY67" fmla="*/ 960093 h 1533837"/>
              <a:gd name="connsiteX68" fmla="*/ 0 w 6359860"/>
              <a:gd name="connsiteY68" fmla="*/ 945912 h 1533837"/>
              <a:gd name="connsiteX69" fmla="*/ 14181 w 6359860"/>
              <a:gd name="connsiteY69" fmla="*/ 931732 h 1533837"/>
              <a:gd name="connsiteX70" fmla="*/ 14181 w 6359860"/>
              <a:gd name="connsiteY70" fmla="*/ 874329 h 1533837"/>
              <a:gd name="connsiteX71" fmla="*/ 28361 w 6359860"/>
              <a:gd name="connsiteY71" fmla="*/ 888509 h 1533837"/>
              <a:gd name="connsiteX72" fmla="*/ 14181 w 6359860"/>
              <a:gd name="connsiteY72" fmla="*/ 902690 h 1533837"/>
              <a:gd name="connsiteX73" fmla="*/ 0 w 6359860"/>
              <a:gd name="connsiteY73" fmla="*/ 888509 h 1533837"/>
              <a:gd name="connsiteX74" fmla="*/ 14181 w 6359860"/>
              <a:gd name="connsiteY74" fmla="*/ 874329 h 1533837"/>
              <a:gd name="connsiteX75" fmla="*/ 14181 w 6359860"/>
              <a:gd name="connsiteY75" fmla="*/ 816926 h 1533837"/>
              <a:gd name="connsiteX76" fmla="*/ 28361 w 6359860"/>
              <a:gd name="connsiteY76" fmla="*/ 831107 h 1533837"/>
              <a:gd name="connsiteX77" fmla="*/ 14181 w 6359860"/>
              <a:gd name="connsiteY77" fmla="*/ 845287 h 1533837"/>
              <a:gd name="connsiteX78" fmla="*/ 0 w 6359860"/>
              <a:gd name="connsiteY78" fmla="*/ 831107 h 1533837"/>
              <a:gd name="connsiteX79" fmla="*/ 14181 w 6359860"/>
              <a:gd name="connsiteY79" fmla="*/ 816926 h 1533837"/>
              <a:gd name="connsiteX80" fmla="*/ 14181 w 6359860"/>
              <a:gd name="connsiteY80" fmla="*/ 759580 h 1533837"/>
              <a:gd name="connsiteX81" fmla="*/ 28361 w 6359860"/>
              <a:gd name="connsiteY81" fmla="*/ 773761 h 1533837"/>
              <a:gd name="connsiteX82" fmla="*/ 14181 w 6359860"/>
              <a:gd name="connsiteY82" fmla="*/ 787941 h 1533837"/>
              <a:gd name="connsiteX83" fmla="*/ 0 w 6359860"/>
              <a:gd name="connsiteY83" fmla="*/ 773761 h 1533837"/>
              <a:gd name="connsiteX84" fmla="*/ 14181 w 6359860"/>
              <a:gd name="connsiteY84" fmla="*/ 759580 h 1533837"/>
              <a:gd name="connsiteX85" fmla="*/ 14181 w 6359860"/>
              <a:gd name="connsiteY85" fmla="*/ 702177 h 1533837"/>
              <a:gd name="connsiteX86" fmla="*/ 28361 w 6359860"/>
              <a:gd name="connsiteY86" fmla="*/ 716358 h 1533837"/>
              <a:gd name="connsiteX87" fmla="*/ 14181 w 6359860"/>
              <a:gd name="connsiteY87" fmla="*/ 730538 h 1533837"/>
              <a:gd name="connsiteX88" fmla="*/ 0 w 6359860"/>
              <a:gd name="connsiteY88" fmla="*/ 716358 h 1533837"/>
              <a:gd name="connsiteX89" fmla="*/ 14181 w 6359860"/>
              <a:gd name="connsiteY89" fmla="*/ 702177 h 1533837"/>
              <a:gd name="connsiteX90" fmla="*/ 14181 w 6359860"/>
              <a:gd name="connsiteY90" fmla="*/ 644831 h 1533837"/>
              <a:gd name="connsiteX91" fmla="*/ 28361 w 6359860"/>
              <a:gd name="connsiteY91" fmla="*/ 659011 h 1533837"/>
              <a:gd name="connsiteX92" fmla="*/ 14181 w 6359860"/>
              <a:gd name="connsiteY92" fmla="*/ 673192 h 1533837"/>
              <a:gd name="connsiteX93" fmla="*/ 0 w 6359860"/>
              <a:gd name="connsiteY93" fmla="*/ 659011 h 1533837"/>
              <a:gd name="connsiteX94" fmla="*/ 14181 w 6359860"/>
              <a:gd name="connsiteY94" fmla="*/ 644831 h 1533837"/>
              <a:gd name="connsiteX95" fmla="*/ 14181 w 6359860"/>
              <a:gd name="connsiteY95" fmla="*/ 587428 h 1533837"/>
              <a:gd name="connsiteX96" fmla="*/ 28361 w 6359860"/>
              <a:gd name="connsiteY96" fmla="*/ 601609 h 1533837"/>
              <a:gd name="connsiteX97" fmla="*/ 14181 w 6359860"/>
              <a:gd name="connsiteY97" fmla="*/ 615789 h 1533837"/>
              <a:gd name="connsiteX98" fmla="*/ 0 w 6359860"/>
              <a:gd name="connsiteY98" fmla="*/ 601609 h 1533837"/>
              <a:gd name="connsiteX99" fmla="*/ 14181 w 6359860"/>
              <a:gd name="connsiteY99" fmla="*/ 587428 h 1533837"/>
              <a:gd name="connsiteX100" fmla="*/ 14181 w 6359860"/>
              <a:gd name="connsiteY100" fmla="*/ 530025 h 1533837"/>
              <a:gd name="connsiteX101" fmla="*/ 28361 w 6359860"/>
              <a:gd name="connsiteY101" fmla="*/ 544262 h 1533837"/>
              <a:gd name="connsiteX102" fmla="*/ 14181 w 6359860"/>
              <a:gd name="connsiteY102" fmla="*/ 558443 h 1533837"/>
              <a:gd name="connsiteX103" fmla="*/ 0 w 6359860"/>
              <a:gd name="connsiteY103" fmla="*/ 544262 h 1533837"/>
              <a:gd name="connsiteX104" fmla="*/ 14181 w 6359860"/>
              <a:gd name="connsiteY104" fmla="*/ 530025 h 1533837"/>
              <a:gd name="connsiteX105" fmla="*/ 14181 w 6359860"/>
              <a:gd name="connsiteY105" fmla="*/ 472679 h 1533837"/>
              <a:gd name="connsiteX106" fmla="*/ 28361 w 6359860"/>
              <a:gd name="connsiteY106" fmla="*/ 486860 h 1533837"/>
              <a:gd name="connsiteX107" fmla="*/ 14181 w 6359860"/>
              <a:gd name="connsiteY107" fmla="*/ 501040 h 1533837"/>
              <a:gd name="connsiteX108" fmla="*/ 0 w 6359860"/>
              <a:gd name="connsiteY108" fmla="*/ 486860 h 1533837"/>
              <a:gd name="connsiteX109" fmla="*/ 14181 w 6359860"/>
              <a:gd name="connsiteY109" fmla="*/ 472679 h 1533837"/>
              <a:gd name="connsiteX110" fmla="*/ 14181 w 6359860"/>
              <a:gd name="connsiteY110" fmla="*/ 415276 h 1533837"/>
              <a:gd name="connsiteX111" fmla="*/ 28361 w 6359860"/>
              <a:gd name="connsiteY111" fmla="*/ 429514 h 1533837"/>
              <a:gd name="connsiteX112" fmla="*/ 14181 w 6359860"/>
              <a:gd name="connsiteY112" fmla="*/ 443637 h 1533837"/>
              <a:gd name="connsiteX113" fmla="*/ 0 w 6359860"/>
              <a:gd name="connsiteY113" fmla="*/ 429514 h 1533837"/>
              <a:gd name="connsiteX114" fmla="*/ 14181 w 6359860"/>
              <a:gd name="connsiteY114" fmla="*/ 415276 h 1533837"/>
              <a:gd name="connsiteX115" fmla="*/ 14181 w 6359860"/>
              <a:gd name="connsiteY115" fmla="*/ 357930 h 1533837"/>
              <a:gd name="connsiteX116" fmla="*/ 28361 w 6359860"/>
              <a:gd name="connsiteY116" fmla="*/ 372111 h 1533837"/>
              <a:gd name="connsiteX117" fmla="*/ 14181 w 6359860"/>
              <a:gd name="connsiteY117" fmla="*/ 386291 h 1533837"/>
              <a:gd name="connsiteX118" fmla="*/ 0 w 6359860"/>
              <a:gd name="connsiteY118" fmla="*/ 372111 h 1533837"/>
              <a:gd name="connsiteX119" fmla="*/ 14181 w 6359860"/>
              <a:gd name="connsiteY119" fmla="*/ 357930 h 1533837"/>
              <a:gd name="connsiteX120" fmla="*/ 14181 w 6359860"/>
              <a:gd name="connsiteY120" fmla="*/ 300527 h 1533837"/>
              <a:gd name="connsiteX121" fmla="*/ 28361 w 6359860"/>
              <a:gd name="connsiteY121" fmla="*/ 314708 h 1533837"/>
              <a:gd name="connsiteX122" fmla="*/ 14181 w 6359860"/>
              <a:gd name="connsiteY122" fmla="*/ 328889 h 1533837"/>
              <a:gd name="connsiteX123" fmla="*/ 0 w 6359860"/>
              <a:gd name="connsiteY123" fmla="*/ 314708 h 1533837"/>
              <a:gd name="connsiteX124" fmla="*/ 14181 w 6359860"/>
              <a:gd name="connsiteY124" fmla="*/ 300527 h 1533837"/>
              <a:gd name="connsiteX125" fmla="*/ 14181 w 6359860"/>
              <a:gd name="connsiteY125" fmla="*/ 243181 h 1533837"/>
              <a:gd name="connsiteX126" fmla="*/ 28361 w 6359860"/>
              <a:gd name="connsiteY126" fmla="*/ 257362 h 1533837"/>
              <a:gd name="connsiteX127" fmla="*/ 14181 w 6359860"/>
              <a:gd name="connsiteY127" fmla="*/ 271542 h 1533837"/>
              <a:gd name="connsiteX128" fmla="*/ 0 w 6359860"/>
              <a:gd name="connsiteY128" fmla="*/ 257362 h 1533837"/>
              <a:gd name="connsiteX129" fmla="*/ 14181 w 6359860"/>
              <a:gd name="connsiteY129" fmla="*/ 243181 h 1533837"/>
              <a:gd name="connsiteX130" fmla="*/ 14181 w 6359860"/>
              <a:gd name="connsiteY130" fmla="*/ 185778 h 1533837"/>
              <a:gd name="connsiteX131" fmla="*/ 28361 w 6359860"/>
              <a:gd name="connsiteY131" fmla="*/ 199959 h 1533837"/>
              <a:gd name="connsiteX132" fmla="*/ 14181 w 6359860"/>
              <a:gd name="connsiteY132" fmla="*/ 214139 h 1533837"/>
              <a:gd name="connsiteX133" fmla="*/ 0 w 6359860"/>
              <a:gd name="connsiteY133" fmla="*/ 199959 h 1533837"/>
              <a:gd name="connsiteX134" fmla="*/ 14181 w 6359860"/>
              <a:gd name="connsiteY134" fmla="*/ 185778 h 1533837"/>
              <a:gd name="connsiteX135" fmla="*/ 14181 w 6359860"/>
              <a:gd name="connsiteY135" fmla="*/ 128375 h 1533837"/>
              <a:gd name="connsiteX136" fmla="*/ 28361 w 6359860"/>
              <a:gd name="connsiteY136" fmla="*/ 142613 h 1533837"/>
              <a:gd name="connsiteX137" fmla="*/ 14181 w 6359860"/>
              <a:gd name="connsiteY137" fmla="*/ 156737 h 1533837"/>
              <a:gd name="connsiteX138" fmla="*/ 0 w 6359860"/>
              <a:gd name="connsiteY138" fmla="*/ 142613 h 1533837"/>
              <a:gd name="connsiteX139" fmla="*/ 14181 w 6359860"/>
              <a:gd name="connsiteY139" fmla="*/ 128375 h 1533837"/>
              <a:gd name="connsiteX140" fmla="*/ 38684 w 6359860"/>
              <a:gd name="connsiteY140" fmla="*/ 81154 h 1533837"/>
              <a:gd name="connsiteX141" fmla="*/ 48724 w 6359860"/>
              <a:gd name="connsiteY141" fmla="*/ 85323 h 1533837"/>
              <a:gd name="connsiteX142" fmla="*/ 48724 w 6359860"/>
              <a:gd name="connsiteY142" fmla="*/ 105403 h 1533837"/>
              <a:gd name="connsiteX143" fmla="*/ 38684 w 6359860"/>
              <a:gd name="connsiteY143" fmla="*/ 109544 h 1533837"/>
              <a:gd name="connsiteX144" fmla="*/ 28645 w 6359860"/>
              <a:gd name="connsiteY144" fmla="*/ 105403 h 1533837"/>
              <a:gd name="connsiteX145" fmla="*/ 28645 w 6359860"/>
              <a:gd name="connsiteY145" fmla="*/ 85323 h 1533837"/>
              <a:gd name="connsiteX146" fmla="*/ 38684 w 6359860"/>
              <a:gd name="connsiteY146" fmla="*/ 81154 h 1533837"/>
              <a:gd name="connsiteX147" fmla="*/ 79269 w 6359860"/>
              <a:gd name="connsiteY147" fmla="*/ 40598 h 1533837"/>
              <a:gd name="connsiteX148" fmla="*/ 89281 w 6359860"/>
              <a:gd name="connsiteY148" fmla="*/ 44767 h 1533837"/>
              <a:gd name="connsiteX149" fmla="*/ 89281 w 6359860"/>
              <a:gd name="connsiteY149" fmla="*/ 64790 h 1533837"/>
              <a:gd name="connsiteX150" fmla="*/ 79298 w 6359860"/>
              <a:gd name="connsiteY150" fmla="*/ 68987 h 1533837"/>
              <a:gd name="connsiteX151" fmla="*/ 69258 w 6359860"/>
              <a:gd name="connsiteY151" fmla="*/ 64790 h 1533837"/>
              <a:gd name="connsiteX152" fmla="*/ 69258 w 6359860"/>
              <a:gd name="connsiteY152" fmla="*/ 44767 h 1533837"/>
              <a:gd name="connsiteX153" fmla="*/ 79269 w 6359860"/>
              <a:gd name="connsiteY153" fmla="*/ 40598 h 1533837"/>
              <a:gd name="connsiteX154" fmla="*/ 117074 w 6359860"/>
              <a:gd name="connsiteY154" fmla="*/ 297 h 1533837"/>
              <a:gd name="connsiteX155" fmla="*/ 122633 w 6359860"/>
              <a:gd name="connsiteY155" fmla="*/ 297 h 1533837"/>
              <a:gd name="connsiteX156" fmla="*/ 125242 w 6359860"/>
              <a:gd name="connsiteY156" fmla="*/ 1091 h 1533837"/>
              <a:gd name="connsiteX157" fmla="*/ 127738 w 6359860"/>
              <a:gd name="connsiteY157" fmla="*/ 2395 h 1533837"/>
              <a:gd name="connsiteX158" fmla="*/ 129893 w 6359860"/>
              <a:gd name="connsiteY158" fmla="*/ 4210 h 1533837"/>
              <a:gd name="connsiteX159" fmla="*/ 131652 w 6359860"/>
              <a:gd name="connsiteY159" fmla="*/ 6366 h 1533837"/>
              <a:gd name="connsiteX160" fmla="*/ 132956 w 6359860"/>
              <a:gd name="connsiteY160" fmla="*/ 8805 h 1533837"/>
              <a:gd name="connsiteX161" fmla="*/ 133750 w 6359860"/>
              <a:gd name="connsiteY161" fmla="*/ 11414 h 1533837"/>
              <a:gd name="connsiteX162" fmla="*/ 134034 w 6359860"/>
              <a:gd name="connsiteY162" fmla="*/ 14194 h 1533837"/>
              <a:gd name="connsiteX163" fmla="*/ 129893 w 6359860"/>
              <a:gd name="connsiteY163" fmla="*/ 24234 h 1533837"/>
              <a:gd name="connsiteX164" fmla="*/ 127738 w 6359860"/>
              <a:gd name="connsiteY164" fmla="*/ 25992 h 1533837"/>
              <a:gd name="connsiteX165" fmla="*/ 125242 w 6359860"/>
              <a:gd name="connsiteY165" fmla="*/ 27296 h 1533837"/>
              <a:gd name="connsiteX166" fmla="*/ 122633 w 6359860"/>
              <a:gd name="connsiteY166" fmla="*/ 28091 h 1533837"/>
              <a:gd name="connsiteX167" fmla="*/ 119854 w 6359860"/>
              <a:gd name="connsiteY167" fmla="*/ 28374 h 1533837"/>
              <a:gd name="connsiteX168" fmla="*/ 117074 w 6359860"/>
              <a:gd name="connsiteY168" fmla="*/ 28091 h 1533837"/>
              <a:gd name="connsiteX169" fmla="*/ 114408 w 6359860"/>
              <a:gd name="connsiteY169" fmla="*/ 27296 h 1533837"/>
              <a:gd name="connsiteX170" fmla="*/ 111969 w 6359860"/>
              <a:gd name="connsiteY170" fmla="*/ 25992 h 1533837"/>
              <a:gd name="connsiteX171" fmla="*/ 109814 w 6359860"/>
              <a:gd name="connsiteY171" fmla="*/ 24234 h 1533837"/>
              <a:gd name="connsiteX172" fmla="*/ 108055 w 6359860"/>
              <a:gd name="connsiteY172" fmla="*/ 22078 h 1533837"/>
              <a:gd name="connsiteX173" fmla="*/ 106751 w 6359860"/>
              <a:gd name="connsiteY173" fmla="*/ 19639 h 1533837"/>
              <a:gd name="connsiteX174" fmla="*/ 105957 w 6359860"/>
              <a:gd name="connsiteY174" fmla="*/ 16973 h 1533837"/>
              <a:gd name="connsiteX175" fmla="*/ 105673 w 6359860"/>
              <a:gd name="connsiteY175" fmla="*/ 14194 h 1533837"/>
              <a:gd name="connsiteX176" fmla="*/ 105957 w 6359860"/>
              <a:gd name="connsiteY176" fmla="*/ 11414 h 1533837"/>
              <a:gd name="connsiteX177" fmla="*/ 106751 w 6359860"/>
              <a:gd name="connsiteY177" fmla="*/ 8805 h 1533837"/>
              <a:gd name="connsiteX178" fmla="*/ 108055 w 6359860"/>
              <a:gd name="connsiteY178" fmla="*/ 6366 h 1533837"/>
              <a:gd name="connsiteX179" fmla="*/ 109814 w 6359860"/>
              <a:gd name="connsiteY179" fmla="*/ 4210 h 1533837"/>
              <a:gd name="connsiteX180" fmla="*/ 111969 w 6359860"/>
              <a:gd name="connsiteY180" fmla="*/ 2395 h 1533837"/>
              <a:gd name="connsiteX181" fmla="*/ 114408 w 6359860"/>
              <a:gd name="connsiteY181" fmla="*/ 1091 h 1533837"/>
              <a:gd name="connsiteX182" fmla="*/ 117074 w 6359860"/>
              <a:gd name="connsiteY182" fmla="*/ 297 h 1533837"/>
              <a:gd name="connsiteX183" fmla="*/ 6348402 w 6359860"/>
              <a:gd name="connsiteY183" fmla="*/ 296 h 1533837"/>
              <a:gd name="connsiteX184" fmla="*/ 6351068 w 6359860"/>
              <a:gd name="connsiteY184" fmla="*/ 1091 h 1533837"/>
              <a:gd name="connsiteX185" fmla="*/ 6353507 w 6359860"/>
              <a:gd name="connsiteY185" fmla="*/ 2395 h 1533837"/>
              <a:gd name="connsiteX186" fmla="*/ 6355663 w 6359860"/>
              <a:gd name="connsiteY186" fmla="*/ 4210 h 1533837"/>
              <a:gd name="connsiteX187" fmla="*/ 6357421 w 6359860"/>
              <a:gd name="connsiteY187" fmla="*/ 6366 h 1533837"/>
              <a:gd name="connsiteX188" fmla="*/ 6358725 w 6359860"/>
              <a:gd name="connsiteY188" fmla="*/ 8805 h 1533837"/>
              <a:gd name="connsiteX189" fmla="*/ 6359576 w 6359860"/>
              <a:gd name="connsiteY189" fmla="*/ 11414 h 1533837"/>
              <a:gd name="connsiteX190" fmla="*/ 6359860 w 6359860"/>
              <a:gd name="connsiteY190" fmla="*/ 14193 h 1533837"/>
              <a:gd name="connsiteX191" fmla="*/ 6359576 w 6359860"/>
              <a:gd name="connsiteY191" fmla="*/ 16973 h 1533837"/>
              <a:gd name="connsiteX192" fmla="*/ 6358725 w 6359860"/>
              <a:gd name="connsiteY192" fmla="*/ 19639 h 1533837"/>
              <a:gd name="connsiteX193" fmla="*/ 6357421 w 6359860"/>
              <a:gd name="connsiteY193" fmla="*/ 22078 h 1533837"/>
              <a:gd name="connsiteX194" fmla="*/ 6355663 w 6359860"/>
              <a:gd name="connsiteY194" fmla="*/ 24233 h 1533837"/>
              <a:gd name="connsiteX195" fmla="*/ 6353507 w 6359860"/>
              <a:gd name="connsiteY195" fmla="*/ 25992 h 1533837"/>
              <a:gd name="connsiteX196" fmla="*/ 6351068 w 6359860"/>
              <a:gd name="connsiteY196" fmla="*/ 27296 h 1533837"/>
              <a:gd name="connsiteX197" fmla="*/ 6348402 w 6359860"/>
              <a:gd name="connsiteY197" fmla="*/ 28147 h 1533837"/>
              <a:gd name="connsiteX198" fmla="*/ 6345680 w 6359860"/>
              <a:gd name="connsiteY198" fmla="*/ 28431 h 1533837"/>
              <a:gd name="connsiteX199" fmla="*/ 6335640 w 6359860"/>
              <a:gd name="connsiteY199" fmla="*/ 24233 h 1533837"/>
              <a:gd name="connsiteX200" fmla="*/ 6333881 w 6359860"/>
              <a:gd name="connsiteY200" fmla="*/ 22078 h 1533837"/>
              <a:gd name="connsiteX201" fmla="*/ 6332576 w 6359860"/>
              <a:gd name="connsiteY201" fmla="*/ 19639 h 1533837"/>
              <a:gd name="connsiteX202" fmla="*/ 6331725 w 6359860"/>
              <a:gd name="connsiteY202" fmla="*/ 16973 h 1533837"/>
              <a:gd name="connsiteX203" fmla="*/ 6331499 w 6359860"/>
              <a:gd name="connsiteY203" fmla="*/ 14193 h 1533837"/>
              <a:gd name="connsiteX204" fmla="*/ 6331725 w 6359860"/>
              <a:gd name="connsiteY204" fmla="*/ 11414 h 1533837"/>
              <a:gd name="connsiteX205" fmla="*/ 6332576 w 6359860"/>
              <a:gd name="connsiteY205" fmla="*/ 8805 h 1533837"/>
              <a:gd name="connsiteX206" fmla="*/ 6333881 w 6359860"/>
              <a:gd name="connsiteY206" fmla="*/ 6366 h 1533837"/>
              <a:gd name="connsiteX207" fmla="*/ 6335640 w 6359860"/>
              <a:gd name="connsiteY207" fmla="*/ 4210 h 1533837"/>
              <a:gd name="connsiteX208" fmla="*/ 6348402 w 6359860"/>
              <a:gd name="connsiteY208" fmla="*/ 296 h 1533837"/>
              <a:gd name="connsiteX209" fmla="*/ 6289071 w 6359860"/>
              <a:gd name="connsiteY209" fmla="*/ 13 h 1533837"/>
              <a:gd name="connsiteX210" fmla="*/ 6303251 w 6359860"/>
              <a:gd name="connsiteY210" fmla="*/ 14194 h 1533837"/>
              <a:gd name="connsiteX211" fmla="*/ 6289071 w 6359860"/>
              <a:gd name="connsiteY211" fmla="*/ 28374 h 1533837"/>
              <a:gd name="connsiteX212" fmla="*/ 6274890 w 6359860"/>
              <a:gd name="connsiteY212" fmla="*/ 14194 h 1533837"/>
              <a:gd name="connsiteX213" fmla="*/ 6289071 w 6359860"/>
              <a:gd name="connsiteY213" fmla="*/ 13 h 1533837"/>
              <a:gd name="connsiteX214" fmla="*/ 6232462 w 6359860"/>
              <a:gd name="connsiteY214" fmla="*/ 13 h 1533837"/>
              <a:gd name="connsiteX215" fmla="*/ 6246643 w 6359860"/>
              <a:gd name="connsiteY215" fmla="*/ 14194 h 1533837"/>
              <a:gd name="connsiteX216" fmla="*/ 6232462 w 6359860"/>
              <a:gd name="connsiteY216" fmla="*/ 28374 h 1533837"/>
              <a:gd name="connsiteX217" fmla="*/ 6218282 w 6359860"/>
              <a:gd name="connsiteY217" fmla="*/ 14194 h 1533837"/>
              <a:gd name="connsiteX218" fmla="*/ 6232462 w 6359860"/>
              <a:gd name="connsiteY218" fmla="*/ 13 h 1533837"/>
              <a:gd name="connsiteX219" fmla="*/ 6175853 w 6359860"/>
              <a:gd name="connsiteY219" fmla="*/ 13 h 1533837"/>
              <a:gd name="connsiteX220" fmla="*/ 6190034 w 6359860"/>
              <a:gd name="connsiteY220" fmla="*/ 14194 h 1533837"/>
              <a:gd name="connsiteX221" fmla="*/ 6175853 w 6359860"/>
              <a:gd name="connsiteY221" fmla="*/ 28374 h 1533837"/>
              <a:gd name="connsiteX222" fmla="*/ 6161673 w 6359860"/>
              <a:gd name="connsiteY222" fmla="*/ 14194 h 1533837"/>
              <a:gd name="connsiteX223" fmla="*/ 6175853 w 6359860"/>
              <a:gd name="connsiteY223" fmla="*/ 13 h 1533837"/>
              <a:gd name="connsiteX224" fmla="*/ 6119245 w 6359860"/>
              <a:gd name="connsiteY224" fmla="*/ 13 h 1533837"/>
              <a:gd name="connsiteX225" fmla="*/ 6133425 w 6359860"/>
              <a:gd name="connsiteY225" fmla="*/ 14194 h 1533837"/>
              <a:gd name="connsiteX226" fmla="*/ 6119245 w 6359860"/>
              <a:gd name="connsiteY226" fmla="*/ 28374 h 1533837"/>
              <a:gd name="connsiteX227" fmla="*/ 6105064 w 6359860"/>
              <a:gd name="connsiteY227" fmla="*/ 14194 h 1533837"/>
              <a:gd name="connsiteX228" fmla="*/ 6119245 w 6359860"/>
              <a:gd name="connsiteY228" fmla="*/ 13 h 1533837"/>
              <a:gd name="connsiteX229" fmla="*/ 6062636 w 6359860"/>
              <a:gd name="connsiteY229" fmla="*/ 13 h 1533837"/>
              <a:gd name="connsiteX230" fmla="*/ 6076817 w 6359860"/>
              <a:gd name="connsiteY230" fmla="*/ 14194 h 1533837"/>
              <a:gd name="connsiteX231" fmla="*/ 6062636 w 6359860"/>
              <a:gd name="connsiteY231" fmla="*/ 28374 h 1533837"/>
              <a:gd name="connsiteX232" fmla="*/ 6048456 w 6359860"/>
              <a:gd name="connsiteY232" fmla="*/ 14194 h 1533837"/>
              <a:gd name="connsiteX233" fmla="*/ 6062636 w 6359860"/>
              <a:gd name="connsiteY233" fmla="*/ 13 h 1533837"/>
              <a:gd name="connsiteX234" fmla="*/ 6006084 w 6359860"/>
              <a:gd name="connsiteY234" fmla="*/ 13 h 1533837"/>
              <a:gd name="connsiteX235" fmla="*/ 6020265 w 6359860"/>
              <a:gd name="connsiteY235" fmla="*/ 14194 h 1533837"/>
              <a:gd name="connsiteX236" fmla="*/ 6006084 w 6359860"/>
              <a:gd name="connsiteY236" fmla="*/ 28374 h 1533837"/>
              <a:gd name="connsiteX237" fmla="*/ 5991904 w 6359860"/>
              <a:gd name="connsiteY237" fmla="*/ 14194 h 1533837"/>
              <a:gd name="connsiteX238" fmla="*/ 6006084 w 6359860"/>
              <a:gd name="connsiteY238" fmla="*/ 13 h 1533837"/>
              <a:gd name="connsiteX239" fmla="*/ 5949475 w 6359860"/>
              <a:gd name="connsiteY239" fmla="*/ 13 h 1533837"/>
              <a:gd name="connsiteX240" fmla="*/ 5963656 w 6359860"/>
              <a:gd name="connsiteY240" fmla="*/ 14194 h 1533837"/>
              <a:gd name="connsiteX241" fmla="*/ 5949475 w 6359860"/>
              <a:gd name="connsiteY241" fmla="*/ 28374 h 1533837"/>
              <a:gd name="connsiteX242" fmla="*/ 5935295 w 6359860"/>
              <a:gd name="connsiteY242" fmla="*/ 14194 h 1533837"/>
              <a:gd name="connsiteX243" fmla="*/ 5949475 w 6359860"/>
              <a:gd name="connsiteY243" fmla="*/ 13 h 1533837"/>
              <a:gd name="connsiteX244" fmla="*/ 5892866 w 6359860"/>
              <a:gd name="connsiteY244" fmla="*/ 13 h 1533837"/>
              <a:gd name="connsiteX245" fmla="*/ 5907047 w 6359860"/>
              <a:gd name="connsiteY245" fmla="*/ 14194 h 1533837"/>
              <a:gd name="connsiteX246" fmla="*/ 5892866 w 6359860"/>
              <a:gd name="connsiteY246" fmla="*/ 28374 h 1533837"/>
              <a:gd name="connsiteX247" fmla="*/ 5878686 w 6359860"/>
              <a:gd name="connsiteY247" fmla="*/ 14194 h 1533837"/>
              <a:gd name="connsiteX248" fmla="*/ 5892866 w 6359860"/>
              <a:gd name="connsiteY248" fmla="*/ 13 h 1533837"/>
              <a:gd name="connsiteX249" fmla="*/ 5836258 w 6359860"/>
              <a:gd name="connsiteY249" fmla="*/ 13 h 1533837"/>
              <a:gd name="connsiteX250" fmla="*/ 5850438 w 6359860"/>
              <a:gd name="connsiteY250" fmla="*/ 14194 h 1533837"/>
              <a:gd name="connsiteX251" fmla="*/ 5836258 w 6359860"/>
              <a:gd name="connsiteY251" fmla="*/ 28374 h 1533837"/>
              <a:gd name="connsiteX252" fmla="*/ 5822077 w 6359860"/>
              <a:gd name="connsiteY252" fmla="*/ 14194 h 1533837"/>
              <a:gd name="connsiteX253" fmla="*/ 5836258 w 6359860"/>
              <a:gd name="connsiteY253" fmla="*/ 13 h 1533837"/>
              <a:gd name="connsiteX254" fmla="*/ 5779649 w 6359860"/>
              <a:gd name="connsiteY254" fmla="*/ 13 h 1533837"/>
              <a:gd name="connsiteX255" fmla="*/ 5793830 w 6359860"/>
              <a:gd name="connsiteY255" fmla="*/ 14194 h 1533837"/>
              <a:gd name="connsiteX256" fmla="*/ 5779649 w 6359860"/>
              <a:gd name="connsiteY256" fmla="*/ 28374 h 1533837"/>
              <a:gd name="connsiteX257" fmla="*/ 5765469 w 6359860"/>
              <a:gd name="connsiteY257" fmla="*/ 14194 h 1533837"/>
              <a:gd name="connsiteX258" fmla="*/ 5779649 w 6359860"/>
              <a:gd name="connsiteY258" fmla="*/ 13 h 1533837"/>
              <a:gd name="connsiteX259" fmla="*/ 5723041 w 6359860"/>
              <a:gd name="connsiteY259" fmla="*/ 13 h 1533837"/>
              <a:gd name="connsiteX260" fmla="*/ 5737278 w 6359860"/>
              <a:gd name="connsiteY260" fmla="*/ 14194 h 1533837"/>
              <a:gd name="connsiteX261" fmla="*/ 5723041 w 6359860"/>
              <a:gd name="connsiteY261" fmla="*/ 28374 h 1533837"/>
              <a:gd name="connsiteX262" fmla="*/ 5708917 w 6359860"/>
              <a:gd name="connsiteY262" fmla="*/ 14194 h 1533837"/>
              <a:gd name="connsiteX263" fmla="*/ 5723041 w 6359860"/>
              <a:gd name="connsiteY263" fmla="*/ 13 h 1533837"/>
              <a:gd name="connsiteX264" fmla="*/ 5666489 w 6359860"/>
              <a:gd name="connsiteY264" fmla="*/ 13 h 1533837"/>
              <a:gd name="connsiteX265" fmla="*/ 5680669 w 6359860"/>
              <a:gd name="connsiteY265" fmla="*/ 14194 h 1533837"/>
              <a:gd name="connsiteX266" fmla="*/ 5666489 w 6359860"/>
              <a:gd name="connsiteY266" fmla="*/ 28374 h 1533837"/>
              <a:gd name="connsiteX267" fmla="*/ 5652308 w 6359860"/>
              <a:gd name="connsiteY267" fmla="*/ 14194 h 1533837"/>
              <a:gd name="connsiteX268" fmla="*/ 5666489 w 6359860"/>
              <a:gd name="connsiteY268" fmla="*/ 13 h 1533837"/>
              <a:gd name="connsiteX269" fmla="*/ 5609879 w 6359860"/>
              <a:gd name="connsiteY269" fmla="*/ 13 h 1533837"/>
              <a:gd name="connsiteX270" fmla="*/ 5624060 w 6359860"/>
              <a:gd name="connsiteY270" fmla="*/ 14194 h 1533837"/>
              <a:gd name="connsiteX271" fmla="*/ 5609879 w 6359860"/>
              <a:gd name="connsiteY271" fmla="*/ 28374 h 1533837"/>
              <a:gd name="connsiteX272" fmla="*/ 5595699 w 6359860"/>
              <a:gd name="connsiteY272" fmla="*/ 14194 h 1533837"/>
              <a:gd name="connsiteX273" fmla="*/ 5609879 w 6359860"/>
              <a:gd name="connsiteY273" fmla="*/ 13 h 1533837"/>
              <a:gd name="connsiteX274" fmla="*/ 5553271 w 6359860"/>
              <a:gd name="connsiteY274" fmla="*/ 13 h 1533837"/>
              <a:gd name="connsiteX275" fmla="*/ 5567451 w 6359860"/>
              <a:gd name="connsiteY275" fmla="*/ 14194 h 1533837"/>
              <a:gd name="connsiteX276" fmla="*/ 5553271 w 6359860"/>
              <a:gd name="connsiteY276" fmla="*/ 28374 h 1533837"/>
              <a:gd name="connsiteX277" fmla="*/ 5539090 w 6359860"/>
              <a:gd name="connsiteY277" fmla="*/ 14194 h 1533837"/>
              <a:gd name="connsiteX278" fmla="*/ 5553271 w 6359860"/>
              <a:gd name="connsiteY278" fmla="*/ 13 h 1533837"/>
              <a:gd name="connsiteX279" fmla="*/ 5496662 w 6359860"/>
              <a:gd name="connsiteY279" fmla="*/ 13 h 1533837"/>
              <a:gd name="connsiteX280" fmla="*/ 5510843 w 6359860"/>
              <a:gd name="connsiteY280" fmla="*/ 14194 h 1533837"/>
              <a:gd name="connsiteX281" fmla="*/ 5496662 w 6359860"/>
              <a:gd name="connsiteY281" fmla="*/ 28374 h 1533837"/>
              <a:gd name="connsiteX282" fmla="*/ 5482482 w 6359860"/>
              <a:gd name="connsiteY282" fmla="*/ 14194 h 1533837"/>
              <a:gd name="connsiteX283" fmla="*/ 5496662 w 6359860"/>
              <a:gd name="connsiteY283" fmla="*/ 13 h 1533837"/>
              <a:gd name="connsiteX284" fmla="*/ 5440110 w 6359860"/>
              <a:gd name="connsiteY284" fmla="*/ 13 h 1533837"/>
              <a:gd name="connsiteX285" fmla="*/ 5454234 w 6359860"/>
              <a:gd name="connsiteY285" fmla="*/ 14194 h 1533837"/>
              <a:gd name="connsiteX286" fmla="*/ 5440110 w 6359860"/>
              <a:gd name="connsiteY286" fmla="*/ 28374 h 1533837"/>
              <a:gd name="connsiteX287" fmla="*/ 5425873 w 6359860"/>
              <a:gd name="connsiteY287" fmla="*/ 14194 h 1533837"/>
              <a:gd name="connsiteX288" fmla="*/ 5440110 w 6359860"/>
              <a:gd name="connsiteY288" fmla="*/ 13 h 1533837"/>
              <a:gd name="connsiteX289" fmla="*/ 5383502 w 6359860"/>
              <a:gd name="connsiteY289" fmla="*/ 13 h 1533837"/>
              <a:gd name="connsiteX290" fmla="*/ 5397682 w 6359860"/>
              <a:gd name="connsiteY290" fmla="*/ 14194 h 1533837"/>
              <a:gd name="connsiteX291" fmla="*/ 5383502 w 6359860"/>
              <a:gd name="connsiteY291" fmla="*/ 28374 h 1533837"/>
              <a:gd name="connsiteX292" fmla="*/ 5369321 w 6359860"/>
              <a:gd name="connsiteY292" fmla="*/ 14194 h 1533837"/>
              <a:gd name="connsiteX293" fmla="*/ 5383502 w 6359860"/>
              <a:gd name="connsiteY293" fmla="*/ 13 h 1533837"/>
              <a:gd name="connsiteX294" fmla="*/ 5326892 w 6359860"/>
              <a:gd name="connsiteY294" fmla="*/ 13 h 1533837"/>
              <a:gd name="connsiteX295" fmla="*/ 5341073 w 6359860"/>
              <a:gd name="connsiteY295" fmla="*/ 14194 h 1533837"/>
              <a:gd name="connsiteX296" fmla="*/ 5326892 w 6359860"/>
              <a:gd name="connsiteY296" fmla="*/ 28374 h 1533837"/>
              <a:gd name="connsiteX297" fmla="*/ 5312712 w 6359860"/>
              <a:gd name="connsiteY297" fmla="*/ 14194 h 1533837"/>
              <a:gd name="connsiteX298" fmla="*/ 5326892 w 6359860"/>
              <a:gd name="connsiteY298" fmla="*/ 13 h 1533837"/>
              <a:gd name="connsiteX299" fmla="*/ 5270284 w 6359860"/>
              <a:gd name="connsiteY299" fmla="*/ 13 h 1533837"/>
              <a:gd name="connsiteX300" fmla="*/ 5284464 w 6359860"/>
              <a:gd name="connsiteY300" fmla="*/ 14194 h 1533837"/>
              <a:gd name="connsiteX301" fmla="*/ 5270284 w 6359860"/>
              <a:gd name="connsiteY301" fmla="*/ 28374 h 1533837"/>
              <a:gd name="connsiteX302" fmla="*/ 5256103 w 6359860"/>
              <a:gd name="connsiteY302" fmla="*/ 14194 h 1533837"/>
              <a:gd name="connsiteX303" fmla="*/ 5270284 w 6359860"/>
              <a:gd name="connsiteY303" fmla="*/ 13 h 1533837"/>
              <a:gd name="connsiteX304" fmla="*/ 5213675 w 6359860"/>
              <a:gd name="connsiteY304" fmla="*/ 13 h 1533837"/>
              <a:gd name="connsiteX305" fmla="*/ 5227856 w 6359860"/>
              <a:gd name="connsiteY305" fmla="*/ 14194 h 1533837"/>
              <a:gd name="connsiteX306" fmla="*/ 5213675 w 6359860"/>
              <a:gd name="connsiteY306" fmla="*/ 28374 h 1533837"/>
              <a:gd name="connsiteX307" fmla="*/ 5199495 w 6359860"/>
              <a:gd name="connsiteY307" fmla="*/ 14194 h 1533837"/>
              <a:gd name="connsiteX308" fmla="*/ 5213675 w 6359860"/>
              <a:gd name="connsiteY308" fmla="*/ 13 h 1533837"/>
              <a:gd name="connsiteX309" fmla="*/ 5157067 w 6359860"/>
              <a:gd name="connsiteY309" fmla="*/ 13 h 1533837"/>
              <a:gd name="connsiteX310" fmla="*/ 5171247 w 6359860"/>
              <a:gd name="connsiteY310" fmla="*/ 14194 h 1533837"/>
              <a:gd name="connsiteX311" fmla="*/ 5157067 w 6359860"/>
              <a:gd name="connsiteY311" fmla="*/ 28374 h 1533837"/>
              <a:gd name="connsiteX312" fmla="*/ 5142886 w 6359860"/>
              <a:gd name="connsiteY312" fmla="*/ 14194 h 1533837"/>
              <a:gd name="connsiteX313" fmla="*/ 5157067 w 6359860"/>
              <a:gd name="connsiteY313" fmla="*/ 13 h 1533837"/>
              <a:gd name="connsiteX314" fmla="*/ 5100515 w 6359860"/>
              <a:gd name="connsiteY314" fmla="*/ 13 h 1533837"/>
              <a:gd name="connsiteX315" fmla="*/ 5114695 w 6359860"/>
              <a:gd name="connsiteY315" fmla="*/ 14194 h 1533837"/>
              <a:gd name="connsiteX316" fmla="*/ 5100515 w 6359860"/>
              <a:gd name="connsiteY316" fmla="*/ 28374 h 1533837"/>
              <a:gd name="connsiteX317" fmla="*/ 5086334 w 6359860"/>
              <a:gd name="connsiteY317" fmla="*/ 14194 h 1533837"/>
              <a:gd name="connsiteX318" fmla="*/ 5100515 w 6359860"/>
              <a:gd name="connsiteY318" fmla="*/ 13 h 1533837"/>
              <a:gd name="connsiteX319" fmla="*/ 5043906 w 6359860"/>
              <a:gd name="connsiteY319" fmla="*/ 13 h 1533837"/>
              <a:gd name="connsiteX320" fmla="*/ 5058087 w 6359860"/>
              <a:gd name="connsiteY320" fmla="*/ 14194 h 1533837"/>
              <a:gd name="connsiteX321" fmla="*/ 5043906 w 6359860"/>
              <a:gd name="connsiteY321" fmla="*/ 28374 h 1533837"/>
              <a:gd name="connsiteX322" fmla="*/ 5029726 w 6359860"/>
              <a:gd name="connsiteY322" fmla="*/ 14194 h 1533837"/>
              <a:gd name="connsiteX323" fmla="*/ 5043906 w 6359860"/>
              <a:gd name="connsiteY323" fmla="*/ 13 h 1533837"/>
              <a:gd name="connsiteX324" fmla="*/ 4987297 w 6359860"/>
              <a:gd name="connsiteY324" fmla="*/ 13 h 1533837"/>
              <a:gd name="connsiteX325" fmla="*/ 5001477 w 6359860"/>
              <a:gd name="connsiteY325" fmla="*/ 14194 h 1533837"/>
              <a:gd name="connsiteX326" fmla="*/ 4987297 w 6359860"/>
              <a:gd name="connsiteY326" fmla="*/ 28374 h 1533837"/>
              <a:gd name="connsiteX327" fmla="*/ 4973116 w 6359860"/>
              <a:gd name="connsiteY327" fmla="*/ 14194 h 1533837"/>
              <a:gd name="connsiteX328" fmla="*/ 4987297 w 6359860"/>
              <a:gd name="connsiteY328" fmla="*/ 13 h 1533837"/>
              <a:gd name="connsiteX329" fmla="*/ 4930688 w 6359860"/>
              <a:gd name="connsiteY329" fmla="*/ 13 h 1533837"/>
              <a:gd name="connsiteX330" fmla="*/ 4944869 w 6359860"/>
              <a:gd name="connsiteY330" fmla="*/ 14194 h 1533837"/>
              <a:gd name="connsiteX331" fmla="*/ 4930688 w 6359860"/>
              <a:gd name="connsiteY331" fmla="*/ 28374 h 1533837"/>
              <a:gd name="connsiteX332" fmla="*/ 4916508 w 6359860"/>
              <a:gd name="connsiteY332" fmla="*/ 14194 h 1533837"/>
              <a:gd name="connsiteX333" fmla="*/ 4930688 w 6359860"/>
              <a:gd name="connsiteY333" fmla="*/ 13 h 1533837"/>
              <a:gd name="connsiteX334" fmla="*/ 4874080 w 6359860"/>
              <a:gd name="connsiteY334" fmla="*/ 13 h 1533837"/>
              <a:gd name="connsiteX335" fmla="*/ 4888260 w 6359860"/>
              <a:gd name="connsiteY335" fmla="*/ 14194 h 1533837"/>
              <a:gd name="connsiteX336" fmla="*/ 4874080 w 6359860"/>
              <a:gd name="connsiteY336" fmla="*/ 28374 h 1533837"/>
              <a:gd name="connsiteX337" fmla="*/ 4859899 w 6359860"/>
              <a:gd name="connsiteY337" fmla="*/ 14194 h 1533837"/>
              <a:gd name="connsiteX338" fmla="*/ 4874080 w 6359860"/>
              <a:gd name="connsiteY338" fmla="*/ 13 h 1533837"/>
              <a:gd name="connsiteX339" fmla="*/ 4817528 w 6359860"/>
              <a:gd name="connsiteY339" fmla="*/ 13 h 1533837"/>
              <a:gd name="connsiteX340" fmla="*/ 4831708 w 6359860"/>
              <a:gd name="connsiteY340" fmla="*/ 14194 h 1533837"/>
              <a:gd name="connsiteX341" fmla="*/ 4817528 w 6359860"/>
              <a:gd name="connsiteY341" fmla="*/ 28374 h 1533837"/>
              <a:gd name="connsiteX342" fmla="*/ 4803347 w 6359860"/>
              <a:gd name="connsiteY342" fmla="*/ 14194 h 1533837"/>
              <a:gd name="connsiteX343" fmla="*/ 4817528 w 6359860"/>
              <a:gd name="connsiteY343" fmla="*/ 13 h 1533837"/>
              <a:gd name="connsiteX344" fmla="*/ 4760919 w 6359860"/>
              <a:gd name="connsiteY344" fmla="*/ 13 h 1533837"/>
              <a:gd name="connsiteX345" fmla="*/ 4775100 w 6359860"/>
              <a:gd name="connsiteY345" fmla="*/ 14194 h 1533837"/>
              <a:gd name="connsiteX346" fmla="*/ 4760919 w 6359860"/>
              <a:gd name="connsiteY346" fmla="*/ 28374 h 1533837"/>
              <a:gd name="connsiteX347" fmla="*/ 4746739 w 6359860"/>
              <a:gd name="connsiteY347" fmla="*/ 14194 h 1533837"/>
              <a:gd name="connsiteX348" fmla="*/ 4760919 w 6359860"/>
              <a:gd name="connsiteY348" fmla="*/ 13 h 1533837"/>
              <a:gd name="connsiteX349" fmla="*/ 4704311 w 6359860"/>
              <a:gd name="connsiteY349" fmla="*/ 13 h 1533837"/>
              <a:gd name="connsiteX350" fmla="*/ 4718491 w 6359860"/>
              <a:gd name="connsiteY350" fmla="*/ 14194 h 1533837"/>
              <a:gd name="connsiteX351" fmla="*/ 4704311 w 6359860"/>
              <a:gd name="connsiteY351" fmla="*/ 28374 h 1533837"/>
              <a:gd name="connsiteX352" fmla="*/ 4690130 w 6359860"/>
              <a:gd name="connsiteY352" fmla="*/ 14194 h 1533837"/>
              <a:gd name="connsiteX353" fmla="*/ 4704311 w 6359860"/>
              <a:gd name="connsiteY353" fmla="*/ 13 h 1533837"/>
              <a:gd name="connsiteX354" fmla="*/ 4647701 w 6359860"/>
              <a:gd name="connsiteY354" fmla="*/ 13 h 1533837"/>
              <a:gd name="connsiteX355" fmla="*/ 4661882 w 6359860"/>
              <a:gd name="connsiteY355" fmla="*/ 14194 h 1533837"/>
              <a:gd name="connsiteX356" fmla="*/ 4647701 w 6359860"/>
              <a:gd name="connsiteY356" fmla="*/ 28374 h 1533837"/>
              <a:gd name="connsiteX357" fmla="*/ 4633521 w 6359860"/>
              <a:gd name="connsiteY357" fmla="*/ 14194 h 1533837"/>
              <a:gd name="connsiteX358" fmla="*/ 4647701 w 6359860"/>
              <a:gd name="connsiteY358" fmla="*/ 13 h 1533837"/>
              <a:gd name="connsiteX359" fmla="*/ 4591093 w 6359860"/>
              <a:gd name="connsiteY359" fmla="*/ 13 h 1533837"/>
              <a:gd name="connsiteX360" fmla="*/ 4605273 w 6359860"/>
              <a:gd name="connsiteY360" fmla="*/ 14194 h 1533837"/>
              <a:gd name="connsiteX361" fmla="*/ 4591093 w 6359860"/>
              <a:gd name="connsiteY361" fmla="*/ 28374 h 1533837"/>
              <a:gd name="connsiteX362" fmla="*/ 4576912 w 6359860"/>
              <a:gd name="connsiteY362" fmla="*/ 14194 h 1533837"/>
              <a:gd name="connsiteX363" fmla="*/ 4591093 w 6359860"/>
              <a:gd name="connsiteY363" fmla="*/ 13 h 1533837"/>
              <a:gd name="connsiteX364" fmla="*/ 4534484 w 6359860"/>
              <a:gd name="connsiteY364" fmla="*/ 13 h 1533837"/>
              <a:gd name="connsiteX365" fmla="*/ 4548721 w 6359860"/>
              <a:gd name="connsiteY365" fmla="*/ 14194 h 1533837"/>
              <a:gd name="connsiteX366" fmla="*/ 4534484 w 6359860"/>
              <a:gd name="connsiteY366" fmla="*/ 28374 h 1533837"/>
              <a:gd name="connsiteX367" fmla="*/ 4520360 w 6359860"/>
              <a:gd name="connsiteY367" fmla="*/ 14194 h 1533837"/>
              <a:gd name="connsiteX368" fmla="*/ 4534484 w 6359860"/>
              <a:gd name="connsiteY368" fmla="*/ 13 h 1533837"/>
              <a:gd name="connsiteX369" fmla="*/ 4477932 w 6359860"/>
              <a:gd name="connsiteY369" fmla="*/ 13 h 1533837"/>
              <a:gd name="connsiteX370" fmla="*/ 4492113 w 6359860"/>
              <a:gd name="connsiteY370" fmla="*/ 14194 h 1533837"/>
              <a:gd name="connsiteX371" fmla="*/ 4477932 w 6359860"/>
              <a:gd name="connsiteY371" fmla="*/ 28374 h 1533837"/>
              <a:gd name="connsiteX372" fmla="*/ 4463752 w 6359860"/>
              <a:gd name="connsiteY372" fmla="*/ 14194 h 1533837"/>
              <a:gd name="connsiteX373" fmla="*/ 4477932 w 6359860"/>
              <a:gd name="connsiteY373" fmla="*/ 13 h 1533837"/>
              <a:gd name="connsiteX374" fmla="*/ 4421323 w 6359860"/>
              <a:gd name="connsiteY374" fmla="*/ 13 h 1533837"/>
              <a:gd name="connsiteX375" fmla="*/ 4435504 w 6359860"/>
              <a:gd name="connsiteY375" fmla="*/ 14194 h 1533837"/>
              <a:gd name="connsiteX376" fmla="*/ 4421323 w 6359860"/>
              <a:gd name="connsiteY376" fmla="*/ 28374 h 1533837"/>
              <a:gd name="connsiteX377" fmla="*/ 4407143 w 6359860"/>
              <a:gd name="connsiteY377" fmla="*/ 14194 h 1533837"/>
              <a:gd name="connsiteX378" fmla="*/ 4421323 w 6359860"/>
              <a:gd name="connsiteY378" fmla="*/ 13 h 1533837"/>
              <a:gd name="connsiteX379" fmla="*/ 4364715 w 6359860"/>
              <a:gd name="connsiteY379" fmla="*/ 13 h 1533837"/>
              <a:gd name="connsiteX380" fmla="*/ 4378895 w 6359860"/>
              <a:gd name="connsiteY380" fmla="*/ 14194 h 1533837"/>
              <a:gd name="connsiteX381" fmla="*/ 4364715 w 6359860"/>
              <a:gd name="connsiteY381" fmla="*/ 28374 h 1533837"/>
              <a:gd name="connsiteX382" fmla="*/ 4350534 w 6359860"/>
              <a:gd name="connsiteY382" fmla="*/ 14194 h 1533837"/>
              <a:gd name="connsiteX383" fmla="*/ 4364715 w 6359860"/>
              <a:gd name="connsiteY383" fmla="*/ 13 h 1533837"/>
              <a:gd name="connsiteX384" fmla="*/ 4308106 w 6359860"/>
              <a:gd name="connsiteY384" fmla="*/ 13 h 1533837"/>
              <a:gd name="connsiteX385" fmla="*/ 4322286 w 6359860"/>
              <a:gd name="connsiteY385" fmla="*/ 14194 h 1533837"/>
              <a:gd name="connsiteX386" fmla="*/ 4308106 w 6359860"/>
              <a:gd name="connsiteY386" fmla="*/ 28374 h 1533837"/>
              <a:gd name="connsiteX387" fmla="*/ 4293925 w 6359860"/>
              <a:gd name="connsiteY387" fmla="*/ 14194 h 1533837"/>
              <a:gd name="connsiteX388" fmla="*/ 4308106 w 6359860"/>
              <a:gd name="connsiteY388" fmla="*/ 13 h 1533837"/>
              <a:gd name="connsiteX389" fmla="*/ 4251497 w 6359860"/>
              <a:gd name="connsiteY389" fmla="*/ 13 h 1533837"/>
              <a:gd name="connsiteX390" fmla="*/ 4265677 w 6359860"/>
              <a:gd name="connsiteY390" fmla="*/ 14194 h 1533837"/>
              <a:gd name="connsiteX391" fmla="*/ 4251497 w 6359860"/>
              <a:gd name="connsiteY391" fmla="*/ 28374 h 1533837"/>
              <a:gd name="connsiteX392" fmla="*/ 4237316 w 6359860"/>
              <a:gd name="connsiteY392" fmla="*/ 14194 h 1533837"/>
              <a:gd name="connsiteX393" fmla="*/ 4251497 w 6359860"/>
              <a:gd name="connsiteY393" fmla="*/ 13 h 1533837"/>
              <a:gd name="connsiteX394" fmla="*/ 4194888 w 6359860"/>
              <a:gd name="connsiteY394" fmla="*/ 13 h 1533837"/>
              <a:gd name="connsiteX395" fmla="*/ 4209126 w 6359860"/>
              <a:gd name="connsiteY395" fmla="*/ 14194 h 1533837"/>
              <a:gd name="connsiteX396" fmla="*/ 4194888 w 6359860"/>
              <a:gd name="connsiteY396" fmla="*/ 28374 h 1533837"/>
              <a:gd name="connsiteX397" fmla="*/ 4180764 w 6359860"/>
              <a:gd name="connsiteY397" fmla="*/ 14194 h 1533837"/>
              <a:gd name="connsiteX398" fmla="*/ 4194888 w 6359860"/>
              <a:gd name="connsiteY398" fmla="*/ 13 h 1533837"/>
              <a:gd name="connsiteX399" fmla="*/ 4138336 w 6359860"/>
              <a:gd name="connsiteY399" fmla="*/ 13 h 1533837"/>
              <a:gd name="connsiteX400" fmla="*/ 4152517 w 6359860"/>
              <a:gd name="connsiteY400" fmla="*/ 14194 h 1533837"/>
              <a:gd name="connsiteX401" fmla="*/ 4138336 w 6359860"/>
              <a:gd name="connsiteY401" fmla="*/ 28374 h 1533837"/>
              <a:gd name="connsiteX402" fmla="*/ 4124156 w 6359860"/>
              <a:gd name="connsiteY402" fmla="*/ 14194 h 1533837"/>
              <a:gd name="connsiteX403" fmla="*/ 4138336 w 6359860"/>
              <a:gd name="connsiteY403" fmla="*/ 13 h 1533837"/>
              <a:gd name="connsiteX404" fmla="*/ 4081727 w 6359860"/>
              <a:gd name="connsiteY404" fmla="*/ 13 h 1533837"/>
              <a:gd name="connsiteX405" fmla="*/ 4095908 w 6359860"/>
              <a:gd name="connsiteY405" fmla="*/ 14194 h 1533837"/>
              <a:gd name="connsiteX406" fmla="*/ 4081727 w 6359860"/>
              <a:gd name="connsiteY406" fmla="*/ 28374 h 1533837"/>
              <a:gd name="connsiteX407" fmla="*/ 4067547 w 6359860"/>
              <a:gd name="connsiteY407" fmla="*/ 14194 h 1533837"/>
              <a:gd name="connsiteX408" fmla="*/ 4081727 w 6359860"/>
              <a:gd name="connsiteY408" fmla="*/ 13 h 1533837"/>
              <a:gd name="connsiteX409" fmla="*/ 4025119 w 6359860"/>
              <a:gd name="connsiteY409" fmla="*/ 13 h 1533837"/>
              <a:gd name="connsiteX410" fmla="*/ 4039299 w 6359860"/>
              <a:gd name="connsiteY410" fmla="*/ 14194 h 1533837"/>
              <a:gd name="connsiteX411" fmla="*/ 4025119 w 6359860"/>
              <a:gd name="connsiteY411" fmla="*/ 28374 h 1533837"/>
              <a:gd name="connsiteX412" fmla="*/ 4010938 w 6359860"/>
              <a:gd name="connsiteY412" fmla="*/ 14194 h 1533837"/>
              <a:gd name="connsiteX413" fmla="*/ 4025119 w 6359860"/>
              <a:gd name="connsiteY413" fmla="*/ 13 h 1533837"/>
              <a:gd name="connsiteX414" fmla="*/ 3968510 w 6359860"/>
              <a:gd name="connsiteY414" fmla="*/ 13 h 1533837"/>
              <a:gd name="connsiteX415" fmla="*/ 3982691 w 6359860"/>
              <a:gd name="connsiteY415" fmla="*/ 14194 h 1533837"/>
              <a:gd name="connsiteX416" fmla="*/ 3968510 w 6359860"/>
              <a:gd name="connsiteY416" fmla="*/ 28374 h 1533837"/>
              <a:gd name="connsiteX417" fmla="*/ 3954330 w 6359860"/>
              <a:gd name="connsiteY417" fmla="*/ 14194 h 1533837"/>
              <a:gd name="connsiteX418" fmla="*/ 3968510 w 6359860"/>
              <a:gd name="connsiteY418" fmla="*/ 13 h 1533837"/>
              <a:gd name="connsiteX419" fmla="*/ 3911901 w 6359860"/>
              <a:gd name="connsiteY419" fmla="*/ 13 h 1533837"/>
              <a:gd name="connsiteX420" fmla="*/ 3926082 w 6359860"/>
              <a:gd name="connsiteY420" fmla="*/ 14194 h 1533837"/>
              <a:gd name="connsiteX421" fmla="*/ 3911901 w 6359860"/>
              <a:gd name="connsiteY421" fmla="*/ 28374 h 1533837"/>
              <a:gd name="connsiteX422" fmla="*/ 3897721 w 6359860"/>
              <a:gd name="connsiteY422" fmla="*/ 14194 h 1533837"/>
              <a:gd name="connsiteX423" fmla="*/ 3911901 w 6359860"/>
              <a:gd name="connsiteY423" fmla="*/ 13 h 1533837"/>
              <a:gd name="connsiteX424" fmla="*/ 3855349 w 6359860"/>
              <a:gd name="connsiteY424" fmla="*/ 13 h 1533837"/>
              <a:gd name="connsiteX425" fmla="*/ 3869530 w 6359860"/>
              <a:gd name="connsiteY425" fmla="*/ 14194 h 1533837"/>
              <a:gd name="connsiteX426" fmla="*/ 3855349 w 6359860"/>
              <a:gd name="connsiteY426" fmla="*/ 28374 h 1533837"/>
              <a:gd name="connsiteX427" fmla="*/ 3841169 w 6359860"/>
              <a:gd name="connsiteY427" fmla="*/ 14194 h 1533837"/>
              <a:gd name="connsiteX428" fmla="*/ 3855349 w 6359860"/>
              <a:gd name="connsiteY428" fmla="*/ 13 h 1533837"/>
              <a:gd name="connsiteX429" fmla="*/ 3798741 w 6359860"/>
              <a:gd name="connsiteY429" fmla="*/ 13 h 1533837"/>
              <a:gd name="connsiteX430" fmla="*/ 3812921 w 6359860"/>
              <a:gd name="connsiteY430" fmla="*/ 14194 h 1533837"/>
              <a:gd name="connsiteX431" fmla="*/ 3798741 w 6359860"/>
              <a:gd name="connsiteY431" fmla="*/ 28374 h 1533837"/>
              <a:gd name="connsiteX432" fmla="*/ 3784560 w 6359860"/>
              <a:gd name="connsiteY432" fmla="*/ 14194 h 1533837"/>
              <a:gd name="connsiteX433" fmla="*/ 3798741 w 6359860"/>
              <a:gd name="connsiteY433" fmla="*/ 13 h 1533837"/>
              <a:gd name="connsiteX434" fmla="*/ 3742132 w 6359860"/>
              <a:gd name="connsiteY434" fmla="*/ 13 h 1533837"/>
              <a:gd name="connsiteX435" fmla="*/ 3756312 w 6359860"/>
              <a:gd name="connsiteY435" fmla="*/ 14194 h 1533837"/>
              <a:gd name="connsiteX436" fmla="*/ 3742132 w 6359860"/>
              <a:gd name="connsiteY436" fmla="*/ 28374 h 1533837"/>
              <a:gd name="connsiteX437" fmla="*/ 3727951 w 6359860"/>
              <a:gd name="connsiteY437" fmla="*/ 14194 h 1533837"/>
              <a:gd name="connsiteX438" fmla="*/ 3742132 w 6359860"/>
              <a:gd name="connsiteY438" fmla="*/ 13 h 1533837"/>
              <a:gd name="connsiteX439" fmla="*/ 3685523 w 6359860"/>
              <a:gd name="connsiteY439" fmla="*/ 13 h 1533837"/>
              <a:gd name="connsiteX440" fmla="*/ 3699704 w 6359860"/>
              <a:gd name="connsiteY440" fmla="*/ 14194 h 1533837"/>
              <a:gd name="connsiteX441" fmla="*/ 3685523 w 6359860"/>
              <a:gd name="connsiteY441" fmla="*/ 28374 h 1533837"/>
              <a:gd name="connsiteX442" fmla="*/ 3671343 w 6359860"/>
              <a:gd name="connsiteY442" fmla="*/ 14194 h 1533837"/>
              <a:gd name="connsiteX443" fmla="*/ 3685523 w 6359860"/>
              <a:gd name="connsiteY443" fmla="*/ 13 h 1533837"/>
              <a:gd name="connsiteX444" fmla="*/ 3628915 w 6359860"/>
              <a:gd name="connsiteY444" fmla="*/ 13 h 1533837"/>
              <a:gd name="connsiteX445" fmla="*/ 3643095 w 6359860"/>
              <a:gd name="connsiteY445" fmla="*/ 14194 h 1533837"/>
              <a:gd name="connsiteX446" fmla="*/ 3628915 w 6359860"/>
              <a:gd name="connsiteY446" fmla="*/ 28374 h 1533837"/>
              <a:gd name="connsiteX447" fmla="*/ 3614734 w 6359860"/>
              <a:gd name="connsiteY447" fmla="*/ 14194 h 1533837"/>
              <a:gd name="connsiteX448" fmla="*/ 3628915 w 6359860"/>
              <a:gd name="connsiteY448" fmla="*/ 13 h 1533837"/>
              <a:gd name="connsiteX449" fmla="*/ 3572362 w 6359860"/>
              <a:gd name="connsiteY449" fmla="*/ 13 h 1533837"/>
              <a:gd name="connsiteX450" fmla="*/ 3586543 w 6359860"/>
              <a:gd name="connsiteY450" fmla="*/ 14194 h 1533837"/>
              <a:gd name="connsiteX451" fmla="*/ 3572362 w 6359860"/>
              <a:gd name="connsiteY451" fmla="*/ 28374 h 1533837"/>
              <a:gd name="connsiteX452" fmla="*/ 3558182 w 6359860"/>
              <a:gd name="connsiteY452" fmla="*/ 14194 h 1533837"/>
              <a:gd name="connsiteX453" fmla="*/ 3572362 w 6359860"/>
              <a:gd name="connsiteY453" fmla="*/ 13 h 1533837"/>
              <a:gd name="connsiteX454" fmla="*/ 3515754 w 6359860"/>
              <a:gd name="connsiteY454" fmla="*/ 13 h 1533837"/>
              <a:gd name="connsiteX455" fmla="*/ 3529934 w 6359860"/>
              <a:gd name="connsiteY455" fmla="*/ 14194 h 1533837"/>
              <a:gd name="connsiteX456" fmla="*/ 3515754 w 6359860"/>
              <a:gd name="connsiteY456" fmla="*/ 28374 h 1533837"/>
              <a:gd name="connsiteX457" fmla="*/ 3501573 w 6359860"/>
              <a:gd name="connsiteY457" fmla="*/ 14194 h 1533837"/>
              <a:gd name="connsiteX458" fmla="*/ 3515754 w 6359860"/>
              <a:gd name="connsiteY458" fmla="*/ 13 h 1533837"/>
              <a:gd name="connsiteX459" fmla="*/ 3459145 w 6359860"/>
              <a:gd name="connsiteY459" fmla="*/ 13 h 1533837"/>
              <a:gd name="connsiteX460" fmla="*/ 3473325 w 6359860"/>
              <a:gd name="connsiteY460" fmla="*/ 14194 h 1533837"/>
              <a:gd name="connsiteX461" fmla="*/ 3459145 w 6359860"/>
              <a:gd name="connsiteY461" fmla="*/ 28374 h 1533837"/>
              <a:gd name="connsiteX462" fmla="*/ 3444964 w 6359860"/>
              <a:gd name="connsiteY462" fmla="*/ 14194 h 1533837"/>
              <a:gd name="connsiteX463" fmla="*/ 3459145 w 6359860"/>
              <a:gd name="connsiteY463" fmla="*/ 13 h 1533837"/>
              <a:gd name="connsiteX464" fmla="*/ 3402536 w 6359860"/>
              <a:gd name="connsiteY464" fmla="*/ 13 h 1533837"/>
              <a:gd name="connsiteX465" fmla="*/ 3416717 w 6359860"/>
              <a:gd name="connsiteY465" fmla="*/ 14194 h 1533837"/>
              <a:gd name="connsiteX466" fmla="*/ 3402536 w 6359860"/>
              <a:gd name="connsiteY466" fmla="*/ 28374 h 1533837"/>
              <a:gd name="connsiteX467" fmla="*/ 3388356 w 6359860"/>
              <a:gd name="connsiteY467" fmla="*/ 14194 h 1533837"/>
              <a:gd name="connsiteX468" fmla="*/ 3402536 w 6359860"/>
              <a:gd name="connsiteY468" fmla="*/ 13 h 1533837"/>
              <a:gd name="connsiteX469" fmla="*/ 3345928 w 6359860"/>
              <a:gd name="connsiteY469" fmla="*/ 13 h 1533837"/>
              <a:gd name="connsiteX470" fmla="*/ 3360108 w 6359860"/>
              <a:gd name="connsiteY470" fmla="*/ 14194 h 1533837"/>
              <a:gd name="connsiteX471" fmla="*/ 3345928 w 6359860"/>
              <a:gd name="connsiteY471" fmla="*/ 28374 h 1533837"/>
              <a:gd name="connsiteX472" fmla="*/ 3331747 w 6359860"/>
              <a:gd name="connsiteY472" fmla="*/ 14194 h 1533837"/>
              <a:gd name="connsiteX473" fmla="*/ 3345928 w 6359860"/>
              <a:gd name="connsiteY473" fmla="*/ 13 h 1533837"/>
              <a:gd name="connsiteX474" fmla="*/ 3289375 w 6359860"/>
              <a:gd name="connsiteY474" fmla="*/ 13 h 1533837"/>
              <a:gd name="connsiteX475" fmla="*/ 3303499 w 6359860"/>
              <a:gd name="connsiteY475" fmla="*/ 14194 h 1533837"/>
              <a:gd name="connsiteX476" fmla="*/ 3289375 w 6359860"/>
              <a:gd name="connsiteY476" fmla="*/ 28374 h 1533837"/>
              <a:gd name="connsiteX477" fmla="*/ 3275138 w 6359860"/>
              <a:gd name="connsiteY477" fmla="*/ 14194 h 1533837"/>
              <a:gd name="connsiteX478" fmla="*/ 3289375 w 6359860"/>
              <a:gd name="connsiteY478" fmla="*/ 13 h 1533837"/>
              <a:gd name="connsiteX479" fmla="*/ 3232767 w 6359860"/>
              <a:gd name="connsiteY479" fmla="*/ 13 h 1533837"/>
              <a:gd name="connsiteX480" fmla="*/ 3246947 w 6359860"/>
              <a:gd name="connsiteY480" fmla="*/ 14194 h 1533837"/>
              <a:gd name="connsiteX481" fmla="*/ 3232767 w 6359860"/>
              <a:gd name="connsiteY481" fmla="*/ 28374 h 1533837"/>
              <a:gd name="connsiteX482" fmla="*/ 3218586 w 6359860"/>
              <a:gd name="connsiteY482" fmla="*/ 14194 h 1533837"/>
              <a:gd name="connsiteX483" fmla="*/ 3232767 w 6359860"/>
              <a:gd name="connsiteY483" fmla="*/ 13 h 1533837"/>
              <a:gd name="connsiteX484" fmla="*/ 3176158 w 6359860"/>
              <a:gd name="connsiteY484" fmla="*/ 13 h 1533837"/>
              <a:gd name="connsiteX485" fmla="*/ 3190339 w 6359860"/>
              <a:gd name="connsiteY485" fmla="*/ 14194 h 1533837"/>
              <a:gd name="connsiteX486" fmla="*/ 3176158 w 6359860"/>
              <a:gd name="connsiteY486" fmla="*/ 28374 h 1533837"/>
              <a:gd name="connsiteX487" fmla="*/ 3161978 w 6359860"/>
              <a:gd name="connsiteY487" fmla="*/ 14194 h 1533837"/>
              <a:gd name="connsiteX488" fmla="*/ 3176158 w 6359860"/>
              <a:gd name="connsiteY488" fmla="*/ 13 h 1533837"/>
              <a:gd name="connsiteX489" fmla="*/ 3119549 w 6359860"/>
              <a:gd name="connsiteY489" fmla="*/ 13 h 1533837"/>
              <a:gd name="connsiteX490" fmla="*/ 3133730 w 6359860"/>
              <a:gd name="connsiteY490" fmla="*/ 14194 h 1533837"/>
              <a:gd name="connsiteX491" fmla="*/ 3119549 w 6359860"/>
              <a:gd name="connsiteY491" fmla="*/ 28374 h 1533837"/>
              <a:gd name="connsiteX492" fmla="*/ 3105369 w 6359860"/>
              <a:gd name="connsiteY492" fmla="*/ 14194 h 1533837"/>
              <a:gd name="connsiteX493" fmla="*/ 3119549 w 6359860"/>
              <a:gd name="connsiteY493" fmla="*/ 13 h 1533837"/>
              <a:gd name="connsiteX494" fmla="*/ 3062941 w 6359860"/>
              <a:gd name="connsiteY494" fmla="*/ 13 h 1533837"/>
              <a:gd name="connsiteX495" fmla="*/ 3077121 w 6359860"/>
              <a:gd name="connsiteY495" fmla="*/ 14194 h 1533837"/>
              <a:gd name="connsiteX496" fmla="*/ 3062941 w 6359860"/>
              <a:gd name="connsiteY496" fmla="*/ 28374 h 1533837"/>
              <a:gd name="connsiteX497" fmla="*/ 3048760 w 6359860"/>
              <a:gd name="connsiteY497" fmla="*/ 14194 h 1533837"/>
              <a:gd name="connsiteX498" fmla="*/ 3062941 w 6359860"/>
              <a:gd name="connsiteY498" fmla="*/ 13 h 1533837"/>
              <a:gd name="connsiteX499" fmla="*/ 3006332 w 6359860"/>
              <a:gd name="connsiteY499" fmla="*/ 13 h 1533837"/>
              <a:gd name="connsiteX500" fmla="*/ 3020513 w 6359860"/>
              <a:gd name="connsiteY500" fmla="*/ 14194 h 1533837"/>
              <a:gd name="connsiteX501" fmla="*/ 3006332 w 6359860"/>
              <a:gd name="connsiteY501" fmla="*/ 28374 h 1533837"/>
              <a:gd name="connsiteX502" fmla="*/ 2992151 w 6359860"/>
              <a:gd name="connsiteY502" fmla="*/ 14194 h 1533837"/>
              <a:gd name="connsiteX503" fmla="*/ 3006332 w 6359860"/>
              <a:gd name="connsiteY503" fmla="*/ 13 h 1533837"/>
              <a:gd name="connsiteX504" fmla="*/ 2949780 w 6359860"/>
              <a:gd name="connsiteY504" fmla="*/ 13 h 1533837"/>
              <a:gd name="connsiteX505" fmla="*/ 2963960 w 6359860"/>
              <a:gd name="connsiteY505" fmla="*/ 14194 h 1533837"/>
              <a:gd name="connsiteX506" fmla="*/ 2949780 w 6359860"/>
              <a:gd name="connsiteY506" fmla="*/ 28374 h 1533837"/>
              <a:gd name="connsiteX507" fmla="*/ 2935542 w 6359860"/>
              <a:gd name="connsiteY507" fmla="*/ 14194 h 1533837"/>
              <a:gd name="connsiteX508" fmla="*/ 2949780 w 6359860"/>
              <a:gd name="connsiteY508" fmla="*/ 13 h 1533837"/>
              <a:gd name="connsiteX509" fmla="*/ 2893171 w 6359860"/>
              <a:gd name="connsiteY509" fmla="*/ 13 h 1533837"/>
              <a:gd name="connsiteX510" fmla="*/ 2907352 w 6359860"/>
              <a:gd name="connsiteY510" fmla="*/ 14194 h 1533837"/>
              <a:gd name="connsiteX511" fmla="*/ 2893171 w 6359860"/>
              <a:gd name="connsiteY511" fmla="*/ 28374 h 1533837"/>
              <a:gd name="connsiteX512" fmla="*/ 2878991 w 6359860"/>
              <a:gd name="connsiteY512" fmla="*/ 14194 h 1533837"/>
              <a:gd name="connsiteX513" fmla="*/ 2893171 w 6359860"/>
              <a:gd name="connsiteY513" fmla="*/ 13 h 1533837"/>
              <a:gd name="connsiteX514" fmla="*/ 2836563 w 6359860"/>
              <a:gd name="connsiteY514" fmla="*/ 13 h 1533837"/>
              <a:gd name="connsiteX515" fmla="*/ 2850743 w 6359860"/>
              <a:gd name="connsiteY515" fmla="*/ 14194 h 1533837"/>
              <a:gd name="connsiteX516" fmla="*/ 2836563 w 6359860"/>
              <a:gd name="connsiteY516" fmla="*/ 28374 h 1533837"/>
              <a:gd name="connsiteX517" fmla="*/ 2822382 w 6359860"/>
              <a:gd name="connsiteY517" fmla="*/ 14194 h 1533837"/>
              <a:gd name="connsiteX518" fmla="*/ 2836563 w 6359860"/>
              <a:gd name="connsiteY518" fmla="*/ 13 h 1533837"/>
              <a:gd name="connsiteX519" fmla="*/ 2779954 w 6359860"/>
              <a:gd name="connsiteY519" fmla="*/ 13 h 1533837"/>
              <a:gd name="connsiteX520" fmla="*/ 2794134 w 6359860"/>
              <a:gd name="connsiteY520" fmla="*/ 14194 h 1533837"/>
              <a:gd name="connsiteX521" fmla="*/ 2779954 w 6359860"/>
              <a:gd name="connsiteY521" fmla="*/ 28374 h 1533837"/>
              <a:gd name="connsiteX522" fmla="*/ 2765773 w 6359860"/>
              <a:gd name="connsiteY522" fmla="*/ 14194 h 1533837"/>
              <a:gd name="connsiteX523" fmla="*/ 2779954 w 6359860"/>
              <a:gd name="connsiteY523" fmla="*/ 13 h 1533837"/>
              <a:gd name="connsiteX524" fmla="*/ 2723345 w 6359860"/>
              <a:gd name="connsiteY524" fmla="*/ 13 h 1533837"/>
              <a:gd name="connsiteX525" fmla="*/ 2737526 w 6359860"/>
              <a:gd name="connsiteY525" fmla="*/ 14194 h 1533837"/>
              <a:gd name="connsiteX526" fmla="*/ 2723345 w 6359860"/>
              <a:gd name="connsiteY526" fmla="*/ 28374 h 1533837"/>
              <a:gd name="connsiteX527" fmla="*/ 2709164 w 6359860"/>
              <a:gd name="connsiteY527" fmla="*/ 14194 h 1533837"/>
              <a:gd name="connsiteX528" fmla="*/ 2723345 w 6359860"/>
              <a:gd name="connsiteY528" fmla="*/ 13 h 1533837"/>
              <a:gd name="connsiteX529" fmla="*/ 2666793 w 6359860"/>
              <a:gd name="connsiteY529" fmla="*/ 13 h 1533837"/>
              <a:gd name="connsiteX530" fmla="*/ 2680917 w 6359860"/>
              <a:gd name="connsiteY530" fmla="*/ 14194 h 1533837"/>
              <a:gd name="connsiteX531" fmla="*/ 2666793 w 6359860"/>
              <a:gd name="connsiteY531" fmla="*/ 28374 h 1533837"/>
              <a:gd name="connsiteX532" fmla="*/ 2652612 w 6359860"/>
              <a:gd name="connsiteY532" fmla="*/ 14194 h 1533837"/>
              <a:gd name="connsiteX533" fmla="*/ 2666793 w 6359860"/>
              <a:gd name="connsiteY533" fmla="*/ 13 h 1533837"/>
              <a:gd name="connsiteX534" fmla="*/ 2610184 w 6359860"/>
              <a:gd name="connsiteY534" fmla="*/ 13 h 1533837"/>
              <a:gd name="connsiteX535" fmla="*/ 2624365 w 6359860"/>
              <a:gd name="connsiteY535" fmla="*/ 14194 h 1533837"/>
              <a:gd name="connsiteX536" fmla="*/ 2610184 w 6359860"/>
              <a:gd name="connsiteY536" fmla="*/ 28374 h 1533837"/>
              <a:gd name="connsiteX537" fmla="*/ 2596004 w 6359860"/>
              <a:gd name="connsiteY537" fmla="*/ 14194 h 1533837"/>
              <a:gd name="connsiteX538" fmla="*/ 2610184 w 6359860"/>
              <a:gd name="connsiteY538" fmla="*/ 13 h 1533837"/>
              <a:gd name="connsiteX539" fmla="*/ 2553576 w 6359860"/>
              <a:gd name="connsiteY539" fmla="*/ 13 h 1533837"/>
              <a:gd name="connsiteX540" fmla="*/ 2567756 w 6359860"/>
              <a:gd name="connsiteY540" fmla="*/ 14194 h 1533837"/>
              <a:gd name="connsiteX541" fmla="*/ 2553576 w 6359860"/>
              <a:gd name="connsiteY541" fmla="*/ 28374 h 1533837"/>
              <a:gd name="connsiteX542" fmla="*/ 2539395 w 6359860"/>
              <a:gd name="connsiteY542" fmla="*/ 14194 h 1533837"/>
              <a:gd name="connsiteX543" fmla="*/ 2553576 w 6359860"/>
              <a:gd name="connsiteY543" fmla="*/ 13 h 1533837"/>
              <a:gd name="connsiteX544" fmla="*/ 2496967 w 6359860"/>
              <a:gd name="connsiteY544" fmla="*/ 13 h 1533837"/>
              <a:gd name="connsiteX545" fmla="*/ 2511147 w 6359860"/>
              <a:gd name="connsiteY545" fmla="*/ 14194 h 1533837"/>
              <a:gd name="connsiteX546" fmla="*/ 2496967 w 6359860"/>
              <a:gd name="connsiteY546" fmla="*/ 28374 h 1533837"/>
              <a:gd name="connsiteX547" fmla="*/ 2482786 w 6359860"/>
              <a:gd name="connsiteY547" fmla="*/ 14194 h 1533837"/>
              <a:gd name="connsiteX548" fmla="*/ 2496967 w 6359860"/>
              <a:gd name="connsiteY548" fmla="*/ 13 h 1533837"/>
              <a:gd name="connsiteX549" fmla="*/ 2440358 w 6359860"/>
              <a:gd name="connsiteY549" fmla="*/ 13 h 1533837"/>
              <a:gd name="connsiteX550" fmla="*/ 2454539 w 6359860"/>
              <a:gd name="connsiteY550" fmla="*/ 14194 h 1533837"/>
              <a:gd name="connsiteX551" fmla="*/ 2440358 w 6359860"/>
              <a:gd name="connsiteY551" fmla="*/ 28374 h 1533837"/>
              <a:gd name="connsiteX552" fmla="*/ 2426177 w 6359860"/>
              <a:gd name="connsiteY552" fmla="*/ 14194 h 1533837"/>
              <a:gd name="connsiteX553" fmla="*/ 2440358 w 6359860"/>
              <a:gd name="connsiteY553" fmla="*/ 13 h 1533837"/>
              <a:gd name="connsiteX554" fmla="*/ 2383749 w 6359860"/>
              <a:gd name="connsiteY554" fmla="*/ 13 h 1533837"/>
              <a:gd name="connsiteX555" fmla="*/ 2397987 w 6359860"/>
              <a:gd name="connsiteY555" fmla="*/ 14194 h 1533837"/>
              <a:gd name="connsiteX556" fmla="*/ 2383749 w 6359860"/>
              <a:gd name="connsiteY556" fmla="*/ 28374 h 1533837"/>
              <a:gd name="connsiteX557" fmla="*/ 2369626 w 6359860"/>
              <a:gd name="connsiteY557" fmla="*/ 14194 h 1533837"/>
              <a:gd name="connsiteX558" fmla="*/ 2383749 w 6359860"/>
              <a:gd name="connsiteY558" fmla="*/ 13 h 1533837"/>
              <a:gd name="connsiteX559" fmla="*/ 2327197 w 6359860"/>
              <a:gd name="connsiteY559" fmla="*/ 13 h 1533837"/>
              <a:gd name="connsiteX560" fmla="*/ 2341378 w 6359860"/>
              <a:gd name="connsiteY560" fmla="*/ 14194 h 1533837"/>
              <a:gd name="connsiteX561" fmla="*/ 2327197 w 6359860"/>
              <a:gd name="connsiteY561" fmla="*/ 28374 h 1533837"/>
              <a:gd name="connsiteX562" fmla="*/ 2313017 w 6359860"/>
              <a:gd name="connsiteY562" fmla="*/ 14194 h 1533837"/>
              <a:gd name="connsiteX563" fmla="*/ 2327197 w 6359860"/>
              <a:gd name="connsiteY563" fmla="*/ 13 h 1533837"/>
              <a:gd name="connsiteX564" fmla="*/ 2270589 w 6359860"/>
              <a:gd name="connsiteY564" fmla="*/ 13 h 1533837"/>
              <a:gd name="connsiteX565" fmla="*/ 2284769 w 6359860"/>
              <a:gd name="connsiteY565" fmla="*/ 14194 h 1533837"/>
              <a:gd name="connsiteX566" fmla="*/ 2270589 w 6359860"/>
              <a:gd name="connsiteY566" fmla="*/ 28374 h 1533837"/>
              <a:gd name="connsiteX567" fmla="*/ 2256408 w 6359860"/>
              <a:gd name="connsiteY567" fmla="*/ 14194 h 1533837"/>
              <a:gd name="connsiteX568" fmla="*/ 2270589 w 6359860"/>
              <a:gd name="connsiteY568" fmla="*/ 13 h 1533837"/>
              <a:gd name="connsiteX569" fmla="*/ 2213980 w 6359860"/>
              <a:gd name="connsiteY569" fmla="*/ 13 h 1533837"/>
              <a:gd name="connsiteX570" fmla="*/ 2228160 w 6359860"/>
              <a:gd name="connsiteY570" fmla="*/ 14194 h 1533837"/>
              <a:gd name="connsiteX571" fmla="*/ 2213980 w 6359860"/>
              <a:gd name="connsiteY571" fmla="*/ 28374 h 1533837"/>
              <a:gd name="connsiteX572" fmla="*/ 2199799 w 6359860"/>
              <a:gd name="connsiteY572" fmla="*/ 14194 h 1533837"/>
              <a:gd name="connsiteX573" fmla="*/ 2213980 w 6359860"/>
              <a:gd name="connsiteY573" fmla="*/ 13 h 1533837"/>
              <a:gd name="connsiteX574" fmla="*/ 2157371 w 6359860"/>
              <a:gd name="connsiteY574" fmla="*/ 13 h 1533837"/>
              <a:gd name="connsiteX575" fmla="*/ 2171551 w 6359860"/>
              <a:gd name="connsiteY575" fmla="*/ 14194 h 1533837"/>
              <a:gd name="connsiteX576" fmla="*/ 2157371 w 6359860"/>
              <a:gd name="connsiteY576" fmla="*/ 28374 h 1533837"/>
              <a:gd name="connsiteX577" fmla="*/ 2143190 w 6359860"/>
              <a:gd name="connsiteY577" fmla="*/ 14194 h 1533837"/>
              <a:gd name="connsiteX578" fmla="*/ 2157371 w 6359860"/>
              <a:gd name="connsiteY578" fmla="*/ 13 h 1533837"/>
              <a:gd name="connsiteX579" fmla="*/ 2100762 w 6359860"/>
              <a:gd name="connsiteY579" fmla="*/ 13 h 1533837"/>
              <a:gd name="connsiteX580" fmla="*/ 2114943 w 6359860"/>
              <a:gd name="connsiteY580" fmla="*/ 14194 h 1533837"/>
              <a:gd name="connsiteX581" fmla="*/ 2100762 w 6359860"/>
              <a:gd name="connsiteY581" fmla="*/ 28374 h 1533837"/>
              <a:gd name="connsiteX582" fmla="*/ 2086582 w 6359860"/>
              <a:gd name="connsiteY582" fmla="*/ 14194 h 1533837"/>
              <a:gd name="connsiteX583" fmla="*/ 2100762 w 6359860"/>
              <a:gd name="connsiteY583" fmla="*/ 13 h 1533837"/>
              <a:gd name="connsiteX584" fmla="*/ 2044154 w 6359860"/>
              <a:gd name="connsiteY584" fmla="*/ 13 h 1533837"/>
              <a:gd name="connsiteX585" fmla="*/ 2058391 w 6359860"/>
              <a:gd name="connsiteY585" fmla="*/ 14194 h 1533837"/>
              <a:gd name="connsiteX586" fmla="*/ 2044154 w 6359860"/>
              <a:gd name="connsiteY586" fmla="*/ 28374 h 1533837"/>
              <a:gd name="connsiteX587" fmla="*/ 2030030 w 6359860"/>
              <a:gd name="connsiteY587" fmla="*/ 14194 h 1533837"/>
              <a:gd name="connsiteX588" fmla="*/ 2044154 w 6359860"/>
              <a:gd name="connsiteY588" fmla="*/ 13 h 1533837"/>
              <a:gd name="connsiteX589" fmla="*/ 1987601 w 6359860"/>
              <a:gd name="connsiteY589" fmla="*/ 13 h 1533837"/>
              <a:gd name="connsiteX590" fmla="*/ 2001782 w 6359860"/>
              <a:gd name="connsiteY590" fmla="*/ 14194 h 1533837"/>
              <a:gd name="connsiteX591" fmla="*/ 1987601 w 6359860"/>
              <a:gd name="connsiteY591" fmla="*/ 28374 h 1533837"/>
              <a:gd name="connsiteX592" fmla="*/ 1973421 w 6359860"/>
              <a:gd name="connsiteY592" fmla="*/ 14194 h 1533837"/>
              <a:gd name="connsiteX593" fmla="*/ 1987601 w 6359860"/>
              <a:gd name="connsiteY593" fmla="*/ 13 h 1533837"/>
              <a:gd name="connsiteX594" fmla="*/ 1930993 w 6359860"/>
              <a:gd name="connsiteY594" fmla="*/ 13 h 1533837"/>
              <a:gd name="connsiteX595" fmla="*/ 1945173 w 6359860"/>
              <a:gd name="connsiteY595" fmla="*/ 14194 h 1533837"/>
              <a:gd name="connsiteX596" fmla="*/ 1930993 w 6359860"/>
              <a:gd name="connsiteY596" fmla="*/ 28374 h 1533837"/>
              <a:gd name="connsiteX597" fmla="*/ 1916812 w 6359860"/>
              <a:gd name="connsiteY597" fmla="*/ 14194 h 1533837"/>
              <a:gd name="connsiteX598" fmla="*/ 1930993 w 6359860"/>
              <a:gd name="connsiteY598" fmla="*/ 13 h 1533837"/>
              <a:gd name="connsiteX599" fmla="*/ 1874384 w 6359860"/>
              <a:gd name="connsiteY599" fmla="*/ 13 h 1533837"/>
              <a:gd name="connsiteX600" fmla="*/ 1888565 w 6359860"/>
              <a:gd name="connsiteY600" fmla="*/ 14194 h 1533837"/>
              <a:gd name="connsiteX601" fmla="*/ 1874384 w 6359860"/>
              <a:gd name="connsiteY601" fmla="*/ 28374 h 1533837"/>
              <a:gd name="connsiteX602" fmla="*/ 1860204 w 6359860"/>
              <a:gd name="connsiteY602" fmla="*/ 14194 h 1533837"/>
              <a:gd name="connsiteX603" fmla="*/ 1874384 w 6359860"/>
              <a:gd name="connsiteY603" fmla="*/ 13 h 1533837"/>
              <a:gd name="connsiteX604" fmla="*/ 1817775 w 6359860"/>
              <a:gd name="connsiteY604" fmla="*/ 13 h 1533837"/>
              <a:gd name="connsiteX605" fmla="*/ 1831956 w 6359860"/>
              <a:gd name="connsiteY605" fmla="*/ 14194 h 1533837"/>
              <a:gd name="connsiteX606" fmla="*/ 1817775 w 6359860"/>
              <a:gd name="connsiteY606" fmla="*/ 28374 h 1533837"/>
              <a:gd name="connsiteX607" fmla="*/ 1803595 w 6359860"/>
              <a:gd name="connsiteY607" fmla="*/ 14194 h 1533837"/>
              <a:gd name="connsiteX608" fmla="*/ 1817775 w 6359860"/>
              <a:gd name="connsiteY608" fmla="*/ 13 h 1533837"/>
              <a:gd name="connsiteX609" fmla="*/ 1761167 w 6359860"/>
              <a:gd name="connsiteY609" fmla="*/ 13 h 1533837"/>
              <a:gd name="connsiteX610" fmla="*/ 1775347 w 6359860"/>
              <a:gd name="connsiteY610" fmla="*/ 14194 h 1533837"/>
              <a:gd name="connsiteX611" fmla="*/ 1761167 w 6359860"/>
              <a:gd name="connsiteY611" fmla="*/ 28374 h 1533837"/>
              <a:gd name="connsiteX612" fmla="*/ 1746986 w 6359860"/>
              <a:gd name="connsiteY612" fmla="*/ 14194 h 1533837"/>
              <a:gd name="connsiteX613" fmla="*/ 1761167 w 6359860"/>
              <a:gd name="connsiteY613" fmla="*/ 13 h 1533837"/>
              <a:gd name="connsiteX614" fmla="*/ 1704615 w 6359860"/>
              <a:gd name="connsiteY614" fmla="*/ 13 h 1533837"/>
              <a:gd name="connsiteX615" fmla="*/ 1718795 w 6359860"/>
              <a:gd name="connsiteY615" fmla="*/ 14194 h 1533837"/>
              <a:gd name="connsiteX616" fmla="*/ 1704615 w 6359860"/>
              <a:gd name="connsiteY616" fmla="*/ 28374 h 1533837"/>
              <a:gd name="connsiteX617" fmla="*/ 1690434 w 6359860"/>
              <a:gd name="connsiteY617" fmla="*/ 14194 h 1533837"/>
              <a:gd name="connsiteX618" fmla="*/ 1704615 w 6359860"/>
              <a:gd name="connsiteY618" fmla="*/ 13 h 1533837"/>
              <a:gd name="connsiteX619" fmla="*/ 1648006 w 6359860"/>
              <a:gd name="connsiteY619" fmla="*/ 13 h 1533837"/>
              <a:gd name="connsiteX620" fmla="*/ 1662186 w 6359860"/>
              <a:gd name="connsiteY620" fmla="*/ 14194 h 1533837"/>
              <a:gd name="connsiteX621" fmla="*/ 1648006 w 6359860"/>
              <a:gd name="connsiteY621" fmla="*/ 28374 h 1533837"/>
              <a:gd name="connsiteX622" fmla="*/ 1633825 w 6359860"/>
              <a:gd name="connsiteY622" fmla="*/ 14194 h 1533837"/>
              <a:gd name="connsiteX623" fmla="*/ 1648006 w 6359860"/>
              <a:gd name="connsiteY623" fmla="*/ 13 h 1533837"/>
              <a:gd name="connsiteX624" fmla="*/ 1591397 w 6359860"/>
              <a:gd name="connsiteY624" fmla="*/ 13 h 1533837"/>
              <a:gd name="connsiteX625" fmla="*/ 1605578 w 6359860"/>
              <a:gd name="connsiteY625" fmla="*/ 14194 h 1533837"/>
              <a:gd name="connsiteX626" fmla="*/ 1591397 w 6359860"/>
              <a:gd name="connsiteY626" fmla="*/ 28374 h 1533837"/>
              <a:gd name="connsiteX627" fmla="*/ 1577217 w 6359860"/>
              <a:gd name="connsiteY627" fmla="*/ 14194 h 1533837"/>
              <a:gd name="connsiteX628" fmla="*/ 1591397 w 6359860"/>
              <a:gd name="connsiteY628" fmla="*/ 13 h 1533837"/>
              <a:gd name="connsiteX629" fmla="*/ 1534788 w 6359860"/>
              <a:gd name="connsiteY629" fmla="*/ 13 h 1533837"/>
              <a:gd name="connsiteX630" fmla="*/ 1548969 w 6359860"/>
              <a:gd name="connsiteY630" fmla="*/ 14194 h 1533837"/>
              <a:gd name="connsiteX631" fmla="*/ 1534788 w 6359860"/>
              <a:gd name="connsiteY631" fmla="*/ 28374 h 1533837"/>
              <a:gd name="connsiteX632" fmla="*/ 1520608 w 6359860"/>
              <a:gd name="connsiteY632" fmla="*/ 14194 h 1533837"/>
              <a:gd name="connsiteX633" fmla="*/ 1534788 w 6359860"/>
              <a:gd name="connsiteY633" fmla="*/ 13 h 1533837"/>
              <a:gd name="connsiteX634" fmla="*/ 1478180 w 6359860"/>
              <a:gd name="connsiteY634" fmla="*/ 13 h 1533837"/>
              <a:gd name="connsiteX635" fmla="*/ 1492360 w 6359860"/>
              <a:gd name="connsiteY635" fmla="*/ 14194 h 1533837"/>
              <a:gd name="connsiteX636" fmla="*/ 1478180 w 6359860"/>
              <a:gd name="connsiteY636" fmla="*/ 28374 h 1533837"/>
              <a:gd name="connsiteX637" fmla="*/ 1463999 w 6359860"/>
              <a:gd name="connsiteY637" fmla="*/ 14194 h 1533837"/>
              <a:gd name="connsiteX638" fmla="*/ 1478180 w 6359860"/>
              <a:gd name="connsiteY638" fmla="*/ 13 h 1533837"/>
              <a:gd name="connsiteX639" fmla="*/ 1421628 w 6359860"/>
              <a:gd name="connsiteY639" fmla="*/ 13 h 1533837"/>
              <a:gd name="connsiteX640" fmla="*/ 1435808 w 6359860"/>
              <a:gd name="connsiteY640" fmla="*/ 14194 h 1533837"/>
              <a:gd name="connsiteX641" fmla="*/ 1421628 w 6359860"/>
              <a:gd name="connsiteY641" fmla="*/ 28374 h 1533837"/>
              <a:gd name="connsiteX642" fmla="*/ 1407447 w 6359860"/>
              <a:gd name="connsiteY642" fmla="*/ 14194 h 1533837"/>
              <a:gd name="connsiteX643" fmla="*/ 1421628 w 6359860"/>
              <a:gd name="connsiteY643" fmla="*/ 13 h 1533837"/>
              <a:gd name="connsiteX644" fmla="*/ 1365019 w 6359860"/>
              <a:gd name="connsiteY644" fmla="*/ 13 h 1533837"/>
              <a:gd name="connsiteX645" fmla="*/ 1379200 w 6359860"/>
              <a:gd name="connsiteY645" fmla="*/ 14194 h 1533837"/>
              <a:gd name="connsiteX646" fmla="*/ 1365019 w 6359860"/>
              <a:gd name="connsiteY646" fmla="*/ 28374 h 1533837"/>
              <a:gd name="connsiteX647" fmla="*/ 1350839 w 6359860"/>
              <a:gd name="connsiteY647" fmla="*/ 14194 h 1533837"/>
              <a:gd name="connsiteX648" fmla="*/ 1365019 w 6359860"/>
              <a:gd name="connsiteY648" fmla="*/ 13 h 1533837"/>
              <a:gd name="connsiteX649" fmla="*/ 1308410 w 6359860"/>
              <a:gd name="connsiteY649" fmla="*/ 13 h 1533837"/>
              <a:gd name="connsiteX650" fmla="*/ 1322591 w 6359860"/>
              <a:gd name="connsiteY650" fmla="*/ 14194 h 1533837"/>
              <a:gd name="connsiteX651" fmla="*/ 1308410 w 6359860"/>
              <a:gd name="connsiteY651" fmla="*/ 28374 h 1533837"/>
              <a:gd name="connsiteX652" fmla="*/ 1294230 w 6359860"/>
              <a:gd name="connsiteY652" fmla="*/ 14194 h 1533837"/>
              <a:gd name="connsiteX653" fmla="*/ 1308410 w 6359860"/>
              <a:gd name="connsiteY653" fmla="*/ 13 h 1533837"/>
              <a:gd name="connsiteX654" fmla="*/ 1251802 w 6359860"/>
              <a:gd name="connsiteY654" fmla="*/ 13 h 1533837"/>
              <a:gd name="connsiteX655" fmla="*/ 1265982 w 6359860"/>
              <a:gd name="connsiteY655" fmla="*/ 14194 h 1533837"/>
              <a:gd name="connsiteX656" fmla="*/ 1251802 w 6359860"/>
              <a:gd name="connsiteY656" fmla="*/ 28374 h 1533837"/>
              <a:gd name="connsiteX657" fmla="*/ 1237621 w 6359860"/>
              <a:gd name="connsiteY657" fmla="*/ 14194 h 1533837"/>
              <a:gd name="connsiteX658" fmla="*/ 1251802 w 6359860"/>
              <a:gd name="connsiteY658" fmla="*/ 13 h 1533837"/>
              <a:gd name="connsiteX659" fmla="*/ 1195193 w 6359860"/>
              <a:gd name="connsiteY659" fmla="*/ 13 h 1533837"/>
              <a:gd name="connsiteX660" fmla="*/ 1209373 w 6359860"/>
              <a:gd name="connsiteY660" fmla="*/ 14194 h 1533837"/>
              <a:gd name="connsiteX661" fmla="*/ 1195193 w 6359860"/>
              <a:gd name="connsiteY661" fmla="*/ 28374 h 1533837"/>
              <a:gd name="connsiteX662" fmla="*/ 1181012 w 6359860"/>
              <a:gd name="connsiteY662" fmla="*/ 14194 h 1533837"/>
              <a:gd name="connsiteX663" fmla="*/ 1195193 w 6359860"/>
              <a:gd name="connsiteY663" fmla="*/ 13 h 1533837"/>
              <a:gd name="connsiteX664" fmla="*/ 1138641 w 6359860"/>
              <a:gd name="connsiteY664" fmla="*/ 13 h 1533837"/>
              <a:gd name="connsiteX665" fmla="*/ 1152765 w 6359860"/>
              <a:gd name="connsiteY665" fmla="*/ 14194 h 1533837"/>
              <a:gd name="connsiteX666" fmla="*/ 1138641 w 6359860"/>
              <a:gd name="connsiteY666" fmla="*/ 28374 h 1533837"/>
              <a:gd name="connsiteX667" fmla="*/ 1124403 w 6359860"/>
              <a:gd name="connsiteY667" fmla="*/ 14194 h 1533837"/>
              <a:gd name="connsiteX668" fmla="*/ 1138641 w 6359860"/>
              <a:gd name="connsiteY668" fmla="*/ 13 h 1533837"/>
              <a:gd name="connsiteX669" fmla="*/ 1082032 w 6359860"/>
              <a:gd name="connsiteY669" fmla="*/ 13 h 1533837"/>
              <a:gd name="connsiteX670" fmla="*/ 1096213 w 6359860"/>
              <a:gd name="connsiteY670" fmla="*/ 14194 h 1533837"/>
              <a:gd name="connsiteX671" fmla="*/ 1082032 w 6359860"/>
              <a:gd name="connsiteY671" fmla="*/ 28374 h 1533837"/>
              <a:gd name="connsiteX672" fmla="*/ 1067851 w 6359860"/>
              <a:gd name="connsiteY672" fmla="*/ 14194 h 1533837"/>
              <a:gd name="connsiteX673" fmla="*/ 1082032 w 6359860"/>
              <a:gd name="connsiteY673" fmla="*/ 13 h 1533837"/>
              <a:gd name="connsiteX674" fmla="*/ 1025423 w 6359860"/>
              <a:gd name="connsiteY674" fmla="*/ 13 h 1533837"/>
              <a:gd name="connsiteX675" fmla="*/ 1039604 w 6359860"/>
              <a:gd name="connsiteY675" fmla="*/ 14194 h 1533837"/>
              <a:gd name="connsiteX676" fmla="*/ 1025423 w 6359860"/>
              <a:gd name="connsiteY676" fmla="*/ 28374 h 1533837"/>
              <a:gd name="connsiteX677" fmla="*/ 1011243 w 6359860"/>
              <a:gd name="connsiteY677" fmla="*/ 14194 h 1533837"/>
              <a:gd name="connsiteX678" fmla="*/ 1025423 w 6359860"/>
              <a:gd name="connsiteY678" fmla="*/ 13 h 1533837"/>
              <a:gd name="connsiteX679" fmla="*/ 968815 w 6359860"/>
              <a:gd name="connsiteY679" fmla="*/ 13 h 1533837"/>
              <a:gd name="connsiteX680" fmla="*/ 982995 w 6359860"/>
              <a:gd name="connsiteY680" fmla="*/ 14194 h 1533837"/>
              <a:gd name="connsiteX681" fmla="*/ 968815 w 6359860"/>
              <a:gd name="connsiteY681" fmla="*/ 28374 h 1533837"/>
              <a:gd name="connsiteX682" fmla="*/ 954634 w 6359860"/>
              <a:gd name="connsiteY682" fmla="*/ 14194 h 1533837"/>
              <a:gd name="connsiteX683" fmla="*/ 968815 w 6359860"/>
              <a:gd name="connsiteY683" fmla="*/ 13 h 1533837"/>
              <a:gd name="connsiteX684" fmla="*/ 912206 w 6359860"/>
              <a:gd name="connsiteY684" fmla="*/ 13 h 1533837"/>
              <a:gd name="connsiteX685" fmla="*/ 926387 w 6359860"/>
              <a:gd name="connsiteY685" fmla="*/ 14194 h 1533837"/>
              <a:gd name="connsiteX686" fmla="*/ 912206 w 6359860"/>
              <a:gd name="connsiteY686" fmla="*/ 28374 h 1533837"/>
              <a:gd name="connsiteX687" fmla="*/ 898025 w 6359860"/>
              <a:gd name="connsiteY687" fmla="*/ 14194 h 1533837"/>
              <a:gd name="connsiteX688" fmla="*/ 912206 w 6359860"/>
              <a:gd name="connsiteY688" fmla="*/ 13 h 1533837"/>
              <a:gd name="connsiteX689" fmla="*/ 855597 w 6359860"/>
              <a:gd name="connsiteY689" fmla="*/ 13 h 1533837"/>
              <a:gd name="connsiteX690" fmla="*/ 869835 w 6359860"/>
              <a:gd name="connsiteY690" fmla="*/ 14194 h 1533837"/>
              <a:gd name="connsiteX691" fmla="*/ 855597 w 6359860"/>
              <a:gd name="connsiteY691" fmla="*/ 28374 h 1533837"/>
              <a:gd name="connsiteX692" fmla="*/ 841473 w 6359860"/>
              <a:gd name="connsiteY692" fmla="*/ 14194 h 1533837"/>
              <a:gd name="connsiteX693" fmla="*/ 855597 w 6359860"/>
              <a:gd name="connsiteY693" fmla="*/ 13 h 1533837"/>
              <a:gd name="connsiteX694" fmla="*/ 799045 w 6359860"/>
              <a:gd name="connsiteY694" fmla="*/ 13 h 1533837"/>
              <a:gd name="connsiteX695" fmla="*/ 813226 w 6359860"/>
              <a:gd name="connsiteY695" fmla="*/ 14194 h 1533837"/>
              <a:gd name="connsiteX696" fmla="*/ 799045 w 6359860"/>
              <a:gd name="connsiteY696" fmla="*/ 28374 h 1533837"/>
              <a:gd name="connsiteX697" fmla="*/ 784865 w 6359860"/>
              <a:gd name="connsiteY697" fmla="*/ 14194 h 1533837"/>
              <a:gd name="connsiteX698" fmla="*/ 799045 w 6359860"/>
              <a:gd name="connsiteY698" fmla="*/ 13 h 1533837"/>
              <a:gd name="connsiteX699" fmla="*/ 742436 w 6359860"/>
              <a:gd name="connsiteY699" fmla="*/ 13 h 1533837"/>
              <a:gd name="connsiteX700" fmla="*/ 756617 w 6359860"/>
              <a:gd name="connsiteY700" fmla="*/ 14194 h 1533837"/>
              <a:gd name="connsiteX701" fmla="*/ 742436 w 6359860"/>
              <a:gd name="connsiteY701" fmla="*/ 28374 h 1533837"/>
              <a:gd name="connsiteX702" fmla="*/ 728256 w 6359860"/>
              <a:gd name="connsiteY702" fmla="*/ 14194 h 1533837"/>
              <a:gd name="connsiteX703" fmla="*/ 742436 w 6359860"/>
              <a:gd name="connsiteY703" fmla="*/ 13 h 1533837"/>
              <a:gd name="connsiteX704" fmla="*/ 685828 w 6359860"/>
              <a:gd name="connsiteY704" fmla="*/ 13 h 1533837"/>
              <a:gd name="connsiteX705" fmla="*/ 700008 w 6359860"/>
              <a:gd name="connsiteY705" fmla="*/ 14194 h 1533837"/>
              <a:gd name="connsiteX706" fmla="*/ 685828 w 6359860"/>
              <a:gd name="connsiteY706" fmla="*/ 28374 h 1533837"/>
              <a:gd name="connsiteX707" fmla="*/ 671647 w 6359860"/>
              <a:gd name="connsiteY707" fmla="*/ 14194 h 1533837"/>
              <a:gd name="connsiteX708" fmla="*/ 685828 w 6359860"/>
              <a:gd name="connsiteY708" fmla="*/ 13 h 1533837"/>
              <a:gd name="connsiteX709" fmla="*/ 629219 w 6359860"/>
              <a:gd name="connsiteY709" fmla="*/ 13 h 1533837"/>
              <a:gd name="connsiteX710" fmla="*/ 643400 w 6359860"/>
              <a:gd name="connsiteY710" fmla="*/ 14194 h 1533837"/>
              <a:gd name="connsiteX711" fmla="*/ 629219 w 6359860"/>
              <a:gd name="connsiteY711" fmla="*/ 28374 h 1533837"/>
              <a:gd name="connsiteX712" fmla="*/ 615038 w 6359860"/>
              <a:gd name="connsiteY712" fmla="*/ 14194 h 1533837"/>
              <a:gd name="connsiteX713" fmla="*/ 629219 w 6359860"/>
              <a:gd name="connsiteY713" fmla="*/ 13 h 1533837"/>
              <a:gd name="connsiteX714" fmla="*/ 572610 w 6359860"/>
              <a:gd name="connsiteY714" fmla="*/ 13 h 1533837"/>
              <a:gd name="connsiteX715" fmla="*/ 586791 w 6359860"/>
              <a:gd name="connsiteY715" fmla="*/ 14194 h 1533837"/>
              <a:gd name="connsiteX716" fmla="*/ 572610 w 6359860"/>
              <a:gd name="connsiteY716" fmla="*/ 28374 h 1533837"/>
              <a:gd name="connsiteX717" fmla="*/ 558430 w 6359860"/>
              <a:gd name="connsiteY717" fmla="*/ 14194 h 1533837"/>
              <a:gd name="connsiteX718" fmla="*/ 572610 w 6359860"/>
              <a:gd name="connsiteY718" fmla="*/ 13 h 1533837"/>
              <a:gd name="connsiteX719" fmla="*/ 516002 w 6359860"/>
              <a:gd name="connsiteY719" fmla="*/ 13 h 1533837"/>
              <a:gd name="connsiteX720" fmla="*/ 530239 w 6359860"/>
              <a:gd name="connsiteY720" fmla="*/ 14194 h 1533837"/>
              <a:gd name="connsiteX721" fmla="*/ 516002 w 6359860"/>
              <a:gd name="connsiteY721" fmla="*/ 28374 h 1533837"/>
              <a:gd name="connsiteX722" fmla="*/ 501878 w 6359860"/>
              <a:gd name="connsiteY722" fmla="*/ 14194 h 1533837"/>
              <a:gd name="connsiteX723" fmla="*/ 516002 w 6359860"/>
              <a:gd name="connsiteY723" fmla="*/ 13 h 1533837"/>
              <a:gd name="connsiteX724" fmla="*/ 459450 w 6359860"/>
              <a:gd name="connsiteY724" fmla="*/ 13 h 1533837"/>
              <a:gd name="connsiteX725" fmla="*/ 473630 w 6359860"/>
              <a:gd name="connsiteY725" fmla="*/ 14194 h 1533837"/>
              <a:gd name="connsiteX726" fmla="*/ 459450 w 6359860"/>
              <a:gd name="connsiteY726" fmla="*/ 28374 h 1533837"/>
              <a:gd name="connsiteX727" fmla="*/ 445269 w 6359860"/>
              <a:gd name="connsiteY727" fmla="*/ 14194 h 1533837"/>
              <a:gd name="connsiteX728" fmla="*/ 459450 w 6359860"/>
              <a:gd name="connsiteY728" fmla="*/ 13 h 1533837"/>
              <a:gd name="connsiteX729" fmla="*/ 402841 w 6359860"/>
              <a:gd name="connsiteY729" fmla="*/ 13 h 1533837"/>
              <a:gd name="connsiteX730" fmla="*/ 417021 w 6359860"/>
              <a:gd name="connsiteY730" fmla="*/ 14194 h 1533837"/>
              <a:gd name="connsiteX731" fmla="*/ 402841 w 6359860"/>
              <a:gd name="connsiteY731" fmla="*/ 28374 h 1533837"/>
              <a:gd name="connsiteX732" fmla="*/ 388660 w 6359860"/>
              <a:gd name="connsiteY732" fmla="*/ 14194 h 1533837"/>
              <a:gd name="connsiteX733" fmla="*/ 402841 w 6359860"/>
              <a:gd name="connsiteY733" fmla="*/ 13 h 1533837"/>
              <a:gd name="connsiteX734" fmla="*/ 346232 w 6359860"/>
              <a:gd name="connsiteY734" fmla="*/ 13 h 1533837"/>
              <a:gd name="connsiteX735" fmla="*/ 360413 w 6359860"/>
              <a:gd name="connsiteY735" fmla="*/ 14194 h 1533837"/>
              <a:gd name="connsiteX736" fmla="*/ 346232 w 6359860"/>
              <a:gd name="connsiteY736" fmla="*/ 28374 h 1533837"/>
              <a:gd name="connsiteX737" fmla="*/ 332051 w 6359860"/>
              <a:gd name="connsiteY737" fmla="*/ 14194 h 1533837"/>
              <a:gd name="connsiteX738" fmla="*/ 346232 w 6359860"/>
              <a:gd name="connsiteY738" fmla="*/ 13 h 1533837"/>
              <a:gd name="connsiteX739" fmla="*/ 289623 w 6359860"/>
              <a:gd name="connsiteY739" fmla="*/ 13 h 1533837"/>
              <a:gd name="connsiteX740" fmla="*/ 303804 w 6359860"/>
              <a:gd name="connsiteY740" fmla="*/ 14194 h 1533837"/>
              <a:gd name="connsiteX741" fmla="*/ 289623 w 6359860"/>
              <a:gd name="connsiteY741" fmla="*/ 28374 h 1533837"/>
              <a:gd name="connsiteX742" fmla="*/ 275443 w 6359860"/>
              <a:gd name="connsiteY742" fmla="*/ 14194 h 1533837"/>
              <a:gd name="connsiteX743" fmla="*/ 289623 w 6359860"/>
              <a:gd name="connsiteY743" fmla="*/ 13 h 1533837"/>
              <a:gd name="connsiteX744" fmla="*/ 233015 w 6359860"/>
              <a:gd name="connsiteY744" fmla="*/ 13 h 1533837"/>
              <a:gd name="connsiteX745" fmla="*/ 247252 w 6359860"/>
              <a:gd name="connsiteY745" fmla="*/ 14194 h 1533837"/>
              <a:gd name="connsiteX746" fmla="*/ 233015 w 6359860"/>
              <a:gd name="connsiteY746" fmla="*/ 28374 h 1533837"/>
              <a:gd name="connsiteX747" fmla="*/ 218834 w 6359860"/>
              <a:gd name="connsiteY747" fmla="*/ 14194 h 1533837"/>
              <a:gd name="connsiteX748" fmla="*/ 233015 w 6359860"/>
              <a:gd name="connsiteY748" fmla="*/ 13 h 1533837"/>
              <a:gd name="connsiteX749" fmla="*/ 176463 w 6359860"/>
              <a:gd name="connsiteY749" fmla="*/ 13 h 1533837"/>
              <a:gd name="connsiteX750" fmla="*/ 190643 w 6359860"/>
              <a:gd name="connsiteY750" fmla="*/ 14194 h 1533837"/>
              <a:gd name="connsiteX751" fmla="*/ 176463 w 6359860"/>
              <a:gd name="connsiteY751" fmla="*/ 28374 h 1533837"/>
              <a:gd name="connsiteX752" fmla="*/ 162282 w 6359860"/>
              <a:gd name="connsiteY752" fmla="*/ 14194 h 1533837"/>
              <a:gd name="connsiteX753" fmla="*/ 176463 w 6359860"/>
              <a:gd name="connsiteY753" fmla="*/ 13 h 153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Lst>
            <a:rect l="l" t="t" r="r" b="b"/>
            <a:pathLst>
              <a:path w="6359860" h="1533837">
                <a:moveTo>
                  <a:pt x="16960" y="1505760"/>
                </a:moveTo>
                <a:cubicBezTo>
                  <a:pt x="17867" y="1505930"/>
                  <a:pt x="18775" y="1506214"/>
                  <a:pt x="19626" y="1506554"/>
                </a:cubicBezTo>
                <a:cubicBezTo>
                  <a:pt x="20477" y="1506951"/>
                  <a:pt x="21328" y="1507348"/>
                  <a:pt x="22065" y="1507859"/>
                </a:cubicBezTo>
                <a:cubicBezTo>
                  <a:pt x="22859" y="1508426"/>
                  <a:pt x="23596" y="1508993"/>
                  <a:pt x="24220" y="1509674"/>
                </a:cubicBezTo>
                <a:cubicBezTo>
                  <a:pt x="24901" y="1510298"/>
                  <a:pt x="25468" y="1511035"/>
                  <a:pt x="25979" y="1511829"/>
                </a:cubicBezTo>
                <a:cubicBezTo>
                  <a:pt x="26489" y="1512567"/>
                  <a:pt x="26943" y="1513417"/>
                  <a:pt x="27283" y="1514268"/>
                </a:cubicBezTo>
                <a:cubicBezTo>
                  <a:pt x="27624" y="1515119"/>
                  <a:pt x="27907" y="1515970"/>
                  <a:pt x="28077" y="1516877"/>
                </a:cubicBezTo>
                <a:cubicBezTo>
                  <a:pt x="28304" y="1517842"/>
                  <a:pt x="28361" y="1518749"/>
                  <a:pt x="28361" y="1519657"/>
                </a:cubicBezTo>
                <a:cubicBezTo>
                  <a:pt x="28361" y="1523400"/>
                  <a:pt x="26886" y="1527088"/>
                  <a:pt x="24220" y="1529697"/>
                </a:cubicBezTo>
                <a:cubicBezTo>
                  <a:pt x="23596" y="1530377"/>
                  <a:pt x="22859" y="1530945"/>
                  <a:pt x="22065" y="1531455"/>
                </a:cubicBezTo>
                <a:cubicBezTo>
                  <a:pt x="21328" y="1531966"/>
                  <a:pt x="20477" y="1532419"/>
                  <a:pt x="19626" y="1532760"/>
                </a:cubicBezTo>
                <a:cubicBezTo>
                  <a:pt x="18775" y="1533100"/>
                  <a:pt x="17867" y="1533384"/>
                  <a:pt x="16960" y="1533554"/>
                </a:cubicBezTo>
                <a:cubicBezTo>
                  <a:pt x="16052" y="1533781"/>
                  <a:pt x="15145" y="1533837"/>
                  <a:pt x="14181" y="1533837"/>
                </a:cubicBezTo>
                <a:cubicBezTo>
                  <a:pt x="10494" y="1533837"/>
                  <a:pt x="6807" y="1532363"/>
                  <a:pt x="4141" y="1529697"/>
                </a:cubicBezTo>
                <a:cubicBezTo>
                  <a:pt x="1531" y="1527088"/>
                  <a:pt x="0" y="1523400"/>
                  <a:pt x="0" y="1519657"/>
                </a:cubicBezTo>
                <a:cubicBezTo>
                  <a:pt x="0" y="1518749"/>
                  <a:pt x="113" y="1517842"/>
                  <a:pt x="284" y="1516877"/>
                </a:cubicBezTo>
                <a:cubicBezTo>
                  <a:pt x="454" y="1515970"/>
                  <a:pt x="737" y="1515119"/>
                  <a:pt x="1078" y="1514268"/>
                </a:cubicBezTo>
                <a:cubicBezTo>
                  <a:pt x="1475" y="1513417"/>
                  <a:pt x="1872" y="1512567"/>
                  <a:pt x="2382" y="1511829"/>
                </a:cubicBezTo>
                <a:cubicBezTo>
                  <a:pt x="2949" y="1511035"/>
                  <a:pt x="3517" y="1510298"/>
                  <a:pt x="4141" y="1509674"/>
                </a:cubicBezTo>
                <a:cubicBezTo>
                  <a:pt x="7487" y="1506384"/>
                  <a:pt x="12365" y="1504852"/>
                  <a:pt x="16960" y="1505760"/>
                </a:cubicBezTo>
                <a:close/>
                <a:moveTo>
                  <a:pt x="14181" y="1448130"/>
                </a:moveTo>
                <a:cubicBezTo>
                  <a:pt x="22008" y="1448130"/>
                  <a:pt x="28361" y="1454483"/>
                  <a:pt x="28361" y="1462311"/>
                </a:cubicBezTo>
                <a:cubicBezTo>
                  <a:pt x="28361" y="1470138"/>
                  <a:pt x="22008" y="1476491"/>
                  <a:pt x="14181" y="1476491"/>
                </a:cubicBezTo>
                <a:cubicBezTo>
                  <a:pt x="6353" y="1476491"/>
                  <a:pt x="0" y="1470138"/>
                  <a:pt x="0" y="1462311"/>
                </a:cubicBezTo>
                <a:cubicBezTo>
                  <a:pt x="0" y="1454483"/>
                  <a:pt x="6353" y="1448130"/>
                  <a:pt x="14181" y="1448130"/>
                </a:cubicBezTo>
                <a:close/>
                <a:moveTo>
                  <a:pt x="14181" y="1390727"/>
                </a:moveTo>
                <a:cubicBezTo>
                  <a:pt x="22008" y="1390727"/>
                  <a:pt x="28361" y="1397080"/>
                  <a:pt x="28361" y="1404908"/>
                </a:cubicBezTo>
                <a:cubicBezTo>
                  <a:pt x="28361" y="1412736"/>
                  <a:pt x="22008" y="1419089"/>
                  <a:pt x="14181" y="1419089"/>
                </a:cubicBezTo>
                <a:cubicBezTo>
                  <a:pt x="6353" y="1419089"/>
                  <a:pt x="0" y="1412736"/>
                  <a:pt x="0" y="1404908"/>
                </a:cubicBezTo>
                <a:cubicBezTo>
                  <a:pt x="0" y="1397080"/>
                  <a:pt x="6353" y="1390727"/>
                  <a:pt x="14181" y="1390727"/>
                </a:cubicBezTo>
                <a:close/>
                <a:moveTo>
                  <a:pt x="14181" y="1333325"/>
                </a:moveTo>
                <a:cubicBezTo>
                  <a:pt x="22008" y="1333325"/>
                  <a:pt x="28361" y="1339677"/>
                  <a:pt x="28361" y="1347562"/>
                </a:cubicBezTo>
                <a:cubicBezTo>
                  <a:pt x="28361" y="1355390"/>
                  <a:pt x="22008" y="1361742"/>
                  <a:pt x="14181" y="1361742"/>
                </a:cubicBezTo>
                <a:cubicBezTo>
                  <a:pt x="6353" y="1361742"/>
                  <a:pt x="0" y="1355390"/>
                  <a:pt x="0" y="1347562"/>
                </a:cubicBezTo>
                <a:cubicBezTo>
                  <a:pt x="0" y="1339677"/>
                  <a:pt x="6353" y="1333325"/>
                  <a:pt x="14181" y="1333325"/>
                </a:cubicBezTo>
                <a:close/>
                <a:moveTo>
                  <a:pt x="14181" y="1275979"/>
                </a:moveTo>
                <a:cubicBezTo>
                  <a:pt x="22008" y="1275979"/>
                  <a:pt x="28361" y="1282331"/>
                  <a:pt x="28361" y="1290159"/>
                </a:cubicBezTo>
                <a:cubicBezTo>
                  <a:pt x="28361" y="1297987"/>
                  <a:pt x="22008" y="1304340"/>
                  <a:pt x="14181" y="1304340"/>
                </a:cubicBezTo>
                <a:cubicBezTo>
                  <a:pt x="6353" y="1304340"/>
                  <a:pt x="0" y="1297987"/>
                  <a:pt x="0" y="1290159"/>
                </a:cubicBezTo>
                <a:cubicBezTo>
                  <a:pt x="0" y="1282331"/>
                  <a:pt x="6353" y="1275979"/>
                  <a:pt x="14181" y="1275979"/>
                </a:cubicBezTo>
                <a:close/>
                <a:moveTo>
                  <a:pt x="14181" y="1218576"/>
                </a:moveTo>
                <a:cubicBezTo>
                  <a:pt x="22008" y="1218576"/>
                  <a:pt x="28361" y="1224929"/>
                  <a:pt x="28361" y="1232813"/>
                </a:cubicBezTo>
                <a:cubicBezTo>
                  <a:pt x="28361" y="1240584"/>
                  <a:pt x="22008" y="1246937"/>
                  <a:pt x="14181" y="1246937"/>
                </a:cubicBezTo>
                <a:cubicBezTo>
                  <a:pt x="6353" y="1246937"/>
                  <a:pt x="0" y="1240584"/>
                  <a:pt x="0" y="1232813"/>
                </a:cubicBezTo>
                <a:cubicBezTo>
                  <a:pt x="0" y="1224929"/>
                  <a:pt x="6353" y="1218576"/>
                  <a:pt x="14181" y="1218576"/>
                </a:cubicBezTo>
                <a:close/>
                <a:moveTo>
                  <a:pt x="14181" y="1161230"/>
                </a:moveTo>
                <a:cubicBezTo>
                  <a:pt x="22008" y="1161230"/>
                  <a:pt x="28361" y="1167583"/>
                  <a:pt x="28361" y="1175410"/>
                </a:cubicBezTo>
                <a:cubicBezTo>
                  <a:pt x="28361" y="1183238"/>
                  <a:pt x="22008" y="1189591"/>
                  <a:pt x="14181" y="1189591"/>
                </a:cubicBezTo>
                <a:cubicBezTo>
                  <a:pt x="6353" y="1189591"/>
                  <a:pt x="0" y="1183238"/>
                  <a:pt x="0" y="1175410"/>
                </a:cubicBezTo>
                <a:cubicBezTo>
                  <a:pt x="0" y="1167583"/>
                  <a:pt x="6353" y="1161230"/>
                  <a:pt x="14181" y="1161230"/>
                </a:cubicBezTo>
                <a:close/>
                <a:moveTo>
                  <a:pt x="14181" y="1103827"/>
                </a:moveTo>
                <a:cubicBezTo>
                  <a:pt x="22008" y="1103827"/>
                  <a:pt x="28361" y="1110180"/>
                  <a:pt x="28361" y="1118007"/>
                </a:cubicBezTo>
                <a:cubicBezTo>
                  <a:pt x="28361" y="1125835"/>
                  <a:pt x="22008" y="1132188"/>
                  <a:pt x="14181" y="1132188"/>
                </a:cubicBezTo>
                <a:cubicBezTo>
                  <a:pt x="6353" y="1132188"/>
                  <a:pt x="0" y="1125835"/>
                  <a:pt x="0" y="1118007"/>
                </a:cubicBezTo>
                <a:cubicBezTo>
                  <a:pt x="0" y="1110180"/>
                  <a:pt x="6353" y="1103827"/>
                  <a:pt x="14181" y="1103827"/>
                </a:cubicBezTo>
                <a:close/>
                <a:moveTo>
                  <a:pt x="14181" y="1046481"/>
                </a:moveTo>
                <a:cubicBezTo>
                  <a:pt x="22008" y="1046481"/>
                  <a:pt x="28361" y="1052833"/>
                  <a:pt x="28361" y="1060661"/>
                </a:cubicBezTo>
                <a:cubicBezTo>
                  <a:pt x="28361" y="1068489"/>
                  <a:pt x="22008" y="1074842"/>
                  <a:pt x="14181" y="1074842"/>
                </a:cubicBezTo>
                <a:cubicBezTo>
                  <a:pt x="6353" y="1074842"/>
                  <a:pt x="0" y="1068489"/>
                  <a:pt x="0" y="1060661"/>
                </a:cubicBezTo>
                <a:cubicBezTo>
                  <a:pt x="0" y="1052833"/>
                  <a:pt x="6353" y="1046481"/>
                  <a:pt x="14181" y="1046481"/>
                </a:cubicBezTo>
                <a:close/>
                <a:moveTo>
                  <a:pt x="14181" y="989078"/>
                </a:moveTo>
                <a:cubicBezTo>
                  <a:pt x="22008" y="989078"/>
                  <a:pt x="28361" y="995431"/>
                  <a:pt x="28361" y="1003258"/>
                </a:cubicBezTo>
                <a:cubicBezTo>
                  <a:pt x="28361" y="1011086"/>
                  <a:pt x="22008" y="1017439"/>
                  <a:pt x="14181" y="1017439"/>
                </a:cubicBezTo>
                <a:cubicBezTo>
                  <a:pt x="6353" y="1017439"/>
                  <a:pt x="0" y="1011086"/>
                  <a:pt x="0" y="1003258"/>
                </a:cubicBezTo>
                <a:cubicBezTo>
                  <a:pt x="0" y="995431"/>
                  <a:pt x="6353" y="989078"/>
                  <a:pt x="14181" y="989078"/>
                </a:cubicBezTo>
                <a:close/>
                <a:moveTo>
                  <a:pt x="14181" y="931732"/>
                </a:moveTo>
                <a:cubicBezTo>
                  <a:pt x="22008" y="931732"/>
                  <a:pt x="28361" y="938028"/>
                  <a:pt x="28361" y="945912"/>
                </a:cubicBezTo>
                <a:cubicBezTo>
                  <a:pt x="28361" y="953740"/>
                  <a:pt x="22008" y="960093"/>
                  <a:pt x="14181" y="960093"/>
                </a:cubicBezTo>
                <a:cubicBezTo>
                  <a:pt x="6353" y="960093"/>
                  <a:pt x="0" y="953740"/>
                  <a:pt x="0" y="945912"/>
                </a:cubicBezTo>
                <a:cubicBezTo>
                  <a:pt x="0" y="938028"/>
                  <a:pt x="6353" y="931732"/>
                  <a:pt x="14181" y="931732"/>
                </a:cubicBezTo>
                <a:close/>
                <a:moveTo>
                  <a:pt x="14181" y="874329"/>
                </a:moveTo>
                <a:cubicBezTo>
                  <a:pt x="22008" y="874329"/>
                  <a:pt x="28361" y="880682"/>
                  <a:pt x="28361" y="888509"/>
                </a:cubicBezTo>
                <a:cubicBezTo>
                  <a:pt x="28361" y="896337"/>
                  <a:pt x="22008" y="902690"/>
                  <a:pt x="14181" y="902690"/>
                </a:cubicBezTo>
                <a:cubicBezTo>
                  <a:pt x="6353" y="902690"/>
                  <a:pt x="0" y="896337"/>
                  <a:pt x="0" y="888509"/>
                </a:cubicBezTo>
                <a:cubicBezTo>
                  <a:pt x="0" y="880682"/>
                  <a:pt x="6353" y="874329"/>
                  <a:pt x="14181" y="874329"/>
                </a:cubicBezTo>
                <a:close/>
                <a:moveTo>
                  <a:pt x="14181" y="816926"/>
                </a:moveTo>
                <a:cubicBezTo>
                  <a:pt x="22008" y="816926"/>
                  <a:pt x="28361" y="823279"/>
                  <a:pt x="28361" y="831107"/>
                </a:cubicBezTo>
                <a:cubicBezTo>
                  <a:pt x="28361" y="838991"/>
                  <a:pt x="22008" y="845287"/>
                  <a:pt x="14181" y="845287"/>
                </a:cubicBezTo>
                <a:cubicBezTo>
                  <a:pt x="6353" y="845287"/>
                  <a:pt x="0" y="838991"/>
                  <a:pt x="0" y="831107"/>
                </a:cubicBezTo>
                <a:cubicBezTo>
                  <a:pt x="0" y="823279"/>
                  <a:pt x="6353" y="816926"/>
                  <a:pt x="14181" y="816926"/>
                </a:cubicBezTo>
                <a:close/>
                <a:moveTo>
                  <a:pt x="14181" y="759580"/>
                </a:moveTo>
                <a:cubicBezTo>
                  <a:pt x="22008" y="759580"/>
                  <a:pt x="28361" y="765933"/>
                  <a:pt x="28361" y="773761"/>
                </a:cubicBezTo>
                <a:cubicBezTo>
                  <a:pt x="28361" y="781588"/>
                  <a:pt x="22008" y="787941"/>
                  <a:pt x="14181" y="787941"/>
                </a:cubicBezTo>
                <a:cubicBezTo>
                  <a:pt x="6353" y="787941"/>
                  <a:pt x="0" y="781588"/>
                  <a:pt x="0" y="773761"/>
                </a:cubicBezTo>
                <a:cubicBezTo>
                  <a:pt x="0" y="765933"/>
                  <a:pt x="6353" y="759580"/>
                  <a:pt x="14181" y="759580"/>
                </a:cubicBezTo>
                <a:close/>
                <a:moveTo>
                  <a:pt x="14181" y="702177"/>
                </a:moveTo>
                <a:cubicBezTo>
                  <a:pt x="22008" y="702177"/>
                  <a:pt x="28361" y="708530"/>
                  <a:pt x="28361" y="716358"/>
                </a:cubicBezTo>
                <a:cubicBezTo>
                  <a:pt x="28361" y="724185"/>
                  <a:pt x="22008" y="730538"/>
                  <a:pt x="14181" y="730538"/>
                </a:cubicBezTo>
                <a:cubicBezTo>
                  <a:pt x="6353" y="730538"/>
                  <a:pt x="0" y="724185"/>
                  <a:pt x="0" y="716358"/>
                </a:cubicBezTo>
                <a:cubicBezTo>
                  <a:pt x="0" y="708530"/>
                  <a:pt x="6353" y="702177"/>
                  <a:pt x="14181" y="702177"/>
                </a:cubicBezTo>
                <a:close/>
                <a:moveTo>
                  <a:pt x="14181" y="644831"/>
                </a:moveTo>
                <a:cubicBezTo>
                  <a:pt x="22008" y="644831"/>
                  <a:pt x="28361" y="651184"/>
                  <a:pt x="28361" y="659011"/>
                </a:cubicBezTo>
                <a:cubicBezTo>
                  <a:pt x="28361" y="666839"/>
                  <a:pt x="22008" y="673192"/>
                  <a:pt x="14181" y="673192"/>
                </a:cubicBezTo>
                <a:cubicBezTo>
                  <a:pt x="6353" y="673192"/>
                  <a:pt x="0" y="666839"/>
                  <a:pt x="0" y="659011"/>
                </a:cubicBezTo>
                <a:cubicBezTo>
                  <a:pt x="0" y="651184"/>
                  <a:pt x="6353" y="644831"/>
                  <a:pt x="14181" y="644831"/>
                </a:cubicBezTo>
                <a:close/>
                <a:moveTo>
                  <a:pt x="14181" y="587428"/>
                </a:moveTo>
                <a:cubicBezTo>
                  <a:pt x="22008" y="587428"/>
                  <a:pt x="28361" y="593781"/>
                  <a:pt x="28361" y="601609"/>
                </a:cubicBezTo>
                <a:cubicBezTo>
                  <a:pt x="28361" y="609436"/>
                  <a:pt x="22008" y="615789"/>
                  <a:pt x="14181" y="615789"/>
                </a:cubicBezTo>
                <a:cubicBezTo>
                  <a:pt x="6353" y="615789"/>
                  <a:pt x="0" y="609436"/>
                  <a:pt x="0" y="601609"/>
                </a:cubicBezTo>
                <a:cubicBezTo>
                  <a:pt x="0" y="593781"/>
                  <a:pt x="6353" y="587428"/>
                  <a:pt x="14181" y="587428"/>
                </a:cubicBezTo>
                <a:close/>
                <a:moveTo>
                  <a:pt x="14181" y="530025"/>
                </a:moveTo>
                <a:cubicBezTo>
                  <a:pt x="22008" y="530025"/>
                  <a:pt x="28361" y="536378"/>
                  <a:pt x="28361" y="544262"/>
                </a:cubicBezTo>
                <a:cubicBezTo>
                  <a:pt x="28361" y="552090"/>
                  <a:pt x="22008" y="558443"/>
                  <a:pt x="14181" y="558443"/>
                </a:cubicBezTo>
                <a:cubicBezTo>
                  <a:pt x="6353" y="558443"/>
                  <a:pt x="0" y="552090"/>
                  <a:pt x="0" y="544262"/>
                </a:cubicBezTo>
                <a:cubicBezTo>
                  <a:pt x="0" y="536378"/>
                  <a:pt x="6353" y="530025"/>
                  <a:pt x="14181" y="530025"/>
                </a:cubicBezTo>
                <a:close/>
                <a:moveTo>
                  <a:pt x="14181" y="472679"/>
                </a:moveTo>
                <a:cubicBezTo>
                  <a:pt x="22008" y="472679"/>
                  <a:pt x="28361" y="479032"/>
                  <a:pt x="28361" y="486860"/>
                </a:cubicBezTo>
                <a:cubicBezTo>
                  <a:pt x="28361" y="494687"/>
                  <a:pt x="22008" y="501040"/>
                  <a:pt x="14181" y="501040"/>
                </a:cubicBezTo>
                <a:cubicBezTo>
                  <a:pt x="6353" y="501040"/>
                  <a:pt x="0" y="494687"/>
                  <a:pt x="0" y="486860"/>
                </a:cubicBezTo>
                <a:cubicBezTo>
                  <a:pt x="0" y="479032"/>
                  <a:pt x="6353" y="472679"/>
                  <a:pt x="14181" y="472679"/>
                </a:cubicBezTo>
                <a:close/>
                <a:moveTo>
                  <a:pt x="14181" y="415276"/>
                </a:moveTo>
                <a:cubicBezTo>
                  <a:pt x="22008" y="415276"/>
                  <a:pt x="28361" y="421629"/>
                  <a:pt x="28361" y="429514"/>
                </a:cubicBezTo>
                <a:cubicBezTo>
                  <a:pt x="28361" y="437341"/>
                  <a:pt x="22008" y="443637"/>
                  <a:pt x="14181" y="443637"/>
                </a:cubicBezTo>
                <a:cubicBezTo>
                  <a:pt x="6353" y="443637"/>
                  <a:pt x="0" y="437341"/>
                  <a:pt x="0" y="429514"/>
                </a:cubicBezTo>
                <a:cubicBezTo>
                  <a:pt x="0" y="421629"/>
                  <a:pt x="6353" y="415276"/>
                  <a:pt x="14181" y="415276"/>
                </a:cubicBezTo>
                <a:close/>
                <a:moveTo>
                  <a:pt x="14181" y="357930"/>
                </a:moveTo>
                <a:cubicBezTo>
                  <a:pt x="22008" y="357930"/>
                  <a:pt x="28361" y="364283"/>
                  <a:pt x="28361" y="372111"/>
                </a:cubicBezTo>
                <a:cubicBezTo>
                  <a:pt x="28361" y="379939"/>
                  <a:pt x="22008" y="386291"/>
                  <a:pt x="14181" y="386291"/>
                </a:cubicBezTo>
                <a:cubicBezTo>
                  <a:pt x="6353" y="386291"/>
                  <a:pt x="0" y="379939"/>
                  <a:pt x="0" y="372111"/>
                </a:cubicBezTo>
                <a:cubicBezTo>
                  <a:pt x="0" y="364283"/>
                  <a:pt x="6353" y="357930"/>
                  <a:pt x="14181" y="357930"/>
                </a:cubicBezTo>
                <a:close/>
                <a:moveTo>
                  <a:pt x="14181" y="300527"/>
                </a:moveTo>
                <a:cubicBezTo>
                  <a:pt x="22008" y="300527"/>
                  <a:pt x="28361" y="306880"/>
                  <a:pt x="28361" y="314708"/>
                </a:cubicBezTo>
                <a:cubicBezTo>
                  <a:pt x="28361" y="322535"/>
                  <a:pt x="22008" y="328889"/>
                  <a:pt x="14181" y="328889"/>
                </a:cubicBezTo>
                <a:cubicBezTo>
                  <a:pt x="6353" y="328889"/>
                  <a:pt x="0" y="322535"/>
                  <a:pt x="0" y="314708"/>
                </a:cubicBezTo>
                <a:cubicBezTo>
                  <a:pt x="0" y="306880"/>
                  <a:pt x="6353" y="300527"/>
                  <a:pt x="14181" y="300527"/>
                </a:cubicBezTo>
                <a:close/>
                <a:moveTo>
                  <a:pt x="14181" y="243181"/>
                </a:moveTo>
                <a:cubicBezTo>
                  <a:pt x="22008" y="243181"/>
                  <a:pt x="28361" y="249477"/>
                  <a:pt x="28361" y="257362"/>
                </a:cubicBezTo>
                <a:cubicBezTo>
                  <a:pt x="28361" y="265189"/>
                  <a:pt x="22008" y="271542"/>
                  <a:pt x="14181" y="271542"/>
                </a:cubicBezTo>
                <a:cubicBezTo>
                  <a:pt x="6353" y="271542"/>
                  <a:pt x="0" y="265189"/>
                  <a:pt x="0" y="257362"/>
                </a:cubicBezTo>
                <a:cubicBezTo>
                  <a:pt x="0" y="249477"/>
                  <a:pt x="6353" y="243181"/>
                  <a:pt x="14181" y="243181"/>
                </a:cubicBezTo>
                <a:close/>
                <a:moveTo>
                  <a:pt x="14181" y="185778"/>
                </a:moveTo>
                <a:cubicBezTo>
                  <a:pt x="22008" y="185778"/>
                  <a:pt x="28361" y="192131"/>
                  <a:pt x="28361" y="199959"/>
                </a:cubicBezTo>
                <a:cubicBezTo>
                  <a:pt x="28361" y="207786"/>
                  <a:pt x="22008" y="214139"/>
                  <a:pt x="14181" y="214139"/>
                </a:cubicBezTo>
                <a:cubicBezTo>
                  <a:pt x="6353" y="214139"/>
                  <a:pt x="0" y="207786"/>
                  <a:pt x="0" y="199959"/>
                </a:cubicBezTo>
                <a:cubicBezTo>
                  <a:pt x="0" y="192131"/>
                  <a:pt x="6353" y="185778"/>
                  <a:pt x="14181" y="185778"/>
                </a:cubicBezTo>
                <a:close/>
                <a:moveTo>
                  <a:pt x="14181" y="128375"/>
                </a:moveTo>
                <a:cubicBezTo>
                  <a:pt x="22008" y="128375"/>
                  <a:pt x="28361" y="134728"/>
                  <a:pt x="28361" y="142613"/>
                </a:cubicBezTo>
                <a:cubicBezTo>
                  <a:pt x="28361" y="150440"/>
                  <a:pt x="22008" y="156737"/>
                  <a:pt x="14181" y="156737"/>
                </a:cubicBezTo>
                <a:cubicBezTo>
                  <a:pt x="6353" y="156737"/>
                  <a:pt x="0" y="150440"/>
                  <a:pt x="0" y="142613"/>
                </a:cubicBezTo>
                <a:cubicBezTo>
                  <a:pt x="0" y="134728"/>
                  <a:pt x="6353" y="128375"/>
                  <a:pt x="14181" y="128375"/>
                </a:cubicBezTo>
                <a:close/>
                <a:moveTo>
                  <a:pt x="38684" y="81154"/>
                </a:moveTo>
                <a:cubicBezTo>
                  <a:pt x="42314" y="81154"/>
                  <a:pt x="45944" y="82544"/>
                  <a:pt x="48724" y="85323"/>
                </a:cubicBezTo>
                <a:cubicBezTo>
                  <a:pt x="54283" y="90882"/>
                  <a:pt x="54283" y="99844"/>
                  <a:pt x="48724" y="105403"/>
                </a:cubicBezTo>
                <a:cubicBezTo>
                  <a:pt x="45945" y="108126"/>
                  <a:pt x="42315" y="109544"/>
                  <a:pt x="38684" y="109544"/>
                </a:cubicBezTo>
                <a:cubicBezTo>
                  <a:pt x="35054" y="109544"/>
                  <a:pt x="31424" y="108126"/>
                  <a:pt x="28645" y="105403"/>
                </a:cubicBezTo>
                <a:cubicBezTo>
                  <a:pt x="23143" y="99844"/>
                  <a:pt x="23143" y="90882"/>
                  <a:pt x="28645" y="85323"/>
                </a:cubicBezTo>
                <a:cubicBezTo>
                  <a:pt x="31424" y="82544"/>
                  <a:pt x="35054" y="81154"/>
                  <a:pt x="38684" y="81154"/>
                </a:cubicBezTo>
                <a:close/>
                <a:moveTo>
                  <a:pt x="79269" y="40598"/>
                </a:moveTo>
                <a:cubicBezTo>
                  <a:pt x="82900" y="40598"/>
                  <a:pt x="86530" y="41988"/>
                  <a:pt x="89281" y="44767"/>
                </a:cubicBezTo>
                <a:cubicBezTo>
                  <a:pt x="94839" y="50326"/>
                  <a:pt x="94839" y="59288"/>
                  <a:pt x="89281" y="64790"/>
                </a:cubicBezTo>
                <a:cubicBezTo>
                  <a:pt x="86558" y="67569"/>
                  <a:pt x="82928" y="68987"/>
                  <a:pt x="79298" y="68987"/>
                </a:cubicBezTo>
                <a:cubicBezTo>
                  <a:pt x="75667" y="68987"/>
                  <a:pt x="72037" y="67569"/>
                  <a:pt x="69258" y="64790"/>
                </a:cubicBezTo>
                <a:cubicBezTo>
                  <a:pt x="63699" y="59288"/>
                  <a:pt x="63699" y="50326"/>
                  <a:pt x="69258" y="44767"/>
                </a:cubicBezTo>
                <a:cubicBezTo>
                  <a:pt x="72009" y="41988"/>
                  <a:pt x="75639" y="40598"/>
                  <a:pt x="79269" y="40598"/>
                </a:cubicBezTo>
                <a:close/>
                <a:moveTo>
                  <a:pt x="117074" y="297"/>
                </a:moveTo>
                <a:cubicBezTo>
                  <a:pt x="118889" y="-100"/>
                  <a:pt x="120761" y="-100"/>
                  <a:pt x="122633" y="297"/>
                </a:cubicBezTo>
                <a:cubicBezTo>
                  <a:pt x="123540" y="467"/>
                  <a:pt x="124391" y="750"/>
                  <a:pt x="125242" y="1091"/>
                </a:cubicBezTo>
                <a:cubicBezTo>
                  <a:pt x="126150" y="1488"/>
                  <a:pt x="126944" y="1885"/>
                  <a:pt x="127738" y="2395"/>
                </a:cubicBezTo>
                <a:cubicBezTo>
                  <a:pt x="128475" y="2906"/>
                  <a:pt x="129213" y="3530"/>
                  <a:pt x="129893" y="4210"/>
                </a:cubicBezTo>
                <a:cubicBezTo>
                  <a:pt x="130517" y="4835"/>
                  <a:pt x="131141" y="5572"/>
                  <a:pt x="131652" y="6366"/>
                </a:cubicBezTo>
                <a:cubicBezTo>
                  <a:pt x="132162" y="7103"/>
                  <a:pt x="132559" y="7954"/>
                  <a:pt x="132956" y="8805"/>
                </a:cubicBezTo>
                <a:cubicBezTo>
                  <a:pt x="133297" y="9656"/>
                  <a:pt x="133580" y="10507"/>
                  <a:pt x="133750" y="11414"/>
                </a:cubicBezTo>
                <a:cubicBezTo>
                  <a:pt x="133921" y="12378"/>
                  <a:pt x="134034" y="13286"/>
                  <a:pt x="134034" y="14194"/>
                </a:cubicBezTo>
                <a:cubicBezTo>
                  <a:pt x="134034" y="17937"/>
                  <a:pt x="132502" y="21567"/>
                  <a:pt x="129893" y="24234"/>
                </a:cubicBezTo>
                <a:cubicBezTo>
                  <a:pt x="129213" y="24914"/>
                  <a:pt x="128475" y="25481"/>
                  <a:pt x="127738" y="25992"/>
                </a:cubicBezTo>
                <a:cubicBezTo>
                  <a:pt x="126944" y="26502"/>
                  <a:pt x="126150" y="26956"/>
                  <a:pt x="125242" y="27296"/>
                </a:cubicBezTo>
                <a:cubicBezTo>
                  <a:pt x="124391" y="27637"/>
                  <a:pt x="123540" y="27920"/>
                  <a:pt x="122633" y="28091"/>
                </a:cubicBezTo>
                <a:cubicBezTo>
                  <a:pt x="121725" y="28317"/>
                  <a:pt x="120761" y="28374"/>
                  <a:pt x="119854" y="28374"/>
                </a:cubicBezTo>
                <a:cubicBezTo>
                  <a:pt x="118946" y="28374"/>
                  <a:pt x="117982" y="28374"/>
                  <a:pt x="117074" y="28091"/>
                </a:cubicBezTo>
                <a:cubicBezTo>
                  <a:pt x="116166" y="27920"/>
                  <a:pt x="115259" y="27637"/>
                  <a:pt x="114408" y="27296"/>
                </a:cubicBezTo>
                <a:cubicBezTo>
                  <a:pt x="113557" y="26956"/>
                  <a:pt x="112763" y="26502"/>
                  <a:pt x="111969" y="25992"/>
                </a:cubicBezTo>
                <a:cubicBezTo>
                  <a:pt x="111175" y="25481"/>
                  <a:pt x="110494" y="24914"/>
                  <a:pt x="109814" y="24234"/>
                </a:cubicBezTo>
                <a:cubicBezTo>
                  <a:pt x="109133" y="23553"/>
                  <a:pt x="108566" y="22872"/>
                  <a:pt x="108055" y="22078"/>
                </a:cubicBezTo>
                <a:cubicBezTo>
                  <a:pt x="107545" y="21341"/>
                  <a:pt x="107091" y="20490"/>
                  <a:pt x="106751" y="19639"/>
                </a:cubicBezTo>
                <a:cubicBezTo>
                  <a:pt x="106410" y="18788"/>
                  <a:pt x="106127" y="17881"/>
                  <a:pt x="105957" y="16973"/>
                </a:cubicBezTo>
                <a:cubicBezTo>
                  <a:pt x="105786" y="16065"/>
                  <a:pt x="105673" y="15158"/>
                  <a:pt x="105673" y="14194"/>
                </a:cubicBezTo>
                <a:cubicBezTo>
                  <a:pt x="105673" y="13286"/>
                  <a:pt x="105786" y="12378"/>
                  <a:pt x="105957" y="11414"/>
                </a:cubicBezTo>
                <a:cubicBezTo>
                  <a:pt x="106127" y="10507"/>
                  <a:pt x="106410" y="9656"/>
                  <a:pt x="106751" y="8805"/>
                </a:cubicBezTo>
                <a:cubicBezTo>
                  <a:pt x="107091" y="7954"/>
                  <a:pt x="107545" y="7103"/>
                  <a:pt x="108055" y="6366"/>
                </a:cubicBezTo>
                <a:cubicBezTo>
                  <a:pt x="108566" y="5572"/>
                  <a:pt x="109133" y="4835"/>
                  <a:pt x="109814" y="4210"/>
                </a:cubicBezTo>
                <a:cubicBezTo>
                  <a:pt x="110494" y="3530"/>
                  <a:pt x="111175" y="2906"/>
                  <a:pt x="111969" y="2395"/>
                </a:cubicBezTo>
                <a:cubicBezTo>
                  <a:pt x="112763" y="1885"/>
                  <a:pt x="113557" y="1488"/>
                  <a:pt x="114408" y="1091"/>
                </a:cubicBezTo>
                <a:cubicBezTo>
                  <a:pt x="115259" y="750"/>
                  <a:pt x="116166" y="467"/>
                  <a:pt x="117074" y="297"/>
                </a:cubicBezTo>
                <a:close/>
                <a:moveTo>
                  <a:pt x="6348402" y="296"/>
                </a:moveTo>
                <a:cubicBezTo>
                  <a:pt x="6349309" y="467"/>
                  <a:pt x="6350217" y="750"/>
                  <a:pt x="6351068" y="1091"/>
                </a:cubicBezTo>
                <a:cubicBezTo>
                  <a:pt x="6351919" y="1488"/>
                  <a:pt x="6352770" y="1885"/>
                  <a:pt x="6353507" y="2395"/>
                </a:cubicBezTo>
                <a:cubicBezTo>
                  <a:pt x="6354301" y="2906"/>
                  <a:pt x="6355038" y="3530"/>
                  <a:pt x="6355663" y="4210"/>
                </a:cubicBezTo>
                <a:cubicBezTo>
                  <a:pt x="6356343" y="4835"/>
                  <a:pt x="6356910" y="5572"/>
                  <a:pt x="6357421" y="6366"/>
                </a:cubicBezTo>
                <a:cubicBezTo>
                  <a:pt x="6357931" y="7103"/>
                  <a:pt x="6358385" y="7954"/>
                  <a:pt x="6358725" y="8805"/>
                </a:cubicBezTo>
                <a:cubicBezTo>
                  <a:pt x="6359123" y="9656"/>
                  <a:pt x="6359349" y="10507"/>
                  <a:pt x="6359576" y="11414"/>
                </a:cubicBezTo>
                <a:cubicBezTo>
                  <a:pt x="6359747" y="12378"/>
                  <a:pt x="6359860" y="13286"/>
                  <a:pt x="6359860" y="14193"/>
                </a:cubicBezTo>
                <a:cubicBezTo>
                  <a:pt x="6359860" y="15158"/>
                  <a:pt x="6359747" y="16065"/>
                  <a:pt x="6359576" y="16973"/>
                </a:cubicBezTo>
                <a:cubicBezTo>
                  <a:pt x="6359349" y="17881"/>
                  <a:pt x="6359123" y="18788"/>
                  <a:pt x="6358725" y="19639"/>
                </a:cubicBezTo>
                <a:cubicBezTo>
                  <a:pt x="6358385" y="20490"/>
                  <a:pt x="6357931" y="21341"/>
                  <a:pt x="6357421" y="22078"/>
                </a:cubicBezTo>
                <a:cubicBezTo>
                  <a:pt x="6356910" y="22872"/>
                  <a:pt x="6356343" y="23610"/>
                  <a:pt x="6355663" y="24233"/>
                </a:cubicBezTo>
                <a:cubicBezTo>
                  <a:pt x="6355038" y="24914"/>
                  <a:pt x="6354301" y="25481"/>
                  <a:pt x="6353507" y="25992"/>
                </a:cubicBezTo>
                <a:cubicBezTo>
                  <a:pt x="6352770" y="26502"/>
                  <a:pt x="6351919" y="26956"/>
                  <a:pt x="6351068" y="27296"/>
                </a:cubicBezTo>
                <a:cubicBezTo>
                  <a:pt x="6350217" y="27693"/>
                  <a:pt x="6349309" y="27920"/>
                  <a:pt x="6348402" y="28147"/>
                </a:cubicBezTo>
                <a:cubicBezTo>
                  <a:pt x="6347494" y="28317"/>
                  <a:pt x="6346587" y="28431"/>
                  <a:pt x="6345680" y="28431"/>
                </a:cubicBezTo>
                <a:cubicBezTo>
                  <a:pt x="6341936" y="28431"/>
                  <a:pt x="6338249" y="26899"/>
                  <a:pt x="6335640" y="24233"/>
                </a:cubicBezTo>
                <a:cubicBezTo>
                  <a:pt x="6334959" y="23610"/>
                  <a:pt x="6334392" y="22872"/>
                  <a:pt x="6333881" y="22078"/>
                </a:cubicBezTo>
                <a:cubicBezTo>
                  <a:pt x="6333371" y="21341"/>
                  <a:pt x="6332917" y="20490"/>
                  <a:pt x="6332576" y="19639"/>
                </a:cubicBezTo>
                <a:cubicBezTo>
                  <a:pt x="6332180" y="18788"/>
                  <a:pt x="6331953" y="17881"/>
                  <a:pt x="6331725" y="16973"/>
                </a:cubicBezTo>
                <a:cubicBezTo>
                  <a:pt x="6331556" y="16065"/>
                  <a:pt x="6331499" y="15158"/>
                  <a:pt x="6331499" y="14193"/>
                </a:cubicBezTo>
                <a:cubicBezTo>
                  <a:pt x="6331499" y="13286"/>
                  <a:pt x="6331499" y="12378"/>
                  <a:pt x="6331725" y="11414"/>
                </a:cubicBezTo>
                <a:cubicBezTo>
                  <a:pt x="6331953" y="10507"/>
                  <a:pt x="6332180" y="9656"/>
                  <a:pt x="6332576" y="8805"/>
                </a:cubicBezTo>
                <a:cubicBezTo>
                  <a:pt x="6332917" y="7954"/>
                  <a:pt x="6333371" y="7103"/>
                  <a:pt x="6333881" y="6366"/>
                </a:cubicBezTo>
                <a:cubicBezTo>
                  <a:pt x="6334392" y="5572"/>
                  <a:pt x="6334959" y="4835"/>
                  <a:pt x="6335640" y="4210"/>
                </a:cubicBezTo>
                <a:cubicBezTo>
                  <a:pt x="6338929" y="864"/>
                  <a:pt x="6343864" y="-668"/>
                  <a:pt x="6348402" y="296"/>
                </a:cubicBezTo>
                <a:close/>
                <a:moveTo>
                  <a:pt x="6289071" y="13"/>
                </a:moveTo>
                <a:cubicBezTo>
                  <a:pt x="6296898" y="13"/>
                  <a:pt x="6303251" y="6366"/>
                  <a:pt x="6303251" y="14194"/>
                </a:cubicBezTo>
                <a:cubicBezTo>
                  <a:pt x="6303251" y="22021"/>
                  <a:pt x="6296898" y="28374"/>
                  <a:pt x="6289071" y="28374"/>
                </a:cubicBezTo>
                <a:cubicBezTo>
                  <a:pt x="6281243" y="28374"/>
                  <a:pt x="6274890" y="22021"/>
                  <a:pt x="6274890" y="14194"/>
                </a:cubicBezTo>
                <a:cubicBezTo>
                  <a:pt x="6274890" y="6366"/>
                  <a:pt x="6281243" y="13"/>
                  <a:pt x="6289071" y="13"/>
                </a:cubicBezTo>
                <a:close/>
                <a:moveTo>
                  <a:pt x="6232462" y="13"/>
                </a:moveTo>
                <a:cubicBezTo>
                  <a:pt x="6240290" y="13"/>
                  <a:pt x="6246643" y="6366"/>
                  <a:pt x="6246643" y="14194"/>
                </a:cubicBezTo>
                <a:cubicBezTo>
                  <a:pt x="6246643" y="22021"/>
                  <a:pt x="6240290" y="28374"/>
                  <a:pt x="6232462" y="28374"/>
                </a:cubicBezTo>
                <a:cubicBezTo>
                  <a:pt x="6224634" y="28374"/>
                  <a:pt x="6218282" y="22021"/>
                  <a:pt x="6218282" y="14194"/>
                </a:cubicBezTo>
                <a:cubicBezTo>
                  <a:pt x="6218282" y="6366"/>
                  <a:pt x="6224634" y="13"/>
                  <a:pt x="6232462" y="13"/>
                </a:cubicBezTo>
                <a:close/>
                <a:moveTo>
                  <a:pt x="6175853" y="13"/>
                </a:moveTo>
                <a:cubicBezTo>
                  <a:pt x="6183681" y="13"/>
                  <a:pt x="6190034" y="6366"/>
                  <a:pt x="6190034" y="14194"/>
                </a:cubicBezTo>
                <a:cubicBezTo>
                  <a:pt x="6190034" y="22021"/>
                  <a:pt x="6183681" y="28374"/>
                  <a:pt x="6175853" y="28374"/>
                </a:cubicBezTo>
                <a:cubicBezTo>
                  <a:pt x="6168026" y="28374"/>
                  <a:pt x="6161673" y="22021"/>
                  <a:pt x="6161673" y="14194"/>
                </a:cubicBezTo>
                <a:cubicBezTo>
                  <a:pt x="6161673" y="6366"/>
                  <a:pt x="6168026" y="13"/>
                  <a:pt x="6175853" y="13"/>
                </a:cubicBezTo>
                <a:close/>
                <a:moveTo>
                  <a:pt x="6119245" y="13"/>
                </a:moveTo>
                <a:cubicBezTo>
                  <a:pt x="6127072" y="13"/>
                  <a:pt x="6133425" y="6366"/>
                  <a:pt x="6133425" y="14194"/>
                </a:cubicBezTo>
                <a:cubicBezTo>
                  <a:pt x="6133425" y="22021"/>
                  <a:pt x="6127072" y="28374"/>
                  <a:pt x="6119245" y="28374"/>
                </a:cubicBezTo>
                <a:cubicBezTo>
                  <a:pt x="6111417" y="28374"/>
                  <a:pt x="6105064" y="22021"/>
                  <a:pt x="6105064" y="14194"/>
                </a:cubicBezTo>
                <a:cubicBezTo>
                  <a:pt x="6105064" y="6366"/>
                  <a:pt x="6111417" y="13"/>
                  <a:pt x="6119245" y="13"/>
                </a:cubicBezTo>
                <a:close/>
                <a:moveTo>
                  <a:pt x="6062636" y="13"/>
                </a:moveTo>
                <a:cubicBezTo>
                  <a:pt x="6070521" y="13"/>
                  <a:pt x="6076817" y="6366"/>
                  <a:pt x="6076817" y="14194"/>
                </a:cubicBezTo>
                <a:cubicBezTo>
                  <a:pt x="6076817" y="22021"/>
                  <a:pt x="6070521" y="28374"/>
                  <a:pt x="6062636" y="28374"/>
                </a:cubicBezTo>
                <a:cubicBezTo>
                  <a:pt x="6054809" y="28374"/>
                  <a:pt x="6048456" y="22021"/>
                  <a:pt x="6048456" y="14194"/>
                </a:cubicBezTo>
                <a:cubicBezTo>
                  <a:pt x="6048456" y="6366"/>
                  <a:pt x="6054809" y="13"/>
                  <a:pt x="6062636" y="13"/>
                </a:cubicBezTo>
                <a:close/>
                <a:moveTo>
                  <a:pt x="6006084" y="13"/>
                </a:moveTo>
                <a:cubicBezTo>
                  <a:pt x="6013912" y="13"/>
                  <a:pt x="6020265" y="6366"/>
                  <a:pt x="6020265" y="14194"/>
                </a:cubicBezTo>
                <a:cubicBezTo>
                  <a:pt x="6020265" y="22021"/>
                  <a:pt x="6013912" y="28374"/>
                  <a:pt x="6006084" y="28374"/>
                </a:cubicBezTo>
                <a:cubicBezTo>
                  <a:pt x="5998257" y="28374"/>
                  <a:pt x="5991904" y="22021"/>
                  <a:pt x="5991904" y="14194"/>
                </a:cubicBezTo>
                <a:cubicBezTo>
                  <a:pt x="5991904" y="6366"/>
                  <a:pt x="5998257" y="13"/>
                  <a:pt x="6006084" y="13"/>
                </a:cubicBezTo>
                <a:close/>
                <a:moveTo>
                  <a:pt x="5949475" y="13"/>
                </a:moveTo>
                <a:cubicBezTo>
                  <a:pt x="5957303" y="13"/>
                  <a:pt x="5963656" y="6366"/>
                  <a:pt x="5963656" y="14194"/>
                </a:cubicBezTo>
                <a:cubicBezTo>
                  <a:pt x="5963656" y="22021"/>
                  <a:pt x="5957303" y="28374"/>
                  <a:pt x="5949475" y="28374"/>
                </a:cubicBezTo>
                <a:cubicBezTo>
                  <a:pt x="5941647" y="28374"/>
                  <a:pt x="5935295" y="22021"/>
                  <a:pt x="5935295" y="14194"/>
                </a:cubicBezTo>
                <a:cubicBezTo>
                  <a:pt x="5935295" y="6366"/>
                  <a:pt x="5941647" y="13"/>
                  <a:pt x="5949475" y="13"/>
                </a:cubicBezTo>
                <a:close/>
                <a:moveTo>
                  <a:pt x="5892866" y="13"/>
                </a:moveTo>
                <a:cubicBezTo>
                  <a:pt x="5900694" y="13"/>
                  <a:pt x="5907047" y="6366"/>
                  <a:pt x="5907047" y="14194"/>
                </a:cubicBezTo>
                <a:cubicBezTo>
                  <a:pt x="5907047" y="22021"/>
                  <a:pt x="5900694" y="28374"/>
                  <a:pt x="5892866" y="28374"/>
                </a:cubicBezTo>
                <a:cubicBezTo>
                  <a:pt x="5885039" y="28374"/>
                  <a:pt x="5878686" y="22021"/>
                  <a:pt x="5878686" y="14194"/>
                </a:cubicBezTo>
                <a:cubicBezTo>
                  <a:pt x="5878686" y="6366"/>
                  <a:pt x="5885039" y="13"/>
                  <a:pt x="5892866" y="13"/>
                </a:cubicBezTo>
                <a:close/>
                <a:moveTo>
                  <a:pt x="5836258" y="13"/>
                </a:moveTo>
                <a:cubicBezTo>
                  <a:pt x="5844085" y="13"/>
                  <a:pt x="5850438" y="6366"/>
                  <a:pt x="5850438" y="14194"/>
                </a:cubicBezTo>
                <a:cubicBezTo>
                  <a:pt x="5850438" y="22021"/>
                  <a:pt x="5844085" y="28374"/>
                  <a:pt x="5836258" y="28374"/>
                </a:cubicBezTo>
                <a:cubicBezTo>
                  <a:pt x="5828430" y="28374"/>
                  <a:pt x="5822077" y="22021"/>
                  <a:pt x="5822077" y="14194"/>
                </a:cubicBezTo>
                <a:cubicBezTo>
                  <a:pt x="5822077" y="6366"/>
                  <a:pt x="5828430" y="13"/>
                  <a:pt x="5836258" y="13"/>
                </a:cubicBezTo>
                <a:close/>
                <a:moveTo>
                  <a:pt x="5779649" y="13"/>
                </a:moveTo>
                <a:cubicBezTo>
                  <a:pt x="5787477" y="13"/>
                  <a:pt x="5793830" y="6366"/>
                  <a:pt x="5793830" y="14194"/>
                </a:cubicBezTo>
                <a:cubicBezTo>
                  <a:pt x="5793830" y="22021"/>
                  <a:pt x="5787477" y="28374"/>
                  <a:pt x="5779649" y="28374"/>
                </a:cubicBezTo>
                <a:cubicBezTo>
                  <a:pt x="5771822" y="28374"/>
                  <a:pt x="5765469" y="22021"/>
                  <a:pt x="5765469" y="14194"/>
                </a:cubicBezTo>
                <a:cubicBezTo>
                  <a:pt x="5765469" y="6366"/>
                  <a:pt x="5771822" y="13"/>
                  <a:pt x="5779649" y="13"/>
                </a:cubicBezTo>
                <a:close/>
                <a:moveTo>
                  <a:pt x="5723041" y="13"/>
                </a:moveTo>
                <a:cubicBezTo>
                  <a:pt x="5730925" y="13"/>
                  <a:pt x="5737278" y="6366"/>
                  <a:pt x="5737278" y="14194"/>
                </a:cubicBezTo>
                <a:cubicBezTo>
                  <a:pt x="5737278" y="22021"/>
                  <a:pt x="5730925" y="28374"/>
                  <a:pt x="5723041" y="28374"/>
                </a:cubicBezTo>
                <a:cubicBezTo>
                  <a:pt x="5715213" y="28374"/>
                  <a:pt x="5708917" y="22021"/>
                  <a:pt x="5708917" y="14194"/>
                </a:cubicBezTo>
                <a:cubicBezTo>
                  <a:pt x="5708917" y="6366"/>
                  <a:pt x="5715213" y="13"/>
                  <a:pt x="5723041" y="13"/>
                </a:cubicBezTo>
                <a:close/>
                <a:moveTo>
                  <a:pt x="5666489" y="13"/>
                </a:moveTo>
                <a:cubicBezTo>
                  <a:pt x="5674316" y="13"/>
                  <a:pt x="5680669" y="6366"/>
                  <a:pt x="5680669" y="14194"/>
                </a:cubicBezTo>
                <a:cubicBezTo>
                  <a:pt x="5680669" y="22021"/>
                  <a:pt x="5674316" y="28374"/>
                  <a:pt x="5666489" y="28374"/>
                </a:cubicBezTo>
                <a:cubicBezTo>
                  <a:pt x="5658661" y="28374"/>
                  <a:pt x="5652308" y="22021"/>
                  <a:pt x="5652308" y="14194"/>
                </a:cubicBezTo>
                <a:cubicBezTo>
                  <a:pt x="5652308" y="6366"/>
                  <a:pt x="5658661" y="13"/>
                  <a:pt x="5666489" y="13"/>
                </a:cubicBezTo>
                <a:close/>
                <a:moveTo>
                  <a:pt x="5609879" y="13"/>
                </a:moveTo>
                <a:cubicBezTo>
                  <a:pt x="5617707" y="13"/>
                  <a:pt x="5624060" y="6366"/>
                  <a:pt x="5624060" y="14194"/>
                </a:cubicBezTo>
                <a:cubicBezTo>
                  <a:pt x="5624060" y="22021"/>
                  <a:pt x="5617707" y="28374"/>
                  <a:pt x="5609879" y="28374"/>
                </a:cubicBezTo>
                <a:cubicBezTo>
                  <a:pt x="5602052" y="28374"/>
                  <a:pt x="5595699" y="22021"/>
                  <a:pt x="5595699" y="14194"/>
                </a:cubicBezTo>
                <a:cubicBezTo>
                  <a:pt x="5595699" y="6366"/>
                  <a:pt x="5602052" y="13"/>
                  <a:pt x="5609879" y="13"/>
                </a:cubicBezTo>
                <a:close/>
                <a:moveTo>
                  <a:pt x="5553271" y="13"/>
                </a:moveTo>
                <a:cubicBezTo>
                  <a:pt x="5561098" y="13"/>
                  <a:pt x="5567451" y="6366"/>
                  <a:pt x="5567451" y="14194"/>
                </a:cubicBezTo>
                <a:cubicBezTo>
                  <a:pt x="5567451" y="22021"/>
                  <a:pt x="5561098" y="28374"/>
                  <a:pt x="5553271" y="28374"/>
                </a:cubicBezTo>
                <a:cubicBezTo>
                  <a:pt x="5545443" y="28374"/>
                  <a:pt x="5539090" y="22021"/>
                  <a:pt x="5539090" y="14194"/>
                </a:cubicBezTo>
                <a:cubicBezTo>
                  <a:pt x="5539090" y="6366"/>
                  <a:pt x="5545443" y="13"/>
                  <a:pt x="5553271" y="13"/>
                </a:cubicBezTo>
                <a:close/>
                <a:moveTo>
                  <a:pt x="5496662" y="13"/>
                </a:moveTo>
                <a:cubicBezTo>
                  <a:pt x="5504490" y="13"/>
                  <a:pt x="5510843" y="6366"/>
                  <a:pt x="5510843" y="14194"/>
                </a:cubicBezTo>
                <a:cubicBezTo>
                  <a:pt x="5510843" y="22021"/>
                  <a:pt x="5504490" y="28374"/>
                  <a:pt x="5496662" y="28374"/>
                </a:cubicBezTo>
                <a:cubicBezTo>
                  <a:pt x="5488835" y="28374"/>
                  <a:pt x="5482482" y="22021"/>
                  <a:pt x="5482482" y="14194"/>
                </a:cubicBezTo>
                <a:cubicBezTo>
                  <a:pt x="5482482" y="6366"/>
                  <a:pt x="5488835" y="13"/>
                  <a:pt x="5496662" y="13"/>
                </a:cubicBezTo>
                <a:close/>
                <a:moveTo>
                  <a:pt x="5440110" y="13"/>
                </a:moveTo>
                <a:cubicBezTo>
                  <a:pt x="5447938" y="13"/>
                  <a:pt x="5454234" y="6366"/>
                  <a:pt x="5454234" y="14194"/>
                </a:cubicBezTo>
                <a:cubicBezTo>
                  <a:pt x="5454234" y="22021"/>
                  <a:pt x="5447938" y="28374"/>
                  <a:pt x="5440110" y="28374"/>
                </a:cubicBezTo>
                <a:cubicBezTo>
                  <a:pt x="5432226" y="28374"/>
                  <a:pt x="5425873" y="22021"/>
                  <a:pt x="5425873" y="14194"/>
                </a:cubicBezTo>
                <a:cubicBezTo>
                  <a:pt x="5425873" y="6366"/>
                  <a:pt x="5432226" y="13"/>
                  <a:pt x="5440110" y="13"/>
                </a:cubicBezTo>
                <a:close/>
                <a:moveTo>
                  <a:pt x="5383502" y="13"/>
                </a:moveTo>
                <a:cubicBezTo>
                  <a:pt x="5391329" y="13"/>
                  <a:pt x="5397682" y="6366"/>
                  <a:pt x="5397682" y="14194"/>
                </a:cubicBezTo>
                <a:cubicBezTo>
                  <a:pt x="5397682" y="22021"/>
                  <a:pt x="5391329" y="28374"/>
                  <a:pt x="5383502" y="28374"/>
                </a:cubicBezTo>
                <a:cubicBezTo>
                  <a:pt x="5375674" y="28374"/>
                  <a:pt x="5369321" y="22021"/>
                  <a:pt x="5369321" y="14194"/>
                </a:cubicBezTo>
                <a:cubicBezTo>
                  <a:pt x="5369321" y="6366"/>
                  <a:pt x="5375674" y="13"/>
                  <a:pt x="5383502" y="13"/>
                </a:cubicBezTo>
                <a:close/>
                <a:moveTo>
                  <a:pt x="5326892" y="13"/>
                </a:moveTo>
                <a:cubicBezTo>
                  <a:pt x="5334720" y="13"/>
                  <a:pt x="5341073" y="6366"/>
                  <a:pt x="5341073" y="14194"/>
                </a:cubicBezTo>
                <a:cubicBezTo>
                  <a:pt x="5341073" y="22021"/>
                  <a:pt x="5334720" y="28374"/>
                  <a:pt x="5326892" y="28374"/>
                </a:cubicBezTo>
                <a:cubicBezTo>
                  <a:pt x="5319065" y="28374"/>
                  <a:pt x="5312712" y="22021"/>
                  <a:pt x="5312712" y="14194"/>
                </a:cubicBezTo>
                <a:cubicBezTo>
                  <a:pt x="5312712" y="6366"/>
                  <a:pt x="5319065" y="13"/>
                  <a:pt x="5326892" y="13"/>
                </a:cubicBezTo>
                <a:close/>
                <a:moveTo>
                  <a:pt x="5270284" y="13"/>
                </a:moveTo>
                <a:cubicBezTo>
                  <a:pt x="5278112" y="13"/>
                  <a:pt x="5284464" y="6366"/>
                  <a:pt x="5284464" y="14194"/>
                </a:cubicBezTo>
                <a:cubicBezTo>
                  <a:pt x="5284464" y="22021"/>
                  <a:pt x="5278112" y="28374"/>
                  <a:pt x="5270284" y="28374"/>
                </a:cubicBezTo>
                <a:cubicBezTo>
                  <a:pt x="5262456" y="28374"/>
                  <a:pt x="5256103" y="22021"/>
                  <a:pt x="5256103" y="14194"/>
                </a:cubicBezTo>
                <a:cubicBezTo>
                  <a:pt x="5256103" y="6366"/>
                  <a:pt x="5262456" y="13"/>
                  <a:pt x="5270284" y="13"/>
                </a:cubicBezTo>
                <a:close/>
                <a:moveTo>
                  <a:pt x="5213675" y="13"/>
                </a:moveTo>
                <a:cubicBezTo>
                  <a:pt x="5221503" y="13"/>
                  <a:pt x="5227856" y="6366"/>
                  <a:pt x="5227856" y="14194"/>
                </a:cubicBezTo>
                <a:cubicBezTo>
                  <a:pt x="5227856" y="22021"/>
                  <a:pt x="5221503" y="28374"/>
                  <a:pt x="5213675" y="28374"/>
                </a:cubicBezTo>
                <a:cubicBezTo>
                  <a:pt x="5205848" y="28374"/>
                  <a:pt x="5199495" y="22021"/>
                  <a:pt x="5199495" y="14194"/>
                </a:cubicBezTo>
                <a:cubicBezTo>
                  <a:pt x="5199495" y="6366"/>
                  <a:pt x="5205848" y="13"/>
                  <a:pt x="5213675" y="13"/>
                </a:cubicBezTo>
                <a:close/>
                <a:moveTo>
                  <a:pt x="5157067" y="13"/>
                </a:moveTo>
                <a:cubicBezTo>
                  <a:pt x="5164894" y="13"/>
                  <a:pt x="5171247" y="6366"/>
                  <a:pt x="5171247" y="14194"/>
                </a:cubicBezTo>
                <a:cubicBezTo>
                  <a:pt x="5171247" y="22021"/>
                  <a:pt x="5164894" y="28374"/>
                  <a:pt x="5157067" y="28374"/>
                </a:cubicBezTo>
                <a:cubicBezTo>
                  <a:pt x="5149239" y="28374"/>
                  <a:pt x="5142886" y="22021"/>
                  <a:pt x="5142886" y="14194"/>
                </a:cubicBezTo>
                <a:cubicBezTo>
                  <a:pt x="5142886" y="6366"/>
                  <a:pt x="5149239" y="13"/>
                  <a:pt x="5157067" y="13"/>
                </a:cubicBezTo>
                <a:close/>
                <a:moveTo>
                  <a:pt x="5100515" y="13"/>
                </a:moveTo>
                <a:cubicBezTo>
                  <a:pt x="5108342" y="13"/>
                  <a:pt x="5114695" y="6366"/>
                  <a:pt x="5114695" y="14194"/>
                </a:cubicBezTo>
                <a:cubicBezTo>
                  <a:pt x="5114695" y="22021"/>
                  <a:pt x="5108342" y="28374"/>
                  <a:pt x="5100515" y="28374"/>
                </a:cubicBezTo>
                <a:cubicBezTo>
                  <a:pt x="5092687" y="28374"/>
                  <a:pt x="5086334" y="22021"/>
                  <a:pt x="5086334" y="14194"/>
                </a:cubicBezTo>
                <a:cubicBezTo>
                  <a:pt x="5086334" y="6366"/>
                  <a:pt x="5092687" y="13"/>
                  <a:pt x="5100515" y="13"/>
                </a:cubicBezTo>
                <a:close/>
                <a:moveTo>
                  <a:pt x="5043906" y="13"/>
                </a:moveTo>
                <a:cubicBezTo>
                  <a:pt x="5051734" y="13"/>
                  <a:pt x="5058087" y="6366"/>
                  <a:pt x="5058087" y="14194"/>
                </a:cubicBezTo>
                <a:cubicBezTo>
                  <a:pt x="5058087" y="22021"/>
                  <a:pt x="5051734" y="28374"/>
                  <a:pt x="5043906" y="28374"/>
                </a:cubicBezTo>
                <a:cubicBezTo>
                  <a:pt x="5036078" y="28374"/>
                  <a:pt x="5029726" y="22021"/>
                  <a:pt x="5029726" y="14194"/>
                </a:cubicBezTo>
                <a:cubicBezTo>
                  <a:pt x="5029726" y="6366"/>
                  <a:pt x="5036078" y="13"/>
                  <a:pt x="5043906" y="13"/>
                </a:cubicBezTo>
                <a:close/>
                <a:moveTo>
                  <a:pt x="4987297" y="13"/>
                </a:moveTo>
                <a:cubicBezTo>
                  <a:pt x="4995125" y="13"/>
                  <a:pt x="5001477" y="6366"/>
                  <a:pt x="5001477" y="14194"/>
                </a:cubicBezTo>
                <a:cubicBezTo>
                  <a:pt x="5001477" y="22021"/>
                  <a:pt x="4995125" y="28374"/>
                  <a:pt x="4987297" y="28374"/>
                </a:cubicBezTo>
                <a:cubicBezTo>
                  <a:pt x="4979469" y="28374"/>
                  <a:pt x="4973116" y="22021"/>
                  <a:pt x="4973116" y="14194"/>
                </a:cubicBezTo>
                <a:cubicBezTo>
                  <a:pt x="4973116" y="6366"/>
                  <a:pt x="4979469" y="13"/>
                  <a:pt x="4987297" y="13"/>
                </a:cubicBezTo>
                <a:close/>
                <a:moveTo>
                  <a:pt x="4930688" y="13"/>
                </a:moveTo>
                <a:cubicBezTo>
                  <a:pt x="4938516" y="13"/>
                  <a:pt x="4944869" y="6366"/>
                  <a:pt x="4944869" y="14194"/>
                </a:cubicBezTo>
                <a:cubicBezTo>
                  <a:pt x="4944869" y="22021"/>
                  <a:pt x="4938516" y="28374"/>
                  <a:pt x="4930688" y="28374"/>
                </a:cubicBezTo>
                <a:cubicBezTo>
                  <a:pt x="4922861" y="28374"/>
                  <a:pt x="4916508" y="22021"/>
                  <a:pt x="4916508" y="14194"/>
                </a:cubicBezTo>
                <a:cubicBezTo>
                  <a:pt x="4916508" y="6366"/>
                  <a:pt x="4922861" y="13"/>
                  <a:pt x="4930688" y="13"/>
                </a:cubicBezTo>
                <a:close/>
                <a:moveTo>
                  <a:pt x="4874080" y="13"/>
                </a:moveTo>
                <a:cubicBezTo>
                  <a:pt x="4881907" y="13"/>
                  <a:pt x="4888260" y="6366"/>
                  <a:pt x="4888260" y="14194"/>
                </a:cubicBezTo>
                <a:cubicBezTo>
                  <a:pt x="4888260" y="22021"/>
                  <a:pt x="4881907" y="28374"/>
                  <a:pt x="4874080" y="28374"/>
                </a:cubicBezTo>
                <a:cubicBezTo>
                  <a:pt x="4866252" y="28374"/>
                  <a:pt x="4859899" y="22021"/>
                  <a:pt x="4859899" y="14194"/>
                </a:cubicBezTo>
                <a:cubicBezTo>
                  <a:pt x="4859899" y="6366"/>
                  <a:pt x="4866252" y="13"/>
                  <a:pt x="4874080" y="13"/>
                </a:cubicBezTo>
                <a:close/>
                <a:moveTo>
                  <a:pt x="4817528" y="13"/>
                </a:moveTo>
                <a:cubicBezTo>
                  <a:pt x="4825355" y="13"/>
                  <a:pt x="4831708" y="6366"/>
                  <a:pt x="4831708" y="14194"/>
                </a:cubicBezTo>
                <a:cubicBezTo>
                  <a:pt x="4831708" y="22021"/>
                  <a:pt x="4825355" y="28374"/>
                  <a:pt x="4817528" y="28374"/>
                </a:cubicBezTo>
                <a:cubicBezTo>
                  <a:pt x="4809700" y="28374"/>
                  <a:pt x="4803347" y="22021"/>
                  <a:pt x="4803347" y="14194"/>
                </a:cubicBezTo>
                <a:cubicBezTo>
                  <a:pt x="4803347" y="6366"/>
                  <a:pt x="4809700" y="13"/>
                  <a:pt x="4817528" y="13"/>
                </a:cubicBezTo>
                <a:close/>
                <a:moveTo>
                  <a:pt x="4760919" y="13"/>
                </a:moveTo>
                <a:cubicBezTo>
                  <a:pt x="4768747" y="13"/>
                  <a:pt x="4775100" y="6366"/>
                  <a:pt x="4775100" y="14194"/>
                </a:cubicBezTo>
                <a:cubicBezTo>
                  <a:pt x="4775100" y="22021"/>
                  <a:pt x="4768747" y="28374"/>
                  <a:pt x="4760919" y="28374"/>
                </a:cubicBezTo>
                <a:cubicBezTo>
                  <a:pt x="4753035" y="28374"/>
                  <a:pt x="4746739" y="22021"/>
                  <a:pt x="4746739" y="14194"/>
                </a:cubicBezTo>
                <a:cubicBezTo>
                  <a:pt x="4746739" y="6366"/>
                  <a:pt x="4753035" y="13"/>
                  <a:pt x="4760919" y="13"/>
                </a:cubicBezTo>
                <a:close/>
                <a:moveTo>
                  <a:pt x="4704311" y="13"/>
                </a:moveTo>
                <a:cubicBezTo>
                  <a:pt x="4712138" y="13"/>
                  <a:pt x="4718491" y="6366"/>
                  <a:pt x="4718491" y="14194"/>
                </a:cubicBezTo>
                <a:cubicBezTo>
                  <a:pt x="4718491" y="22021"/>
                  <a:pt x="4712138" y="28374"/>
                  <a:pt x="4704311" y="28374"/>
                </a:cubicBezTo>
                <a:cubicBezTo>
                  <a:pt x="4696483" y="28374"/>
                  <a:pt x="4690130" y="22021"/>
                  <a:pt x="4690130" y="14194"/>
                </a:cubicBezTo>
                <a:cubicBezTo>
                  <a:pt x="4690130" y="6366"/>
                  <a:pt x="4696483" y="13"/>
                  <a:pt x="4704311" y="13"/>
                </a:cubicBezTo>
                <a:close/>
                <a:moveTo>
                  <a:pt x="4647701" y="13"/>
                </a:moveTo>
                <a:cubicBezTo>
                  <a:pt x="4655529" y="13"/>
                  <a:pt x="4661882" y="6366"/>
                  <a:pt x="4661882" y="14194"/>
                </a:cubicBezTo>
                <a:cubicBezTo>
                  <a:pt x="4661882" y="22021"/>
                  <a:pt x="4655529" y="28374"/>
                  <a:pt x="4647701" y="28374"/>
                </a:cubicBezTo>
                <a:cubicBezTo>
                  <a:pt x="4639874" y="28374"/>
                  <a:pt x="4633521" y="22021"/>
                  <a:pt x="4633521" y="14194"/>
                </a:cubicBezTo>
                <a:cubicBezTo>
                  <a:pt x="4633521" y="6366"/>
                  <a:pt x="4639874" y="13"/>
                  <a:pt x="4647701" y="13"/>
                </a:cubicBezTo>
                <a:close/>
                <a:moveTo>
                  <a:pt x="4591093" y="13"/>
                </a:moveTo>
                <a:cubicBezTo>
                  <a:pt x="4598920" y="13"/>
                  <a:pt x="4605273" y="6366"/>
                  <a:pt x="4605273" y="14194"/>
                </a:cubicBezTo>
                <a:cubicBezTo>
                  <a:pt x="4605273" y="22021"/>
                  <a:pt x="4598920" y="28374"/>
                  <a:pt x="4591093" y="28374"/>
                </a:cubicBezTo>
                <a:cubicBezTo>
                  <a:pt x="4583265" y="28374"/>
                  <a:pt x="4576912" y="22021"/>
                  <a:pt x="4576912" y="14194"/>
                </a:cubicBezTo>
                <a:cubicBezTo>
                  <a:pt x="4576912" y="6366"/>
                  <a:pt x="4583265" y="13"/>
                  <a:pt x="4591093" y="13"/>
                </a:cubicBezTo>
                <a:close/>
                <a:moveTo>
                  <a:pt x="4534484" y="13"/>
                </a:moveTo>
                <a:cubicBezTo>
                  <a:pt x="4542368" y="13"/>
                  <a:pt x="4548721" y="6366"/>
                  <a:pt x="4548721" y="14194"/>
                </a:cubicBezTo>
                <a:cubicBezTo>
                  <a:pt x="4548721" y="22021"/>
                  <a:pt x="4542368" y="28374"/>
                  <a:pt x="4534484" y="28374"/>
                </a:cubicBezTo>
                <a:cubicBezTo>
                  <a:pt x="4526656" y="28374"/>
                  <a:pt x="4520360" y="22021"/>
                  <a:pt x="4520360" y="14194"/>
                </a:cubicBezTo>
                <a:cubicBezTo>
                  <a:pt x="4520360" y="6366"/>
                  <a:pt x="4526656" y="13"/>
                  <a:pt x="4534484" y="13"/>
                </a:cubicBezTo>
                <a:close/>
                <a:moveTo>
                  <a:pt x="4477932" y="13"/>
                </a:moveTo>
                <a:cubicBezTo>
                  <a:pt x="4485760" y="13"/>
                  <a:pt x="4492113" y="6366"/>
                  <a:pt x="4492113" y="14194"/>
                </a:cubicBezTo>
                <a:cubicBezTo>
                  <a:pt x="4492113" y="22021"/>
                  <a:pt x="4485760" y="28374"/>
                  <a:pt x="4477932" y="28374"/>
                </a:cubicBezTo>
                <a:cubicBezTo>
                  <a:pt x="4470104" y="28374"/>
                  <a:pt x="4463752" y="22021"/>
                  <a:pt x="4463752" y="14194"/>
                </a:cubicBezTo>
                <a:cubicBezTo>
                  <a:pt x="4463752" y="6366"/>
                  <a:pt x="4470104" y="13"/>
                  <a:pt x="4477932" y="13"/>
                </a:cubicBezTo>
                <a:close/>
                <a:moveTo>
                  <a:pt x="4421323" y="13"/>
                </a:moveTo>
                <a:cubicBezTo>
                  <a:pt x="4429151" y="13"/>
                  <a:pt x="4435504" y="6366"/>
                  <a:pt x="4435504" y="14194"/>
                </a:cubicBezTo>
                <a:cubicBezTo>
                  <a:pt x="4435504" y="22021"/>
                  <a:pt x="4429151" y="28374"/>
                  <a:pt x="4421323" y="28374"/>
                </a:cubicBezTo>
                <a:cubicBezTo>
                  <a:pt x="4413495" y="28374"/>
                  <a:pt x="4407143" y="22021"/>
                  <a:pt x="4407143" y="14194"/>
                </a:cubicBezTo>
                <a:cubicBezTo>
                  <a:pt x="4407143" y="6366"/>
                  <a:pt x="4413495" y="13"/>
                  <a:pt x="4421323" y="13"/>
                </a:cubicBezTo>
                <a:close/>
                <a:moveTo>
                  <a:pt x="4364715" y="13"/>
                </a:moveTo>
                <a:cubicBezTo>
                  <a:pt x="4372542" y="13"/>
                  <a:pt x="4378895" y="6366"/>
                  <a:pt x="4378895" y="14194"/>
                </a:cubicBezTo>
                <a:cubicBezTo>
                  <a:pt x="4378895" y="22021"/>
                  <a:pt x="4372542" y="28374"/>
                  <a:pt x="4364715" y="28374"/>
                </a:cubicBezTo>
                <a:cubicBezTo>
                  <a:pt x="4356887" y="28374"/>
                  <a:pt x="4350534" y="22021"/>
                  <a:pt x="4350534" y="14194"/>
                </a:cubicBezTo>
                <a:cubicBezTo>
                  <a:pt x="4350534" y="6366"/>
                  <a:pt x="4356887" y="13"/>
                  <a:pt x="4364715" y="13"/>
                </a:cubicBezTo>
                <a:close/>
                <a:moveTo>
                  <a:pt x="4308106" y="13"/>
                </a:moveTo>
                <a:cubicBezTo>
                  <a:pt x="4315933" y="13"/>
                  <a:pt x="4322286" y="6366"/>
                  <a:pt x="4322286" y="14194"/>
                </a:cubicBezTo>
                <a:cubicBezTo>
                  <a:pt x="4322286" y="22021"/>
                  <a:pt x="4315933" y="28374"/>
                  <a:pt x="4308106" y="28374"/>
                </a:cubicBezTo>
                <a:cubicBezTo>
                  <a:pt x="4300278" y="28374"/>
                  <a:pt x="4293925" y="22021"/>
                  <a:pt x="4293925" y="14194"/>
                </a:cubicBezTo>
                <a:cubicBezTo>
                  <a:pt x="4293925" y="6366"/>
                  <a:pt x="4300278" y="13"/>
                  <a:pt x="4308106" y="13"/>
                </a:cubicBezTo>
                <a:close/>
                <a:moveTo>
                  <a:pt x="4251497" y="13"/>
                </a:moveTo>
                <a:cubicBezTo>
                  <a:pt x="4259325" y="13"/>
                  <a:pt x="4265677" y="6366"/>
                  <a:pt x="4265677" y="14194"/>
                </a:cubicBezTo>
                <a:cubicBezTo>
                  <a:pt x="4265677" y="22021"/>
                  <a:pt x="4259325" y="28374"/>
                  <a:pt x="4251497" y="28374"/>
                </a:cubicBezTo>
                <a:cubicBezTo>
                  <a:pt x="4243669" y="28374"/>
                  <a:pt x="4237316" y="22021"/>
                  <a:pt x="4237316" y="14194"/>
                </a:cubicBezTo>
                <a:cubicBezTo>
                  <a:pt x="4237316" y="6366"/>
                  <a:pt x="4243669" y="13"/>
                  <a:pt x="4251497" y="13"/>
                </a:cubicBezTo>
                <a:close/>
                <a:moveTo>
                  <a:pt x="4194888" y="13"/>
                </a:moveTo>
                <a:cubicBezTo>
                  <a:pt x="4202773" y="13"/>
                  <a:pt x="4209126" y="6366"/>
                  <a:pt x="4209126" y="14194"/>
                </a:cubicBezTo>
                <a:cubicBezTo>
                  <a:pt x="4209126" y="22021"/>
                  <a:pt x="4202773" y="28374"/>
                  <a:pt x="4194888" y="28374"/>
                </a:cubicBezTo>
                <a:cubicBezTo>
                  <a:pt x="4187061" y="28374"/>
                  <a:pt x="4180764" y="22021"/>
                  <a:pt x="4180764" y="14194"/>
                </a:cubicBezTo>
                <a:cubicBezTo>
                  <a:pt x="4180764" y="6366"/>
                  <a:pt x="4187061" y="13"/>
                  <a:pt x="4194888" y="13"/>
                </a:cubicBezTo>
                <a:close/>
                <a:moveTo>
                  <a:pt x="4138336" y="13"/>
                </a:moveTo>
                <a:cubicBezTo>
                  <a:pt x="4146164" y="13"/>
                  <a:pt x="4152517" y="6366"/>
                  <a:pt x="4152517" y="14194"/>
                </a:cubicBezTo>
                <a:cubicBezTo>
                  <a:pt x="4152517" y="22021"/>
                  <a:pt x="4146164" y="28374"/>
                  <a:pt x="4138336" y="28374"/>
                </a:cubicBezTo>
                <a:cubicBezTo>
                  <a:pt x="4130509" y="28374"/>
                  <a:pt x="4124156" y="22021"/>
                  <a:pt x="4124156" y="14194"/>
                </a:cubicBezTo>
                <a:cubicBezTo>
                  <a:pt x="4124156" y="6366"/>
                  <a:pt x="4130509" y="13"/>
                  <a:pt x="4138336" y="13"/>
                </a:cubicBezTo>
                <a:close/>
                <a:moveTo>
                  <a:pt x="4081727" y="13"/>
                </a:moveTo>
                <a:cubicBezTo>
                  <a:pt x="4089555" y="13"/>
                  <a:pt x="4095908" y="6366"/>
                  <a:pt x="4095908" y="14194"/>
                </a:cubicBezTo>
                <a:cubicBezTo>
                  <a:pt x="4095908" y="22021"/>
                  <a:pt x="4089555" y="28374"/>
                  <a:pt x="4081727" y="28374"/>
                </a:cubicBezTo>
                <a:cubicBezTo>
                  <a:pt x="4073900" y="28374"/>
                  <a:pt x="4067547" y="22021"/>
                  <a:pt x="4067547" y="14194"/>
                </a:cubicBezTo>
                <a:cubicBezTo>
                  <a:pt x="4067547" y="6366"/>
                  <a:pt x="4073900" y="13"/>
                  <a:pt x="4081727" y="13"/>
                </a:cubicBezTo>
                <a:close/>
                <a:moveTo>
                  <a:pt x="4025119" y="13"/>
                </a:moveTo>
                <a:cubicBezTo>
                  <a:pt x="4032946" y="13"/>
                  <a:pt x="4039299" y="6366"/>
                  <a:pt x="4039299" y="14194"/>
                </a:cubicBezTo>
                <a:cubicBezTo>
                  <a:pt x="4039299" y="22021"/>
                  <a:pt x="4032946" y="28374"/>
                  <a:pt x="4025119" y="28374"/>
                </a:cubicBezTo>
                <a:cubicBezTo>
                  <a:pt x="4017291" y="28374"/>
                  <a:pt x="4010938" y="22021"/>
                  <a:pt x="4010938" y="14194"/>
                </a:cubicBezTo>
                <a:cubicBezTo>
                  <a:pt x="4010938" y="6366"/>
                  <a:pt x="4017291" y="13"/>
                  <a:pt x="4025119" y="13"/>
                </a:cubicBezTo>
                <a:close/>
                <a:moveTo>
                  <a:pt x="3968510" y="13"/>
                </a:moveTo>
                <a:cubicBezTo>
                  <a:pt x="3976338" y="13"/>
                  <a:pt x="3982691" y="6366"/>
                  <a:pt x="3982691" y="14194"/>
                </a:cubicBezTo>
                <a:cubicBezTo>
                  <a:pt x="3982691" y="22021"/>
                  <a:pt x="3976338" y="28374"/>
                  <a:pt x="3968510" y="28374"/>
                </a:cubicBezTo>
                <a:cubicBezTo>
                  <a:pt x="3960683" y="28374"/>
                  <a:pt x="3954330" y="22021"/>
                  <a:pt x="3954330" y="14194"/>
                </a:cubicBezTo>
                <a:cubicBezTo>
                  <a:pt x="3954330" y="6366"/>
                  <a:pt x="3960683" y="13"/>
                  <a:pt x="3968510" y="13"/>
                </a:cubicBezTo>
                <a:close/>
                <a:moveTo>
                  <a:pt x="3911901" y="13"/>
                </a:moveTo>
                <a:cubicBezTo>
                  <a:pt x="3919786" y="13"/>
                  <a:pt x="3926082" y="6366"/>
                  <a:pt x="3926082" y="14194"/>
                </a:cubicBezTo>
                <a:cubicBezTo>
                  <a:pt x="3926082" y="22021"/>
                  <a:pt x="3919786" y="28374"/>
                  <a:pt x="3911901" y="28374"/>
                </a:cubicBezTo>
                <a:cubicBezTo>
                  <a:pt x="3904074" y="28374"/>
                  <a:pt x="3897721" y="22021"/>
                  <a:pt x="3897721" y="14194"/>
                </a:cubicBezTo>
                <a:cubicBezTo>
                  <a:pt x="3897721" y="6366"/>
                  <a:pt x="3904074" y="13"/>
                  <a:pt x="3911901" y="13"/>
                </a:cubicBezTo>
                <a:close/>
                <a:moveTo>
                  <a:pt x="3855349" y="13"/>
                </a:moveTo>
                <a:cubicBezTo>
                  <a:pt x="3863177" y="13"/>
                  <a:pt x="3869530" y="6366"/>
                  <a:pt x="3869530" y="14194"/>
                </a:cubicBezTo>
                <a:cubicBezTo>
                  <a:pt x="3869530" y="22021"/>
                  <a:pt x="3863177" y="28374"/>
                  <a:pt x="3855349" y="28374"/>
                </a:cubicBezTo>
                <a:cubicBezTo>
                  <a:pt x="3847522" y="28374"/>
                  <a:pt x="3841169" y="22021"/>
                  <a:pt x="3841169" y="14194"/>
                </a:cubicBezTo>
                <a:cubicBezTo>
                  <a:pt x="3841169" y="6366"/>
                  <a:pt x="3847522" y="13"/>
                  <a:pt x="3855349" y="13"/>
                </a:cubicBezTo>
                <a:close/>
                <a:moveTo>
                  <a:pt x="3798741" y="13"/>
                </a:moveTo>
                <a:cubicBezTo>
                  <a:pt x="3806568" y="13"/>
                  <a:pt x="3812921" y="6366"/>
                  <a:pt x="3812921" y="14194"/>
                </a:cubicBezTo>
                <a:cubicBezTo>
                  <a:pt x="3812921" y="22021"/>
                  <a:pt x="3806568" y="28374"/>
                  <a:pt x="3798741" y="28374"/>
                </a:cubicBezTo>
                <a:cubicBezTo>
                  <a:pt x="3790913" y="28374"/>
                  <a:pt x="3784560" y="22021"/>
                  <a:pt x="3784560" y="14194"/>
                </a:cubicBezTo>
                <a:cubicBezTo>
                  <a:pt x="3784560" y="6366"/>
                  <a:pt x="3790913" y="13"/>
                  <a:pt x="3798741" y="13"/>
                </a:cubicBezTo>
                <a:close/>
                <a:moveTo>
                  <a:pt x="3742132" y="13"/>
                </a:moveTo>
                <a:cubicBezTo>
                  <a:pt x="3749959" y="13"/>
                  <a:pt x="3756312" y="6366"/>
                  <a:pt x="3756312" y="14194"/>
                </a:cubicBezTo>
                <a:cubicBezTo>
                  <a:pt x="3756312" y="22021"/>
                  <a:pt x="3749959" y="28374"/>
                  <a:pt x="3742132" y="28374"/>
                </a:cubicBezTo>
                <a:cubicBezTo>
                  <a:pt x="3734304" y="28374"/>
                  <a:pt x="3727951" y="22021"/>
                  <a:pt x="3727951" y="14194"/>
                </a:cubicBezTo>
                <a:cubicBezTo>
                  <a:pt x="3727951" y="6366"/>
                  <a:pt x="3734304" y="13"/>
                  <a:pt x="3742132" y="13"/>
                </a:cubicBezTo>
                <a:close/>
                <a:moveTo>
                  <a:pt x="3685523" y="13"/>
                </a:moveTo>
                <a:cubicBezTo>
                  <a:pt x="3693351" y="13"/>
                  <a:pt x="3699704" y="6366"/>
                  <a:pt x="3699704" y="14194"/>
                </a:cubicBezTo>
                <a:cubicBezTo>
                  <a:pt x="3699704" y="22021"/>
                  <a:pt x="3693351" y="28374"/>
                  <a:pt x="3685523" y="28374"/>
                </a:cubicBezTo>
                <a:cubicBezTo>
                  <a:pt x="3677696" y="28374"/>
                  <a:pt x="3671343" y="22021"/>
                  <a:pt x="3671343" y="14194"/>
                </a:cubicBezTo>
                <a:cubicBezTo>
                  <a:pt x="3671343" y="6366"/>
                  <a:pt x="3677696" y="13"/>
                  <a:pt x="3685523" y="13"/>
                </a:cubicBezTo>
                <a:close/>
                <a:moveTo>
                  <a:pt x="3628915" y="13"/>
                </a:moveTo>
                <a:cubicBezTo>
                  <a:pt x="3636742" y="13"/>
                  <a:pt x="3643095" y="6366"/>
                  <a:pt x="3643095" y="14194"/>
                </a:cubicBezTo>
                <a:cubicBezTo>
                  <a:pt x="3643095" y="22021"/>
                  <a:pt x="3636742" y="28374"/>
                  <a:pt x="3628915" y="28374"/>
                </a:cubicBezTo>
                <a:cubicBezTo>
                  <a:pt x="3621087" y="28374"/>
                  <a:pt x="3614734" y="22021"/>
                  <a:pt x="3614734" y="14194"/>
                </a:cubicBezTo>
                <a:cubicBezTo>
                  <a:pt x="3614734" y="6366"/>
                  <a:pt x="3621087" y="13"/>
                  <a:pt x="3628915" y="13"/>
                </a:cubicBezTo>
                <a:close/>
                <a:moveTo>
                  <a:pt x="3572362" y="13"/>
                </a:moveTo>
                <a:cubicBezTo>
                  <a:pt x="3580190" y="13"/>
                  <a:pt x="3586543" y="6366"/>
                  <a:pt x="3586543" y="14194"/>
                </a:cubicBezTo>
                <a:cubicBezTo>
                  <a:pt x="3586543" y="22021"/>
                  <a:pt x="3580190" y="28374"/>
                  <a:pt x="3572362" y="28374"/>
                </a:cubicBezTo>
                <a:cubicBezTo>
                  <a:pt x="3564478" y="28374"/>
                  <a:pt x="3558182" y="22021"/>
                  <a:pt x="3558182" y="14194"/>
                </a:cubicBezTo>
                <a:cubicBezTo>
                  <a:pt x="3558182" y="6366"/>
                  <a:pt x="3564478" y="13"/>
                  <a:pt x="3572362" y="13"/>
                </a:cubicBezTo>
                <a:close/>
                <a:moveTo>
                  <a:pt x="3515754" y="13"/>
                </a:moveTo>
                <a:cubicBezTo>
                  <a:pt x="3523581" y="13"/>
                  <a:pt x="3529934" y="6366"/>
                  <a:pt x="3529934" y="14194"/>
                </a:cubicBezTo>
                <a:cubicBezTo>
                  <a:pt x="3529934" y="22021"/>
                  <a:pt x="3523581" y="28374"/>
                  <a:pt x="3515754" y="28374"/>
                </a:cubicBezTo>
                <a:cubicBezTo>
                  <a:pt x="3507926" y="28374"/>
                  <a:pt x="3501573" y="22021"/>
                  <a:pt x="3501573" y="14194"/>
                </a:cubicBezTo>
                <a:cubicBezTo>
                  <a:pt x="3501573" y="6366"/>
                  <a:pt x="3507926" y="13"/>
                  <a:pt x="3515754" y="13"/>
                </a:cubicBezTo>
                <a:close/>
                <a:moveTo>
                  <a:pt x="3459145" y="13"/>
                </a:moveTo>
                <a:cubicBezTo>
                  <a:pt x="3466972" y="13"/>
                  <a:pt x="3473325" y="6366"/>
                  <a:pt x="3473325" y="14194"/>
                </a:cubicBezTo>
                <a:cubicBezTo>
                  <a:pt x="3473325" y="22021"/>
                  <a:pt x="3466972" y="28374"/>
                  <a:pt x="3459145" y="28374"/>
                </a:cubicBezTo>
                <a:cubicBezTo>
                  <a:pt x="3451317" y="28374"/>
                  <a:pt x="3444964" y="22021"/>
                  <a:pt x="3444964" y="14194"/>
                </a:cubicBezTo>
                <a:cubicBezTo>
                  <a:pt x="3444964" y="6366"/>
                  <a:pt x="3451317" y="13"/>
                  <a:pt x="3459145" y="13"/>
                </a:cubicBezTo>
                <a:close/>
                <a:moveTo>
                  <a:pt x="3402536" y="13"/>
                </a:moveTo>
                <a:cubicBezTo>
                  <a:pt x="3410364" y="13"/>
                  <a:pt x="3416717" y="6366"/>
                  <a:pt x="3416717" y="14194"/>
                </a:cubicBezTo>
                <a:cubicBezTo>
                  <a:pt x="3416717" y="22021"/>
                  <a:pt x="3410364" y="28374"/>
                  <a:pt x="3402536" y="28374"/>
                </a:cubicBezTo>
                <a:cubicBezTo>
                  <a:pt x="3394709" y="28374"/>
                  <a:pt x="3388356" y="22021"/>
                  <a:pt x="3388356" y="14194"/>
                </a:cubicBezTo>
                <a:cubicBezTo>
                  <a:pt x="3388356" y="6366"/>
                  <a:pt x="3394709" y="13"/>
                  <a:pt x="3402536" y="13"/>
                </a:cubicBezTo>
                <a:close/>
                <a:moveTo>
                  <a:pt x="3345928" y="13"/>
                </a:moveTo>
                <a:cubicBezTo>
                  <a:pt x="3353755" y="13"/>
                  <a:pt x="3360108" y="6366"/>
                  <a:pt x="3360108" y="14194"/>
                </a:cubicBezTo>
                <a:cubicBezTo>
                  <a:pt x="3360108" y="22021"/>
                  <a:pt x="3353755" y="28374"/>
                  <a:pt x="3345928" y="28374"/>
                </a:cubicBezTo>
                <a:cubicBezTo>
                  <a:pt x="3338100" y="28374"/>
                  <a:pt x="3331747" y="22021"/>
                  <a:pt x="3331747" y="14194"/>
                </a:cubicBezTo>
                <a:cubicBezTo>
                  <a:pt x="3331747" y="6366"/>
                  <a:pt x="3338100" y="13"/>
                  <a:pt x="3345928" y="13"/>
                </a:cubicBezTo>
                <a:close/>
                <a:moveTo>
                  <a:pt x="3289375" y="13"/>
                </a:moveTo>
                <a:cubicBezTo>
                  <a:pt x="3297203" y="13"/>
                  <a:pt x="3303499" y="6366"/>
                  <a:pt x="3303499" y="14194"/>
                </a:cubicBezTo>
                <a:cubicBezTo>
                  <a:pt x="3303499" y="22021"/>
                  <a:pt x="3297203" y="28374"/>
                  <a:pt x="3289375" y="28374"/>
                </a:cubicBezTo>
                <a:cubicBezTo>
                  <a:pt x="3281491" y="28374"/>
                  <a:pt x="3275138" y="22021"/>
                  <a:pt x="3275138" y="14194"/>
                </a:cubicBezTo>
                <a:cubicBezTo>
                  <a:pt x="3275138" y="6366"/>
                  <a:pt x="3281491" y="13"/>
                  <a:pt x="3289375" y="13"/>
                </a:cubicBezTo>
                <a:close/>
                <a:moveTo>
                  <a:pt x="3232767" y="13"/>
                </a:moveTo>
                <a:cubicBezTo>
                  <a:pt x="3240594" y="13"/>
                  <a:pt x="3246947" y="6366"/>
                  <a:pt x="3246947" y="14194"/>
                </a:cubicBezTo>
                <a:cubicBezTo>
                  <a:pt x="3246947" y="22021"/>
                  <a:pt x="3240594" y="28374"/>
                  <a:pt x="3232767" y="28374"/>
                </a:cubicBezTo>
                <a:cubicBezTo>
                  <a:pt x="3224882" y="28374"/>
                  <a:pt x="3218586" y="22021"/>
                  <a:pt x="3218586" y="14194"/>
                </a:cubicBezTo>
                <a:cubicBezTo>
                  <a:pt x="3218586" y="6366"/>
                  <a:pt x="3224882" y="13"/>
                  <a:pt x="3232767" y="13"/>
                </a:cubicBezTo>
                <a:close/>
                <a:moveTo>
                  <a:pt x="3176158" y="13"/>
                </a:moveTo>
                <a:cubicBezTo>
                  <a:pt x="3183986" y="13"/>
                  <a:pt x="3190339" y="6366"/>
                  <a:pt x="3190339" y="14194"/>
                </a:cubicBezTo>
                <a:cubicBezTo>
                  <a:pt x="3190339" y="22021"/>
                  <a:pt x="3183986" y="28374"/>
                  <a:pt x="3176158" y="28374"/>
                </a:cubicBezTo>
                <a:cubicBezTo>
                  <a:pt x="3168330" y="28374"/>
                  <a:pt x="3161978" y="22021"/>
                  <a:pt x="3161978" y="14194"/>
                </a:cubicBezTo>
                <a:cubicBezTo>
                  <a:pt x="3161978" y="6366"/>
                  <a:pt x="3168330" y="13"/>
                  <a:pt x="3176158" y="13"/>
                </a:cubicBezTo>
                <a:close/>
                <a:moveTo>
                  <a:pt x="3119549" y="13"/>
                </a:moveTo>
                <a:cubicBezTo>
                  <a:pt x="3127377" y="13"/>
                  <a:pt x="3133730" y="6366"/>
                  <a:pt x="3133730" y="14194"/>
                </a:cubicBezTo>
                <a:cubicBezTo>
                  <a:pt x="3133730" y="22021"/>
                  <a:pt x="3127377" y="28374"/>
                  <a:pt x="3119549" y="28374"/>
                </a:cubicBezTo>
                <a:cubicBezTo>
                  <a:pt x="3111722" y="28374"/>
                  <a:pt x="3105369" y="22021"/>
                  <a:pt x="3105369" y="14194"/>
                </a:cubicBezTo>
                <a:cubicBezTo>
                  <a:pt x="3105369" y="6366"/>
                  <a:pt x="3111722" y="13"/>
                  <a:pt x="3119549" y="13"/>
                </a:cubicBezTo>
                <a:close/>
                <a:moveTo>
                  <a:pt x="3062941" y="13"/>
                </a:moveTo>
                <a:cubicBezTo>
                  <a:pt x="3070768" y="13"/>
                  <a:pt x="3077121" y="6366"/>
                  <a:pt x="3077121" y="14194"/>
                </a:cubicBezTo>
                <a:cubicBezTo>
                  <a:pt x="3077121" y="22021"/>
                  <a:pt x="3070768" y="28374"/>
                  <a:pt x="3062941" y="28374"/>
                </a:cubicBezTo>
                <a:cubicBezTo>
                  <a:pt x="3055113" y="28374"/>
                  <a:pt x="3048760" y="22021"/>
                  <a:pt x="3048760" y="14194"/>
                </a:cubicBezTo>
                <a:cubicBezTo>
                  <a:pt x="3048760" y="6366"/>
                  <a:pt x="3055113" y="13"/>
                  <a:pt x="3062941" y="13"/>
                </a:cubicBezTo>
                <a:close/>
                <a:moveTo>
                  <a:pt x="3006332" y="13"/>
                </a:moveTo>
                <a:cubicBezTo>
                  <a:pt x="3014160" y="13"/>
                  <a:pt x="3020513" y="6366"/>
                  <a:pt x="3020513" y="14194"/>
                </a:cubicBezTo>
                <a:cubicBezTo>
                  <a:pt x="3020513" y="22021"/>
                  <a:pt x="3014160" y="28374"/>
                  <a:pt x="3006332" y="28374"/>
                </a:cubicBezTo>
                <a:cubicBezTo>
                  <a:pt x="2998504" y="28374"/>
                  <a:pt x="2992151" y="22021"/>
                  <a:pt x="2992151" y="14194"/>
                </a:cubicBezTo>
                <a:cubicBezTo>
                  <a:pt x="2992151" y="6366"/>
                  <a:pt x="2998504" y="13"/>
                  <a:pt x="3006332" y="13"/>
                </a:cubicBezTo>
                <a:close/>
                <a:moveTo>
                  <a:pt x="2949780" y="13"/>
                </a:moveTo>
                <a:cubicBezTo>
                  <a:pt x="2957607" y="13"/>
                  <a:pt x="2963960" y="6366"/>
                  <a:pt x="2963960" y="14194"/>
                </a:cubicBezTo>
                <a:cubicBezTo>
                  <a:pt x="2963960" y="22021"/>
                  <a:pt x="2957607" y="28374"/>
                  <a:pt x="2949780" y="28374"/>
                </a:cubicBezTo>
                <a:cubicBezTo>
                  <a:pt x="2941952" y="28374"/>
                  <a:pt x="2935542" y="22021"/>
                  <a:pt x="2935542" y="14194"/>
                </a:cubicBezTo>
                <a:cubicBezTo>
                  <a:pt x="2935542" y="6366"/>
                  <a:pt x="2941952" y="13"/>
                  <a:pt x="2949780" y="13"/>
                </a:cubicBezTo>
                <a:close/>
                <a:moveTo>
                  <a:pt x="2893171" y="13"/>
                </a:moveTo>
                <a:cubicBezTo>
                  <a:pt x="2900999" y="13"/>
                  <a:pt x="2907352" y="6366"/>
                  <a:pt x="2907352" y="14194"/>
                </a:cubicBezTo>
                <a:cubicBezTo>
                  <a:pt x="2907352" y="22021"/>
                  <a:pt x="2900999" y="28374"/>
                  <a:pt x="2893171" y="28374"/>
                </a:cubicBezTo>
                <a:cubicBezTo>
                  <a:pt x="2885343" y="28374"/>
                  <a:pt x="2878991" y="22021"/>
                  <a:pt x="2878991" y="14194"/>
                </a:cubicBezTo>
                <a:cubicBezTo>
                  <a:pt x="2878991" y="6366"/>
                  <a:pt x="2885343" y="13"/>
                  <a:pt x="2893171" y="13"/>
                </a:cubicBezTo>
                <a:close/>
                <a:moveTo>
                  <a:pt x="2836563" y="13"/>
                </a:moveTo>
                <a:cubicBezTo>
                  <a:pt x="2844390" y="13"/>
                  <a:pt x="2850743" y="6366"/>
                  <a:pt x="2850743" y="14194"/>
                </a:cubicBezTo>
                <a:cubicBezTo>
                  <a:pt x="2850743" y="22021"/>
                  <a:pt x="2844390" y="28374"/>
                  <a:pt x="2836563" y="28374"/>
                </a:cubicBezTo>
                <a:cubicBezTo>
                  <a:pt x="2828735" y="28374"/>
                  <a:pt x="2822382" y="22021"/>
                  <a:pt x="2822382" y="14194"/>
                </a:cubicBezTo>
                <a:cubicBezTo>
                  <a:pt x="2822382" y="6366"/>
                  <a:pt x="2828735" y="13"/>
                  <a:pt x="2836563" y="13"/>
                </a:cubicBezTo>
                <a:close/>
                <a:moveTo>
                  <a:pt x="2779954" y="13"/>
                </a:moveTo>
                <a:cubicBezTo>
                  <a:pt x="2787781" y="13"/>
                  <a:pt x="2794134" y="6366"/>
                  <a:pt x="2794134" y="14194"/>
                </a:cubicBezTo>
                <a:cubicBezTo>
                  <a:pt x="2794134" y="22021"/>
                  <a:pt x="2787781" y="28374"/>
                  <a:pt x="2779954" y="28374"/>
                </a:cubicBezTo>
                <a:cubicBezTo>
                  <a:pt x="2772126" y="28374"/>
                  <a:pt x="2765773" y="22021"/>
                  <a:pt x="2765773" y="14194"/>
                </a:cubicBezTo>
                <a:cubicBezTo>
                  <a:pt x="2765773" y="6366"/>
                  <a:pt x="2772126" y="13"/>
                  <a:pt x="2779954" y="13"/>
                </a:cubicBezTo>
                <a:close/>
                <a:moveTo>
                  <a:pt x="2723345" y="13"/>
                </a:moveTo>
                <a:cubicBezTo>
                  <a:pt x="2731229" y="13"/>
                  <a:pt x="2737526" y="6366"/>
                  <a:pt x="2737526" y="14194"/>
                </a:cubicBezTo>
                <a:cubicBezTo>
                  <a:pt x="2737526" y="22021"/>
                  <a:pt x="2731229" y="28374"/>
                  <a:pt x="2723345" y="28374"/>
                </a:cubicBezTo>
                <a:cubicBezTo>
                  <a:pt x="2715517" y="28374"/>
                  <a:pt x="2709164" y="22021"/>
                  <a:pt x="2709164" y="14194"/>
                </a:cubicBezTo>
                <a:cubicBezTo>
                  <a:pt x="2709164" y="6366"/>
                  <a:pt x="2715517" y="13"/>
                  <a:pt x="2723345" y="13"/>
                </a:cubicBezTo>
                <a:close/>
                <a:moveTo>
                  <a:pt x="2666793" y="13"/>
                </a:moveTo>
                <a:cubicBezTo>
                  <a:pt x="2674620" y="13"/>
                  <a:pt x="2680917" y="6366"/>
                  <a:pt x="2680917" y="14194"/>
                </a:cubicBezTo>
                <a:cubicBezTo>
                  <a:pt x="2680917" y="22021"/>
                  <a:pt x="2674620" y="28374"/>
                  <a:pt x="2666793" y="28374"/>
                </a:cubicBezTo>
                <a:cubicBezTo>
                  <a:pt x="2658965" y="28374"/>
                  <a:pt x="2652612" y="22021"/>
                  <a:pt x="2652612" y="14194"/>
                </a:cubicBezTo>
                <a:cubicBezTo>
                  <a:pt x="2652612" y="6366"/>
                  <a:pt x="2658965" y="13"/>
                  <a:pt x="2666793" y="13"/>
                </a:cubicBezTo>
                <a:close/>
                <a:moveTo>
                  <a:pt x="2610184" y="13"/>
                </a:moveTo>
                <a:cubicBezTo>
                  <a:pt x="2618012" y="13"/>
                  <a:pt x="2624365" y="6366"/>
                  <a:pt x="2624365" y="14194"/>
                </a:cubicBezTo>
                <a:cubicBezTo>
                  <a:pt x="2624365" y="22021"/>
                  <a:pt x="2618012" y="28374"/>
                  <a:pt x="2610184" y="28374"/>
                </a:cubicBezTo>
                <a:cubicBezTo>
                  <a:pt x="2602356" y="28374"/>
                  <a:pt x="2596004" y="22021"/>
                  <a:pt x="2596004" y="14194"/>
                </a:cubicBezTo>
                <a:cubicBezTo>
                  <a:pt x="2596004" y="6366"/>
                  <a:pt x="2602356" y="13"/>
                  <a:pt x="2610184" y="13"/>
                </a:cubicBezTo>
                <a:close/>
                <a:moveTo>
                  <a:pt x="2553576" y="13"/>
                </a:moveTo>
                <a:cubicBezTo>
                  <a:pt x="2561403" y="13"/>
                  <a:pt x="2567756" y="6366"/>
                  <a:pt x="2567756" y="14194"/>
                </a:cubicBezTo>
                <a:cubicBezTo>
                  <a:pt x="2567756" y="22021"/>
                  <a:pt x="2561403" y="28374"/>
                  <a:pt x="2553576" y="28374"/>
                </a:cubicBezTo>
                <a:cubicBezTo>
                  <a:pt x="2545748" y="28374"/>
                  <a:pt x="2539395" y="22021"/>
                  <a:pt x="2539395" y="14194"/>
                </a:cubicBezTo>
                <a:cubicBezTo>
                  <a:pt x="2539395" y="6366"/>
                  <a:pt x="2545748" y="13"/>
                  <a:pt x="2553576" y="13"/>
                </a:cubicBezTo>
                <a:close/>
                <a:moveTo>
                  <a:pt x="2496967" y="13"/>
                </a:moveTo>
                <a:cubicBezTo>
                  <a:pt x="2504794" y="13"/>
                  <a:pt x="2511147" y="6366"/>
                  <a:pt x="2511147" y="14194"/>
                </a:cubicBezTo>
                <a:cubicBezTo>
                  <a:pt x="2511147" y="22021"/>
                  <a:pt x="2504794" y="28374"/>
                  <a:pt x="2496967" y="28374"/>
                </a:cubicBezTo>
                <a:cubicBezTo>
                  <a:pt x="2489139" y="28374"/>
                  <a:pt x="2482786" y="22021"/>
                  <a:pt x="2482786" y="14194"/>
                </a:cubicBezTo>
                <a:cubicBezTo>
                  <a:pt x="2482786" y="6366"/>
                  <a:pt x="2489139" y="13"/>
                  <a:pt x="2496967" y="13"/>
                </a:cubicBezTo>
                <a:close/>
                <a:moveTo>
                  <a:pt x="2440358" y="13"/>
                </a:moveTo>
                <a:cubicBezTo>
                  <a:pt x="2448186" y="13"/>
                  <a:pt x="2454539" y="6366"/>
                  <a:pt x="2454539" y="14194"/>
                </a:cubicBezTo>
                <a:cubicBezTo>
                  <a:pt x="2454539" y="22021"/>
                  <a:pt x="2448186" y="28374"/>
                  <a:pt x="2440358" y="28374"/>
                </a:cubicBezTo>
                <a:cubicBezTo>
                  <a:pt x="2432530" y="28374"/>
                  <a:pt x="2426177" y="22021"/>
                  <a:pt x="2426177" y="14194"/>
                </a:cubicBezTo>
                <a:cubicBezTo>
                  <a:pt x="2426177" y="6366"/>
                  <a:pt x="2432530" y="13"/>
                  <a:pt x="2440358" y="13"/>
                </a:cubicBezTo>
                <a:close/>
                <a:moveTo>
                  <a:pt x="2383749" y="13"/>
                </a:moveTo>
                <a:cubicBezTo>
                  <a:pt x="2391634" y="13"/>
                  <a:pt x="2397987" y="6366"/>
                  <a:pt x="2397987" y="14194"/>
                </a:cubicBezTo>
                <a:cubicBezTo>
                  <a:pt x="2397987" y="22021"/>
                  <a:pt x="2391634" y="28374"/>
                  <a:pt x="2383749" y="28374"/>
                </a:cubicBezTo>
                <a:cubicBezTo>
                  <a:pt x="2375922" y="28374"/>
                  <a:pt x="2369626" y="22021"/>
                  <a:pt x="2369626" y="14194"/>
                </a:cubicBezTo>
                <a:cubicBezTo>
                  <a:pt x="2369626" y="6366"/>
                  <a:pt x="2375922" y="13"/>
                  <a:pt x="2383749" y="13"/>
                </a:cubicBezTo>
                <a:close/>
                <a:moveTo>
                  <a:pt x="2327197" y="13"/>
                </a:moveTo>
                <a:cubicBezTo>
                  <a:pt x="2335025" y="13"/>
                  <a:pt x="2341378" y="6366"/>
                  <a:pt x="2341378" y="14194"/>
                </a:cubicBezTo>
                <a:cubicBezTo>
                  <a:pt x="2341378" y="22021"/>
                  <a:pt x="2335025" y="28374"/>
                  <a:pt x="2327197" y="28374"/>
                </a:cubicBezTo>
                <a:cubicBezTo>
                  <a:pt x="2319369" y="28374"/>
                  <a:pt x="2313017" y="22021"/>
                  <a:pt x="2313017" y="14194"/>
                </a:cubicBezTo>
                <a:cubicBezTo>
                  <a:pt x="2313017" y="6366"/>
                  <a:pt x="2319369" y="13"/>
                  <a:pt x="2327197" y="13"/>
                </a:cubicBezTo>
                <a:close/>
                <a:moveTo>
                  <a:pt x="2270589" y="13"/>
                </a:moveTo>
                <a:cubicBezTo>
                  <a:pt x="2278416" y="13"/>
                  <a:pt x="2284769" y="6366"/>
                  <a:pt x="2284769" y="14194"/>
                </a:cubicBezTo>
                <a:cubicBezTo>
                  <a:pt x="2284769" y="22021"/>
                  <a:pt x="2278416" y="28374"/>
                  <a:pt x="2270589" y="28374"/>
                </a:cubicBezTo>
                <a:cubicBezTo>
                  <a:pt x="2262761" y="28374"/>
                  <a:pt x="2256408" y="22021"/>
                  <a:pt x="2256408" y="14194"/>
                </a:cubicBezTo>
                <a:cubicBezTo>
                  <a:pt x="2256408" y="6366"/>
                  <a:pt x="2262761" y="13"/>
                  <a:pt x="2270589" y="13"/>
                </a:cubicBezTo>
                <a:close/>
                <a:moveTo>
                  <a:pt x="2213980" y="13"/>
                </a:moveTo>
                <a:cubicBezTo>
                  <a:pt x="2221808" y="13"/>
                  <a:pt x="2228160" y="6366"/>
                  <a:pt x="2228160" y="14194"/>
                </a:cubicBezTo>
                <a:cubicBezTo>
                  <a:pt x="2228160" y="22021"/>
                  <a:pt x="2221808" y="28374"/>
                  <a:pt x="2213980" y="28374"/>
                </a:cubicBezTo>
                <a:cubicBezTo>
                  <a:pt x="2206152" y="28374"/>
                  <a:pt x="2199799" y="22021"/>
                  <a:pt x="2199799" y="14194"/>
                </a:cubicBezTo>
                <a:cubicBezTo>
                  <a:pt x="2199799" y="6366"/>
                  <a:pt x="2206152" y="13"/>
                  <a:pt x="2213980" y="13"/>
                </a:cubicBezTo>
                <a:close/>
                <a:moveTo>
                  <a:pt x="2157371" y="13"/>
                </a:moveTo>
                <a:cubicBezTo>
                  <a:pt x="2165199" y="13"/>
                  <a:pt x="2171551" y="6366"/>
                  <a:pt x="2171551" y="14194"/>
                </a:cubicBezTo>
                <a:cubicBezTo>
                  <a:pt x="2171551" y="22021"/>
                  <a:pt x="2165199" y="28374"/>
                  <a:pt x="2157371" y="28374"/>
                </a:cubicBezTo>
                <a:cubicBezTo>
                  <a:pt x="2149544" y="28374"/>
                  <a:pt x="2143190" y="22021"/>
                  <a:pt x="2143190" y="14194"/>
                </a:cubicBezTo>
                <a:cubicBezTo>
                  <a:pt x="2143190" y="6366"/>
                  <a:pt x="2149544" y="13"/>
                  <a:pt x="2157371" y="13"/>
                </a:cubicBezTo>
                <a:close/>
                <a:moveTo>
                  <a:pt x="2100762" y="13"/>
                </a:moveTo>
                <a:cubicBezTo>
                  <a:pt x="2108590" y="13"/>
                  <a:pt x="2114943" y="6366"/>
                  <a:pt x="2114943" y="14194"/>
                </a:cubicBezTo>
                <a:cubicBezTo>
                  <a:pt x="2114943" y="22021"/>
                  <a:pt x="2108590" y="28374"/>
                  <a:pt x="2100762" y="28374"/>
                </a:cubicBezTo>
                <a:cubicBezTo>
                  <a:pt x="2092935" y="28374"/>
                  <a:pt x="2086582" y="22021"/>
                  <a:pt x="2086582" y="14194"/>
                </a:cubicBezTo>
                <a:cubicBezTo>
                  <a:pt x="2086582" y="6366"/>
                  <a:pt x="2092935" y="13"/>
                  <a:pt x="2100762" y="13"/>
                </a:cubicBezTo>
                <a:close/>
                <a:moveTo>
                  <a:pt x="2044154" y="13"/>
                </a:moveTo>
                <a:cubicBezTo>
                  <a:pt x="2052038" y="13"/>
                  <a:pt x="2058391" y="6366"/>
                  <a:pt x="2058391" y="14194"/>
                </a:cubicBezTo>
                <a:cubicBezTo>
                  <a:pt x="2058391" y="22021"/>
                  <a:pt x="2052038" y="28374"/>
                  <a:pt x="2044154" y="28374"/>
                </a:cubicBezTo>
                <a:cubicBezTo>
                  <a:pt x="2036326" y="28374"/>
                  <a:pt x="2030030" y="22021"/>
                  <a:pt x="2030030" y="14194"/>
                </a:cubicBezTo>
                <a:cubicBezTo>
                  <a:pt x="2030030" y="6366"/>
                  <a:pt x="2036326" y="13"/>
                  <a:pt x="2044154" y="13"/>
                </a:cubicBezTo>
                <a:close/>
                <a:moveTo>
                  <a:pt x="1987601" y="13"/>
                </a:moveTo>
                <a:cubicBezTo>
                  <a:pt x="1995429" y="13"/>
                  <a:pt x="2001782" y="6366"/>
                  <a:pt x="2001782" y="14194"/>
                </a:cubicBezTo>
                <a:cubicBezTo>
                  <a:pt x="2001782" y="22021"/>
                  <a:pt x="1995429" y="28374"/>
                  <a:pt x="1987601" y="28374"/>
                </a:cubicBezTo>
                <a:cubicBezTo>
                  <a:pt x="1979774" y="28374"/>
                  <a:pt x="1973421" y="22021"/>
                  <a:pt x="1973421" y="14194"/>
                </a:cubicBezTo>
                <a:cubicBezTo>
                  <a:pt x="1973421" y="6366"/>
                  <a:pt x="1979774" y="13"/>
                  <a:pt x="1987601" y="13"/>
                </a:cubicBezTo>
                <a:close/>
                <a:moveTo>
                  <a:pt x="1930993" y="13"/>
                </a:moveTo>
                <a:cubicBezTo>
                  <a:pt x="1938821" y="13"/>
                  <a:pt x="1945173" y="6366"/>
                  <a:pt x="1945173" y="14194"/>
                </a:cubicBezTo>
                <a:cubicBezTo>
                  <a:pt x="1945173" y="22021"/>
                  <a:pt x="1938821" y="28374"/>
                  <a:pt x="1930993" y="28374"/>
                </a:cubicBezTo>
                <a:cubicBezTo>
                  <a:pt x="1923165" y="28374"/>
                  <a:pt x="1916812" y="22021"/>
                  <a:pt x="1916812" y="14194"/>
                </a:cubicBezTo>
                <a:cubicBezTo>
                  <a:pt x="1916812" y="6366"/>
                  <a:pt x="1923165" y="13"/>
                  <a:pt x="1930993" y="13"/>
                </a:cubicBezTo>
                <a:close/>
                <a:moveTo>
                  <a:pt x="1874384" y="13"/>
                </a:moveTo>
                <a:cubicBezTo>
                  <a:pt x="1882212" y="13"/>
                  <a:pt x="1888565" y="6366"/>
                  <a:pt x="1888565" y="14194"/>
                </a:cubicBezTo>
                <a:cubicBezTo>
                  <a:pt x="1888565" y="22021"/>
                  <a:pt x="1882212" y="28374"/>
                  <a:pt x="1874384" y="28374"/>
                </a:cubicBezTo>
                <a:cubicBezTo>
                  <a:pt x="1866557" y="28374"/>
                  <a:pt x="1860204" y="22021"/>
                  <a:pt x="1860204" y="14194"/>
                </a:cubicBezTo>
                <a:cubicBezTo>
                  <a:pt x="1860204" y="6366"/>
                  <a:pt x="1866557" y="13"/>
                  <a:pt x="1874384" y="13"/>
                </a:cubicBezTo>
                <a:close/>
                <a:moveTo>
                  <a:pt x="1817775" y="13"/>
                </a:moveTo>
                <a:cubicBezTo>
                  <a:pt x="1825603" y="13"/>
                  <a:pt x="1831956" y="6366"/>
                  <a:pt x="1831956" y="14194"/>
                </a:cubicBezTo>
                <a:cubicBezTo>
                  <a:pt x="1831956" y="22021"/>
                  <a:pt x="1825603" y="28374"/>
                  <a:pt x="1817775" y="28374"/>
                </a:cubicBezTo>
                <a:cubicBezTo>
                  <a:pt x="1809948" y="28374"/>
                  <a:pt x="1803595" y="22021"/>
                  <a:pt x="1803595" y="14194"/>
                </a:cubicBezTo>
                <a:cubicBezTo>
                  <a:pt x="1803595" y="6366"/>
                  <a:pt x="1809948" y="13"/>
                  <a:pt x="1817775" y="13"/>
                </a:cubicBezTo>
                <a:close/>
                <a:moveTo>
                  <a:pt x="1761167" y="13"/>
                </a:moveTo>
                <a:cubicBezTo>
                  <a:pt x="1769051" y="13"/>
                  <a:pt x="1775347" y="6366"/>
                  <a:pt x="1775347" y="14194"/>
                </a:cubicBezTo>
                <a:cubicBezTo>
                  <a:pt x="1775347" y="22021"/>
                  <a:pt x="1769051" y="28374"/>
                  <a:pt x="1761167" y="28374"/>
                </a:cubicBezTo>
                <a:cubicBezTo>
                  <a:pt x="1753339" y="28374"/>
                  <a:pt x="1746986" y="22021"/>
                  <a:pt x="1746986" y="14194"/>
                </a:cubicBezTo>
                <a:cubicBezTo>
                  <a:pt x="1746986" y="6366"/>
                  <a:pt x="1753339" y="13"/>
                  <a:pt x="1761167" y="13"/>
                </a:cubicBezTo>
                <a:close/>
                <a:moveTo>
                  <a:pt x="1704615" y="13"/>
                </a:moveTo>
                <a:cubicBezTo>
                  <a:pt x="1712442" y="13"/>
                  <a:pt x="1718795" y="6366"/>
                  <a:pt x="1718795" y="14194"/>
                </a:cubicBezTo>
                <a:cubicBezTo>
                  <a:pt x="1718795" y="22021"/>
                  <a:pt x="1712442" y="28374"/>
                  <a:pt x="1704615" y="28374"/>
                </a:cubicBezTo>
                <a:cubicBezTo>
                  <a:pt x="1696787" y="28374"/>
                  <a:pt x="1690434" y="22021"/>
                  <a:pt x="1690434" y="14194"/>
                </a:cubicBezTo>
                <a:cubicBezTo>
                  <a:pt x="1690434" y="6366"/>
                  <a:pt x="1696787" y="13"/>
                  <a:pt x="1704615" y="13"/>
                </a:cubicBezTo>
                <a:close/>
                <a:moveTo>
                  <a:pt x="1648006" y="13"/>
                </a:moveTo>
                <a:cubicBezTo>
                  <a:pt x="1655834" y="13"/>
                  <a:pt x="1662186" y="6366"/>
                  <a:pt x="1662186" y="14194"/>
                </a:cubicBezTo>
                <a:cubicBezTo>
                  <a:pt x="1662186" y="22021"/>
                  <a:pt x="1655834" y="28374"/>
                  <a:pt x="1648006" y="28374"/>
                </a:cubicBezTo>
                <a:cubicBezTo>
                  <a:pt x="1640178" y="28374"/>
                  <a:pt x="1633825" y="22021"/>
                  <a:pt x="1633825" y="14194"/>
                </a:cubicBezTo>
                <a:cubicBezTo>
                  <a:pt x="1633825" y="6366"/>
                  <a:pt x="1640178" y="13"/>
                  <a:pt x="1648006" y="13"/>
                </a:cubicBezTo>
                <a:close/>
                <a:moveTo>
                  <a:pt x="1591397" y="13"/>
                </a:moveTo>
                <a:cubicBezTo>
                  <a:pt x="1599225" y="13"/>
                  <a:pt x="1605578" y="6366"/>
                  <a:pt x="1605578" y="14194"/>
                </a:cubicBezTo>
                <a:cubicBezTo>
                  <a:pt x="1605578" y="22021"/>
                  <a:pt x="1599225" y="28374"/>
                  <a:pt x="1591397" y="28374"/>
                </a:cubicBezTo>
                <a:cubicBezTo>
                  <a:pt x="1583570" y="28374"/>
                  <a:pt x="1577217" y="22021"/>
                  <a:pt x="1577217" y="14194"/>
                </a:cubicBezTo>
                <a:cubicBezTo>
                  <a:pt x="1577217" y="6366"/>
                  <a:pt x="1583570" y="13"/>
                  <a:pt x="1591397" y="13"/>
                </a:cubicBezTo>
                <a:close/>
                <a:moveTo>
                  <a:pt x="1534788" y="13"/>
                </a:moveTo>
                <a:cubicBezTo>
                  <a:pt x="1542616" y="13"/>
                  <a:pt x="1548969" y="6366"/>
                  <a:pt x="1548969" y="14194"/>
                </a:cubicBezTo>
                <a:cubicBezTo>
                  <a:pt x="1548969" y="22021"/>
                  <a:pt x="1542616" y="28374"/>
                  <a:pt x="1534788" y="28374"/>
                </a:cubicBezTo>
                <a:cubicBezTo>
                  <a:pt x="1526961" y="28374"/>
                  <a:pt x="1520608" y="22021"/>
                  <a:pt x="1520608" y="14194"/>
                </a:cubicBezTo>
                <a:cubicBezTo>
                  <a:pt x="1520608" y="6366"/>
                  <a:pt x="1526961" y="13"/>
                  <a:pt x="1534788" y="13"/>
                </a:cubicBezTo>
                <a:close/>
                <a:moveTo>
                  <a:pt x="1478180" y="13"/>
                </a:moveTo>
                <a:cubicBezTo>
                  <a:pt x="1486007" y="13"/>
                  <a:pt x="1492360" y="6366"/>
                  <a:pt x="1492360" y="14194"/>
                </a:cubicBezTo>
                <a:cubicBezTo>
                  <a:pt x="1492360" y="22021"/>
                  <a:pt x="1486007" y="28374"/>
                  <a:pt x="1478180" y="28374"/>
                </a:cubicBezTo>
                <a:cubicBezTo>
                  <a:pt x="1470352" y="28374"/>
                  <a:pt x="1463999" y="22021"/>
                  <a:pt x="1463999" y="14194"/>
                </a:cubicBezTo>
                <a:cubicBezTo>
                  <a:pt x="1463999" y="6366"/>
                  <a:pt x="1470352" y="13"/>
                  <a:pt x="1478180" y="13"/>
                </a:cubicBezTo>
                <a:close/>
                <a:moveTo>
                  <a:pt x="1421628" y="13"/>
                </a:moveTo>
                <a:cubicBezTo>
                  <a:pt x="1429455" y="13"/>
                  <a:pt x="1435808" y="6366"/>
                  <a:pt x="1435808" y="14194"/>
                </a:cubicBezTo>
                <a:cubicBezTo>
                  <a:pt x="1435808" y="22021"/>
                  <a:pt x="1429455" y="28374"/>
                  <a:pt x="1421628" y="28374"/>
                </a:cubicBezTo>
                <a:cubicBezTo>
                  <a:pt x="1413743" y="28374"/>
                  <a:pt x="1407447" y="22021"/>
                  <a:pt x="1407447" y="14194"/>
                </a:cubicBezTo>
                <a:cubicBezTo>
                  <a:pt x="1407447" y="6366"/>
                  <a:pt x="1413743" y="13"/>
                  <a:pt x="1421628" y="13"/>
                </a:cubicBezTo>
                <a:close/>
                <a:moveTo>
                  <a:pt x="1365019" y="13"/>
                </a:moveTo>
                <a:cubicBezTo>
                  <a:pt x="1372847" y="13"/>
                  <a:pt x="1379200" y="6366"/>
                  <a:pt x="1379200" y="14194"/>
                </a:cubicBezTo>
                <a:cubicBezTo>
                  <a:pt x="1379200" y="22021"/>
                  <a:pt x="1372847" y="28374"/>
                  <a:pt x="1365019" y="28374"/>
                </a:cubicBezTo>
                <a:cubicBezTo>
                  <a:pt x="1357191" y="28374"/>
                  <a:pt x="1350839" y="22021"/>
                  <a:pt x="1350839" y="14194"/>
                </a:cubicBezTo>
                <a:cubicBezTo>
                  <a:pt x="1350839" y="6366"/>
                  <a:pt x="1357191" y="13"/>
                  <a:pt x="1365019" y="13"/>
                </a:cubicBezTo>
                <a:close/>
                <a:moveTo>
                  <a:pt x="1308410" y="13"/>
                </a:moveTo>
                <a:cubicBezTo>
                  <a:pt x="1316238" y="13"/>
                  <a:pt x="1322591" y="6366"/>
                  <a:pt x="1322591" y="14194"/>
                </a:cubicBezTo>
                <a:cubicBezTo>
                  <a:pt x="1322591" y="22021"/>
                  <a:pt x="1316238" y="28374"/>
                  <a:pt x="1308410" y="28374"/>
                </a:cubicBezTo>
                <a:cubicBezTo>
                  <a:pt x="1300583" y="28374"/>
                  <a:pt x="1294230" y="22021"/>
                  <a:pt x="1294230" y="14194"/>
                </a:cubicBezTo>
                <a:cubicBezTo>
                  <a:pt x="1294230" y="6366"/>
                  <a:pt x="1300583" y="13"/>
                  <a:pt x="1308410" y="13"/>
                </a:cubicBezTo>
                <a:close/>
                <a:moveTo>
                  <a:pt x="1251802" y="13"/>
                </a:moveTo>
                <a:cubicBezTo>
                  <a:pt x="1259629" y="13"/>
                  <a:pt x="1265982" y="6366"/>
                  <a:pt x="1265982" y="14194"/>
                </a:cubicBezTo>
                <a:cubicBezTo>
                  <a:pt x="1265982" y="22021"/>
                  <a:pt x="1259629" y="28374"/>
                  <a:pt x="1251802" y="28374"/>
                </a:cubicBezTo>
                <a:cubicBezTo>
                  <a:pt x="1243974" y="28374"/>
                  <a:pt x="1237621" y="22021"/>
                  <a:pt x="1237621" y="14194"/>
                </a:cubicBezTo>
                <a:cubicBezTo>
                  <a:pt x="1237621" y="6366"/>
                  <a:pt x="1243974" y="13"/>
                  <a:pt x="1251802" y="13"/>
                </a:cubicBezTo>
                <a:close/>
                <a:moveTo>
                  <a:pt x="1195193" y="13"/>
                </a:moveTo>
                <a:cubicBezTo>
                  <a:pt x="1203021" y="13"/>
                  <a:pt x="1209373" y="6366"/>
                  <a:pt x="1209373" y="14194"/>
                </a:cubicBezTo>
                <a:cubicBezTo>
                  <a:pt x="1209373" y="22021"/>
                  <a:pt x="1203021" y="28374"/>
                  <a:pt x="1195193" y="28374"/>
                </a:cubicBezTo>
                <a:cubicBezTo>
                  <a:pt x="1187365" y="28374"/>
                  <a:pt x="1181012" y="22021"/>
                  <a:pt x="1181012" y="14194"/>
                </a:cubicBezTo>
                <a:cubicBezTo>
                  <a:pt x="1181012" y="6366"/>
                  <a:pt x="1187365" y="13"/>
                  <a:pt x="1195193" y="13"/>
                </a:cubicBezTo>
                <a:close/>
                <a:moveTo>
                  <a:pt x="1138641" y="13"/>
                </a:moveTo>
                <a:cubicBezTo>
                  <a:pt x="1146468" y="13"/>
                  <a:pt x="1152765" y="6366"/>
                  <a:pt x="1152765" y="14194"/>
                </a:cubicBezTo>
                <a:cubicBezTo>
                  <a:pt x="1152765" y="22021"/>
                  <a:pt x="1146468" y="28374"/>
                  <a:pt x="1138641" y="28374"/>
                </a:cubicBezTo>
                <a:cubicBezTo>
                  <a:pt x="1130757" y="28374"/>
                  <a:pt x="1124403" y="22021"/>
                  <a:pt x="1124403" y="14194"/>
                </a:cubicBezTo>
                <a:cubicBezTo>
                  <a:pt x="1124403" y="6366"/>
                  <a:pt x="1130757" y="13"/>
                  <a:pt x="1138641" y="13"/>
                </a:cubicBezTo>
                <a:close/>
                <a:moveTo>
                  <a:pt x="1082032" y="13"/>
                </a:moveTo>
                <a:cubicBezTo>
                  <a:pt x="1089860" y="13"/>
                  <a:pt x="1096213" y="6366"/>
                  <a:pt x="1096213" y="14194"/>
                </a:cubicBezTo>
                <a:cubicBezTo>
                  <a:pt x="1096213" y="22021"/>
                  <a:pt x="1089860" y="28374"/>
                  <a:pt x="1082032" y="28374"/>
                </a:cubicBezTo>
                <a:cubicBezTo>
                  <a:pt x="1074204" y="28374"/>
                  <a:pt x="1067851" y="22021"/>
                  <a:pt x="1067851" y="14194"/>
                </a:cubicBezTo>
                <a:cubicBezTo>
                  <a:pt x="1067851" y="6366"/>
                  <a:pt x="1074204" y="13"/>
                  <a:pt x="1082032" y="13"/>
                </a:cubicBezTo>
                <a:close/>
                <a:moveTo>
                  <a:pt x="1025423" y="13"/>
                </a:moveTo>
                <a:cubicBezTo>
                  <a:pt x="1033251" y="13"/>
                  <a:pt x="1039604" y="6366"/>
                  <a:pt x="1039604" y="14194"/>
                </a:cubicBezTo>
                <a:cubicBezTo>
                  <a:pt x="1039604" y="22021"/>
                  <a:pt x="1033251" y="28374"/>
                  <a:pt x="1025423" y="28374"/>
                </a:cubicBezTo>
                <a:cubicBezTo>
                  <a:pt x="1017596" y="28374"/>
                  <a:pt x="1011243" y="22021"/>
                  <a:pt x="1011243" y="14194"/>
                </a:cubicBezTo>
                <a:cubicBezTo>
                  <a:pt x="1011243" y="6366"/>
                  <a:pt x="1017596" y="13"/>
                  <a:pt x="1025423" y="13"/>
                </a:cubicBezTo>
                <a:close/>
                <a:moveTo>
                  <a:pt x="968815" y="13"/>
                </a:moveTo>
                <a:cubicBezTo>
                  <a:pt x="976642" y="13"/>
                  <a:pt x="982995" y="6366"/>
                  <a:pt x="982995" y="14194"/>
                </a:cubicBezTo>
                <a:cubicBezTo>
                  <a:pt x="982995" y="22021"/>
                  <a:pt x="976642" y="28374"/>
                  <a:pt x="968815" y="28374"/>
                </a:cubicBezTo>
                <a:cubicBezTo>
                  <a:pt x="960987" y="28374"/>
                  <a:pt x="954634" y="22021"/>
                  <a:pt x="954634" y="14194"/>
                </a:cubicBezTo>
                <a:cubicBezTo>
                  <a:pt x="954634" y="6366"/>
                  <a:pt x="960987" y="13"/>
                  <a:pt x="968815" y="13"/>
                </a:cubicBezTo>
                <a:close/>
                <a:moveTo>
                  <a:pt x="912206" y="13"/>
                </a:moveTo>
                <a:cubicBezTo>
                  <a:pt x="920034" y="13"/>
                  <a:pt x="926387" y="6366"/>
                  <a:pt x="926387" y="14194"/>
                </a:cubicBezTo>
                <a:cubicBezTo>
                  <a:pt x="926387" y="22021"/>
                  <a:pt x="920034" y="28374"/>
                  <a:pt x="912206" y="28374"/>
                </a:cubicBezTo>
                <a:cubicBezTo>
                  <a:pt x="904378" y="28374"/>
                  <a:pt x="898025" y="22021"/>
                  <a:pt x="898025" y="14194"/>
                </a:cubicBezTo>
                <a:cubicBezTo>
                  <a:pt x="898025" y="6366"/>
                  <a:pt x="904378" y="13"/>
                  <a:pt x="912206" y="13"/>
                </a:cubicBezTo>
                <a:close/>
                <a:moveTo>
                  <a:pt x="855597" y="13"/>
                </a:moveTo>
                <a:cubicBezTo>
                  <a:pt x="863425" y="13"/>
                  <a:pt x="869835" y="6366"/>
                  <a:pt x="869835" y="14194"/>
                </a:cubicBezTo>
                <a:cubicBezTo>
                  <a:pt x="869835" y="22021"/>
                  <a:pt x="863425" y="28374"/>
                  <a:pt x="855597" y="28374"/>
                </a:cubicBezTo>
                <a:cubicBezTo>
                  <a:pt x="847770" y="28374"/>
                  <a:pt x="841473" y="22021"/>
                  <a:pt x="841473" y="14194"/>
                </a:cubicBezTo>
                <a:cubicBezTo>
                  <a:pt x="841473" y="6366"/>
                  <a:pt x="847770" y="13"/>
                  <a:pt x="855597" y="13"/>
                </a:cubicBezTo>
                <a:close/>
                <a:moveTo>
                  <a:pt x="799045" y="13"/>
                </a:moveTo>
                <a:cubicBezTo>
                  <a:pt x="806873" y="13"/>
                  <a:pt x="813226" y="6366"/>
                  <a:pt x="813226" y="14194"/>
                </a:cubicBezTo>
                <a:cubicBezTo>
                  <a:pt x="813226" y="22021"/>
                  <a:pt x="806873" y="28374"/>
                  <a:pt x="799045" y="28374"/>
                </a:cubicBezTo>
                <a:cubicBezTo>
                  <a:pt x="791218" y="28374"/>
                  <a:pt x="784865" y="22021"/>
                  <a:pt x="784865" y="14194"/>
                </a:cubicBezTo>
                <a:cubicBezTo>
                  <a:pt x="784865" y="6366"/>
                  <a:pt x="791218" y="13"/>
                  <a:pt x="799045" y="13"/>
                </a:cubicBezTo>
                <a:close/>
                <a:moveTo>
                  <a:pt x="742436" y="13"/>
                </a:moveTo>
                <a:cubicBezTo>
                  <a:pt x="750264" y="13"/>
                  <a:pt x="756617" y="6366"/>
                  <a:pt x="756617" y="14194"/>
                </a:cubicBezTo>
                <a:cubicBezTo>
                  <a:pt x="756617" y="22021"/>
                  <a:pt x="750264" y="28374"/>
                  <a:pt x="742436" y="28374"/>
                </a:cubicBezTo>
                <a:cubicBezTo>
                  <a:pt x="734609" y="28374"/>
                  <a:pt x="728256" y="22021"/>
                  <a:pt x="728256" y="14194"/>
                </a:cubicBezTo>
                <a:cubicBezTo>
                  <a:pt x="728256" y="6366"/>
                  <a:pt x="734609" y="13"/>
                  <a:pt x="742436" y="13"/>
                </a:cubicBezTo>
                <a:close/>
                <a:moveTo>
                  <a:pt x="685828" y="13"/>
                </a:moveTo>
                <a:cubicBezTo>
                  <a:pt x="693655" y="13"/>
                  <a:pt x="700008" y="6366"/>
                  <a:pt x="700008" y="14194"/>
                </a:cubicBezTo>
                <a:cubicBezTo>
                  <a:pt x="700008" y="22021"/>
                  <a:pt x="693655" y="28374"/>
                  <a:pt x="685828" y="28374"/>
                </a:cubicBezTo>
                <a:cubicBezTo>
                  <a:pt x="678000" y="28374"/>
                  <a:pt x="671647" y="22021"/>
                  <a:pt x="671647" y="14194"/>
                </a:cubicBezTo>
                <a:cubicBezTo>
                  <a:pt x="671647" y="6366"/>
                  <a:pt x="678000" y="13"/>
                  <a:pt x="685828" y="13"/>
                </a:cubicBezTo>
                <a:close/>
                <a:moveTo>
                  <a:pt x="629219" y="13"/>
                </a:moveTo>
                <a:cubicBezTo>
                  <a:pt x="637047" y="13"/>
                  <a:pt x="643400" y="6366"/>
                  <a:pt x="643400" y="14194"/>
                </a:cubicBezTo>
                <a:cubicBezTo>
                  <a:pt x="643400" y="22021"/>
                  <a:pt x="637047" y="28374"/>
                  <a:pt x="629219" y="28374"/>
                </a:cubicBezTo>
                <a:cubicBezTo>
                  <a:pt x="621391" y="28374"/>
                  <a:pt x="615038" y="22021"/>
                  <a:pt x="615038" y="14194"/>
                </a:cubicBezTo>
                <a:cubicBezTo>
                  <a:pt x="615038" y="6366"/>
                  <a:pt x="621391" y="13"/>
                  <a:pt x="629219" y="13"/>
                </a:cubicBezTo>
                <a:close/>
                <a:moveTo>
                  <a:pt x="572610" y="13"/>
                </a:moveTo>
                <a:cubicBezTo>
                  <a:pt x="580495" y="13"/>
                  <a:pt x="586791" y="6366"/>
                  <a:pt x="586791" y="14194"/>
                </a:cubicBezTo>
                <a:cubicBezTo>
                  <a:pt x="586791" y="22021"/>
                  <a:pt x="580495" y="28374"/>
                  <a:pt x="572610" y="28374"/>
                </a:cubicBezTo>
                <a:cubicBezTo>
                  <a:pt x="564783" y="28374"/>
                  <a:pt x="558430" y="22021"/>
                  <a:pt x="558430" y="14194"/>
                </a:cubicBezTo>
                <a:cubicBezTo>
                  <a:pt x="558430" y="6366"/>
                  <a:pt x="564783" y="13"/>
                  <a:pt x="572610" y="13"/>
                </a:cubicBezTo>
                <a:close/>
                <a:moveTo>
                  <a:pt x="516002" y="13"/>
                </a:moveTo>
                <a:cubicBezTo>
                  <a:pt x="523886" y="13"/>
                  <a:pt x="530239" y="6366"/>
                  <a:pt x="530239" y="14194"/>
                </a:cubicBezTo>
                <a:cubicBezTo>
                  <a:pt x="530239" y="22021"/>
                  <a:pt x="523886" y="28374"/>
                  <a:pt x="516002" y="28374"/>
                </a:cubicBezTo>
                <a:cubicBezTo>
                  <a:pt x="508174" y="28374"/>
                  <a:pt x="501878" y="22021"/>
                  <a:pt x="501878" y="14194"/>
                </a:cubicBezTo>
                <a:cubicBezTo>
                  <a:pt x="501878" y="6366"/>
                  <a:pt x="508174" y="13"/>
                  <a:pt x="516002" y="13"/>
                </a:cubicBezTo>
                <a:close/>
                <a:moveTo>
                  <a:pt x="459450" y="13"/>
                </a:moveTo>
                <a:cubicBezTo>
                  <a:pt x="467277" y="13"/>
                  <a:pt x="473630" y="6366"/>
                  <a:pt x="473630" y="14194"/>
                </a:cubicBezTo>
                <a:cubicBezTo>
                  <a:pt x="473630" y="22021"/>
                  <a:pt x="467277" y="28374"/>
                  <a:pt x="459450" y="28374"/>
                </a:cubicBezTo>
                <a:cubicBezTo>
                  <a:pt x="451622" y="28374"/>
                  <a:pt x="445269" y="22021"/>
                  <a:pt x="445269" y="14194"/>
                </a:cubicBezTo>
                <a:cubicBezTo>
                  <a:pt x="445269" y="6366"/>
                  <a:pt x="451622" y="13"/>
                  <a:pt x="459450" y="13"/>
                </a:cubicBezTo>
                <a:close/>
                <a:moveTo>
                  <a:pt x="402841" y="13"/>
                </a:moveTo>
                <a:cubicBezTo>
                  <a:pt x="410668" y="13"/>
                  <a:pt x="417021" y="6366"/>
                  <a:pt x="417021" y="14194"/>
                </a:cubicBezTo>
                <a:cubicBezTo>
                  <a:pt x="417021" y="22021"/>
                  <a:pt x="410668" y="28374"/>
                  <a:pt x="402841" y="28374"/>
                </a:cubicBezTo>
                <a:cubicBezTo>
                  <a:pt x="395013" y="28374"/>
                  <a:pt x="388660" y="22021"/>
                  <a:pt x="388660" y="14194"/>
                </a:cubicBezTo>
                <a:cubicBezTo>
                  <a:pt x="388660" y="6366"/>
                  <a:pt x="395013" y="13"/>
                  <a:pt x="402841" y="13"/>
                </a:cubicBezTo>
                <a:close/>
                <a:moveTo>
                  <a:pt x="346232" y="13"/>
                </a:moveTo>
                <a:cubicBezTo>
                  <a:pt x="354060" y="13"/>
                  <a:pt x="360413" y="6366"/>
                  <a:pt x="360413" y="14194"/>
                </a:cubicBezTo>
                <a:cubicBezTo>
                  <a:pt x="360413" y="22021"/>
                  <a:pt x="354060" y="28374"/>
                  <a:pt x="346232" y="28374"/>
                </a:cubicBezTo>
                <a:cubicBezTo>
                  <a:pt x="338404" y="28374"/>
                  <a:pt x="332051" y="22021"/>
                  <a:pt x="332051" y="14194"/>
                </a:cubicBezTo>
                <a:cubicBezTo>
                  <a:pt x="332051" y="6366"/>
                  <a:pt x="338404" y="13"/>
                  <a:pt x="346232" y="13"/>
                </a:cubicBezTo>
                <a:close/>
                <a:moveTo>
                  <a:pt x="289623" y="13"/>
                </a:moveTo>
                <a:cubicBezTo>
                  <a:pt x="297451" y="13"/>
                  <a:pt x="303804" y="6366"/>
                  <a:pt x="303804" y="14194"/>
                </a:cubicBezTo>
                <a:cubicBezTo>
                  <a:pt x="303804" y="22021"/>
                  <a:pt x="297451" y="28374"/>
                  <a:pt x="289623" y="28374"/>
                </a:cubicBezTo>
                <a:cubicBezTo>
                  <a:pt x="281796" y="28374"/>
                  <a:pt x="275443" y="22021"/>
                  <a:pt x="275443" y="14194"/>
                </a:cubicBezTo>
                <a:cubicBezTo>
                  <a:pt x="275443" y="6366"/>
                  <a:pt x="281796" y="13"/>
                  <a:pt x="289623" y="13"/>
                </a:cubicBezTo>
                <a:close/>
                <a:moveTo>
                  <a:pt x="233015" y="13"/>
                </a:moveTo>
                <a:cubicBezTo>
                  <a:pt x="240899" y="13"/>
                  <a:pt x="247252" y="6366"/>
                  <a:pt x="247252" y="14194"/>
                </a:cubicBezTo>
                <a:cubicBezTo>
                  <a:pt x="247252" y="22021"/>
                  <a:pt x="240899" y="28374"/>
                  <a:pt x="233015" y="28374"/>
                </a:cubicBezTo>
                <a:cubicBezTo>
                  <a:pt x="225187" y="28374"/>
                  <a:pt x="218834" y="22021"/>
                  <a:pt x="218834" y="14194"/>
                </a:cubicBezTo>
                <a:cubicBezTo>
                  <a:pt x="218834" y="6366"/>
                  <a:pt x="225187" y="13"/>
                  <a:pt x="233015" y="13"/>
                </a:cubicBezTo>
                <a:close/>
                <a:moveTo>
                  <a:pt x="176463" y="13"/>
                </a:moveTo>
                <a:cubicBezTo>
                  <a:pt x="184290" y="13"/>
                  <a:pt x="190643" y="6366"/>
                  <a:pt x="190643" y="14194"/>
                </a:cubicBezTo>
                <a:cubicBezTo>
                  <a:pt x="190643" y="22021"/>
                  <a:pt x="184290" y="28374"/>
                  <a:pt x="176463" y="28374"/>
                </a:cubicBezTo>
                <a:cubicBezTo>
                  <a:pt x="168635" y="28374"/>
                  <a:pt x="162282" y="22021"/>
                  <a:pt x="162282" y="14194"/>
                </a:cubicBezTo>
                <a:cubicBezTo>
                  <a:pt x="162282" y="6366"/>
                  <a:pt x="168635" y="13"/>
                  <a:pt x="176463" y="13"/>
                </a:cubicBezTo>
                <a:close/>
              </a:path>
            </a:pathLst>
          </a:custGeom>
          <a:solidFill>
            <a:schemeClr val="accent4"/>
          </a:solidFill>
          <a:ln w="0" cap="flat">
            <a:noFill/>
            <a:prstDash val="solid"/>
            <a:miter/>
          </a:ln>
        </p:spPr>
        <p:txBody>
          <a:bodyPr rtlCol="0" anchor="ctr"/>
          <a:lstStyle/>
          <a:p>
            <a:endParaRPr lang="sv-SE"/>
          </a:p>
        </p:txBody>
      </p:sp>
      <p:pic>
        <p:nvPicPr>
          <p:cNvPr id="5" name="Picture 4" descr="A blue crumpled paper&#10;&#10;AI-generated content may be incorrect.">
            <a:extLst>
              <a:ext uri="{FF2B5EF4-FFF2-40B4-BE49-F238E27FC236}">
                <a16:creationId xmlns:a16="http://schemas.microsoft.com/office/drawing/2014/main" id="{6DE2029D-2668-7A90-E326-1DD14E71C263}"/>
              </a:ext>
            </a:extLst>
          </p:cNvPr>
          <p:cNvPicPr>
            <a:picLocks noChangeAspect="1"/>
          </p:cNvPicPr>
          <p:nvPr/>
        </p:nvPicPr>
        <p:blipFill rotWithShape="1">
          <a:blip r:embed="rId3"/>
          <a:srcRect l="370" t="59712" r="370" b="-1"/>
          <a:stretch/>
        </p:blipFill>
        <p:spPr>
          <a:xfrm>
            <a:off x="0" y="4094978"/>
            <a:ext cx="12192000" cy="2763022"/>
          </a:xfrm>
          <a:custGeom>
            <a:avLst/>
            <a:gdLst>
              <a:gd name="connsiteX0" fmla="*/ 0 w 12192000"/>
              <a:gd name="connsiteY0" fmla="*/ 0 h 2763022"/>
              <a:gd name="connsiteX1" fmla="*/ 2619587 w 12192000"/>
              <a:gd name="connsiteY1" fmla="*/ 0 h 2763022"/>
              <a:gd name="connsiteX2" fmla="*/ 2619587 w 12192000"/>
              <a:gd name="connsiteY2" fmla="*/ 1014656 h 2763022"/>
              <a:gd name="connsiteX3" fmla="*/ 2537340 w 12192000"/>
              <a:gd name="connsiteY3" fmla="*/ 1014656 h 2763022"/>
              <a:gd name="connsiteX4" fmla="*/ 2419925 w 12192000"/>
              <a:gd name="connsiteY4" fmla="*/ 1132070 h 2763022"/>
              <a:gd name="connsiteX5" fmla="*/ 2419925 w 12192000"/>
              <a:gd name="connsiteY5" fmla="*/ 1945466 h 2763022"/>
              <a:gd name="connsiteX6" fmla="*/ 2537340 w 12192000"/>
              <a:gd name="connsiteY6" fmla="*/ 2062881 h 2763022"/>
              <a:gd name="connsiteX7" fmla="*/ 2826623 w 12192000"/>
              <a:gd name="connsiteY7" fmla="*/ 2062881 h 2763022"/>
              <a:gd name="connsiteX8" fmla="*/ 2944038 w 12192000"/>
              <a:gd name="connsiteY8" fmla="*/ 1945466 h 2763022"/>
              <a:gd name="connsiteX9" fmla="*/ 2944038 w 12192000"/>
              <a:gd name="connsiteY9" fmla="*/ 1132070 h 2763022"/>
              <a:gd name="connsiteX10" fmla="*/ 2826623 w 12192000"/>
              <a:gd name="connsiteY10" fmla="*/ 1014656 h 2763022"/>
              <a:gd name="connsiteX11" fmla="*/ 2744376 w 12192000"/>
              <a:gd name="connsiteY11" fmla="*/ 1014656 h 2763022"/>
              <a:gd name="connsiteX12" fmla="*/ 2744376 w 12192000"/>
              <a:gd name="connsiteY12" fmla="*/ 0 h 2763022"/>
              <a:gd name="connsiteX13" fmla="*/ 12192000 w 12192000"/>
              <a:gd name="connsiteY13" fmla="*/ 0 h 2763022"/>
              <a:gd name="connsiteX14" fmla="*/ 12192000 w 12192000"/>
              <a:gd name="connsiteY14" fmla="*/ 2763022 h 2763022"/>
              <a:gd name="connsiteX15" fmla="*/ 0 w 12192000"/>
              <a:gd name="connsiteY15" fmla="*/ 2763022 h 27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763022">
                <a:moveTo>
                  <a:pt x="0" y="0"/>
                </a:moveTo>
                <a:lnTo>
                  <a:pt x="2619587" y="0"/>
                </a:lnTo>
                <a:lnTo>
                  <a:pt x="2619587" y="1014656"/>
                </a:lnTo>
                <a:lnTo>
                  <a:pt x="2537340" y="1014656"/>
                </a:lnTo>
                <a:lnTo>
                  <a:pt x="2419925" y="1132070"/>
                </a:lnTo>
                <a:lnTo>
                  <a:pt x="2419925" y="1945466"/>
                </a:lnTo>
                <a:lnTo>
                  <a:pt x="2537340" y="2062881"/>
                </a:lnTo>
                <a:lnTo>
                  <a:pt x="2826623" y="2062881"/>
                </a:lnTo>
                <a:lnTo>
                  <a:pt x="2944038" y="1945466"/>
                </a:lnTo>
                <a:lnTo>
                  <a:pt x="2944038" y="1132070"/>
                </a:lnTo>
                <a:lnTo>
                  <a:pt x="2826623" y="1014656"/>
                </a:lnTo>
                <a:lnTo>
                  <a:pt x="2744376" y="1014656"/>
                </a:lnTo>
                <a:lnTo>
                  <a:pt x="2744376" y="0"/>
                </a:lnTo>
                <a:lnTo>
                  <a:pt x="12192000" y="0"/>
                </a:lnTo>
                <a:lnTo>
                  <a:pt x="12192000" y="2763022"/>
                </a:lnTo>
                <a:lnTo>
                  <a:pt x="0" y="2763022"/>
                </a:lnTo>
                <a:close/>
              </a:path>
            </a:pathLst>
          </a:custGeom>
        </p:spPr>
      </p:pic>
      <p:sp>
        <p:nvSpPr>
          <p:cNvPr id="191" name="Freeform 190">
            <a:extLst>
              <a:ext uri="{FF2B5EF4-FFF2-40B4-BE49-F238E27FC236}">
                <a16:creationId xmlns:a16="http://schemas.microsoft.com/office/drawing/2014/main" id="{557860DA-9FE4-527C-E587-EBF6960BF0F1}"/>
              </a:ext>
            </a:extLst>
          </p:cNvPr>
          <p:cNvSpPr/>
          <p:nvPr/>
        </p:nvSpPr>
        <p:spPr>
          <a:xfrm>
            <a:off x="2419925" y="3678703"/>
            <a:ext cx="6843076" cy="2479156"/>
          </a:xfrm>
          <a:custGeom>
            <a:avLst/>
            <a:gdLst>
              <a:gd name="connsiteX0" fmla="*/ 4114343 w 6843076"/>
              <a:gd name="connsiteY0" fmla="*/ 0 h 2479156"/>
              <a:gd name="connsiteX1" fmla="*/ 4114343 w 6843076"/>
              <a:gd name="connsiteY1" fmla="*/ 166139 h 2479156"/>
              <a:gd name="connsiteX2" fmla="*/ 6638877 w 6843076"/>
              <a:gd name="connsiteY2" fmla="*/ 166139 h 2479156"/>
              <a:gd name="connsiteX3" fmla="*/ 6843077 w 6843076"/>
              <a:gd name="connsiteY3" fmla="*/ 290928 h 2479156"/>
              <a:gd name="connsiteX4" fmla="*/ 393538 w 6843076"/>
              <a:gd name="connsiteY4" fmla="*/ 290928 h 2479156"/>
              <a:gd name="connsiteX5" fmla="*/ 324451 w 6843076"/>
              <a:gd name="connsiteY5" fmla="*/ 360016 h 2479156"/>
              <a:gd name="connsiteX6" fmla="*/ 324451 w 6843076"/>
              <a:gd name="connsiteY6" fmla="*/ 1430931 h 2479156"/>
              <a:gd name="connsiteX7" fmla="*/ 406698 w 6843076"/>
              <a:gd name="connsiteY7" fmla="*/ 1430931 h 2479156"/>
              <a:gd name="connsiteX8" fmla="*/ 524113 w 6843076"/>
              <a:gd name="connsiteY8" fmla="*/ 1548345 h 2479156"/>
              <a:gd name="connsiteX9" fmla="*/ 524113 w 6843076"/>
              <a:gd name="connsiteY9" fmla="*/ 2361741 h 2479156"/>
              <a:gd name="connsiteX10" fmla="*/ 406698 w 6843076"/>
              <a:gd name="connsiteY10" fmla="*/ 2479156 h 2479156"/>
              <a:gd name="connsiteX11" fmla="*/ 117415 w 6843076"/>
              <a:gd name="connsiteY11" fmla="*/ 2479156 h 2479156"/>
              <a:gd name="connsiteX12" fmla="*/ 0 w 6843076"/>
              <a:gd name="connsiteY12" fmla="*/ 2361741 h 2479156"/>
              <a:gd name="connsiteX13" fmla="*/ 0 w 6843076"/>
              <a:gd name="connsiteY13" fmla="*/ 1548345 h 2479156"/>
              <a:gd name="connsiteX14" fmla="*/ 117415 w 6843076"/>
              <a:gd name="connsiteY14" fmla="*/ 1430931 h 2479156"/>
              <a:gd name="connsiteX15" fmla="*/ 199662 w 6843076"/>
              <a:gd name="connsiteY15" fmla="*/ 1430931 h 2479156"/>
              <a:gd name="connsiteX16" fmla="*/ 199662 w 6843076"/>
              <a:gd name="connsiteY16" fmla="*/ 334207 h 2479156"/>
              <a:gd name="connsiteX17" fmla="*/ 199662 w 6843076"/>
              <a:gd name="connsiteY17" fmla="*/ 308342 h 2479156"/>
              <a:gd name="connsiteX18" fmla="*/ 217927 w 6843076"/>
              <a:gd name="connsiteY18" fmla="*/ 290077 h 2479156"/>
              <a:gd name="connsiteX19" fmla="*/ 323600 w 6843076"/>
              <a:gd name="connsiteY19" fmla="*/ 184404 h 2479156"/>
              <a:gd name="connsiteX20" fmla="*/ 341865 w 6843076"/>
              <a:gd name="connsiteY20" fmla="*/ 166139 h 2479156"/>
              <a:gd name="connsiteX21" fmla="*/ 367730 w 6843076"/>
              <a:gd name="connsiteY21" fmla="*/ 166139 h 2479156"/>
              <a:gd name="connsiteX22" fmla="*/ 3989554 w 6843076"/>
              <a:gd name="connsiteY22" fmla="*/ 166139 h 2479156"/>
              <a:gd name="connsiteX23" fmla="*/ 3989554 w 6843076"/>
              <a:gd name="connsiteY23" fmla="*/ 0 h 247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6" h="2479156">
                <a:moveTo>
                  <a:pt x="4114343" y="0"/>
                </a:moveTo>
                <a:lnTo>
                  <a:pt x="4114343" y="166139"/>
                </a:lnTo>
                <a:lnTo>
                  <a:pt x="6638877" y="166139"/>
                </a:lnTo>
                <a:lnTo>
                  <a:pt x="6843077" y="290928"/>
                </a:lnTo>
                <a:lnTo>
                  <a:pt x="393538" y="290928"/>
                </a:lnTo>
                <a:lnTo>
                  <a:pt x="324451" y="360016"/>
                </a:lnTo>
                <a:lnTo>
                  <a:pt x="324451" y="1430931"/>
                </a:lnTo>
                <a:lnTo>
                  <a:pt x="406698" y="1430931"/>
                </a:lnTo>
                <a:lnTo>
                  <a:pt x="524113" y="1548345"/>
                </a:lnTo>
                <a:lnTo>
                  <a:pt x="524113" y="2361741"/>
                </a:lnTo>
                <a:lnTo>
                  <a:pt x="406698" y="2479156"/>
                </a:lnTo>
                <a:lnTo>
                  <a:pt x="117415" y="2479156"/>
                </a:lnTo>
                <a:lnTo>
                  <a:pt x="0" y="2361741"/>
                </a:lnTo>
                <a:lnTo>
                  <a:pt x="0" y="1548345"/>
                </a:lnTo>
                <a:lnTo>
                  <a:pt x="117415" y="1430931"/>
                </a:lnTo>
                <a:lnTo>
                  <a:pt x="199662" y="1430931"/>
                </a:lnTo>
                <a:lnTo>
                  <a:pt x="199662" y="334207"/>
                </a:lnTo>
                <a:lnTo>
                  <a:pt x="199662" y="308342"/>
                </a:lnTo>
                <a:lnTo>
                  <a:pt x="217927" y="290077"/>
                </a:lnTo>
                <a:lnTo>
                  <a:pt x="323600" y="184404"/>
                </a:lnTo>
                <a:lnTo>
                  <a:pt x="341865" y="166139"/>
                </a:lnTo>
                <a:lnTo>
                  <a:pt x="367730" y="166139"/>
                </a:lnTo>
                <a:lnTo>
                  <a:pt x="3989554" y="166139"/>
                </a:lnTo>
                <a:lnTo>
                  <a:pt x="3989554" y="0"/>
                </a:lnTo>
              </a:path>
            </a:pathLst>
          </a:custGeom>
          <a:noFill/>
          <a:ln w="9525" cap="flat">
            <a:solidFill>
              <a:srgbClr val="FFFFFF"/>
            </a:solidFill>
            <a:prstDash val="solid"/>
            <a:miter/>
          </a:ln>
        </p:spPr>
        <p:txBody>
          <a:bodyPr rtlCol="0" anchor="ctr"/>
          <a:lstStyle/>
          <a:p>
            <a:endParaRPr lang="sv-SE"/>
          </a:p>
        </p:txBody>
      </p:sp>
      <p:grpSp>
        <p:nvGrpSpPr>
          <p:cNvPr id="257" name="!!Hybrit_logo">
            <a:extLst>
              <a:ext uri="{FF2B5EF4-FFF2-40B4-BE49-F238E27FC236}">
                <a16:creationId xmlns:a16="http://schemas.microsoft.com/office/drawing/2014/main" id="{AA161E2C-DDBC-8B3D-3A5D-84DAFF54C17F}"/>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4FEE0D94-E5FA-0B41-B361-15D1016045DD}"/>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259" name="Freeform 258">
              <a:extLst>
                <a:ext uri="{FF2B5EF4-FFF2-40B4-BE49-F238E27FC236}">
                  <a16:creationId xmlns:a16="http://schemas.microsoft.com/office/drawing/2014/main" id="{BDFD024F-956A-2437-08EB-025A270A7985}"/>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0" name="Freeform 259">
              <a:extLst>
                <a:ext uri="{FF2B5EF4-FFF2-40B4-BE49-F238E27FC236}">
                  <a16:creationId xmlns:a16="http://schemas.microsoft.com/office/drawing/2014/main" id="{A27B60BD-9F92-E9F3-7104-8A496E720BB2}"/>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1" name="Freeform 260">
              <a:extLst>
                <a:ext uri="{FF2B5EF4-FFF2-40B4-BE49-F238E27FC236}">
                  <a16:creationId xmlns:a16="http://schemas.microsoft.com/office/drawing/2014/main" id="{8D8137ED-B91F-93D8-8F1E-F9A0251B520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262" name="Freeform 261">
              <a:extLst>
                <a:ext uri="{FF2B5EF4-FFF2-40B4-BE49-F238E27FC236}">
                  <a16:creationId xmlns:a16="http://schemas.microsoft.com/office/drawing/2014/main" id="{B7F21CE6-F936-5694-9AA6-13EF4FE563C2}"/>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grpSp>
        <p:nvGrpSpPr>
          <p:cNvPr id="366" name="Group 365">
            <a:extLst>
              <a:ext uri="{FF2B5EF4-FFF2-40B4-BE49-F238E27FC236}">
                <a16:creationId xmlns:a16="http://schemas.microsoft.com/office/drawing/2014/main" id="{639F51E7-CECD-0E8F-A72C-594786689927}"/>
              </a:ext>
            </a:extLst>
          </p:cNvPr>
          <p:cNvGrpSpPr/>
          <p:nvPr/>
        </p:nvGrpSpPr>
        <p:grpSpPr>
          <a:xfrm>
            <a:off x="10570368" y="2329112"/>
            <a:ext cx="102628" cy="317215"/>
            <a:chOff x="10561371" y="2761582"/>
            <a:chExt cx="102628" cy="317215"/>
          </a:xfrm>
        </p:grpSpPr>
        <p:sp>
          <p:nvSpPr>
            <p:cNvPr id="15" name="Freeform 14">
              <a:extLst>
                <a:ext uri="{FF2B5EF4-FFF2-40B4-BE49-F238E27FC236}">
                  <a16:creationId xmlns:a16="http://schemas.microsoft.com/office/drawing/2014/main" id="{FC207779-DD60-9629-FDB0-A76F563CAF03}"/>
                </a:ext>
              </a:extLst>
            </p:cNvPr>
            <p:cNvSpPr/>
            <p:nvPr/>
          </p:nvSpPr>
          <p:spPr>
            <a:xfrm>
              <a:off x="10612685" y="2761582"/>
              <a:ext cx="0" cy="317215"/>
            </a:xfrm>
            <a:custGeom>
              <a:avLst/>
              <a:gdLst>
                <a:gd name="connsiteX0" fmla="*/ 0 w 5520"/>
                <a:gd name="connsiteY0" fmla="*/ 0 h 317215"/>
                <a:gd name="connsiteX1" fmla="*/ 0 w 5520"/>
                <a:gd name="connsiteY1" fmla="*/ 317215 h 317215"/>
              </a:gdLst>
              <a:ahLst/>
              <a:cxnLst>
                <a:cxn ang="0">
                  <a:pos x="connsiteX0" y="connsiteY0"/>
                </a:cxn>
                <a:cxn ang="0">
                  <a:pos x="connsiteX1" y="connsiteY1"/>
                </a:cxn>
              </a:cxnLst>
              <a:rect l="l" t="t" r="r" b="b"/>
              <a:pathLst>
                <a:path w="5520" h="317215">
                  <a:moveTo>
                    <a:pt x="0" y="0"/>
                  </a:moveTo>
                  <a:lnTo>
                    <a:pt x="0" y="317215"/>
                  </a:lnTo>
                </a:path>
              </a:pathLst>
            </a:custGeom>
            <a:ln w="15875" cap="flat">
              <a:solidFill>
                <a:srgbClr val="FFFFFF"/>
              </a:solidFill>
              <a:prstDash val="solid"/>
              <a:miter/>
            </a:ln>
          </p:spPr>
          <p:txBody>
            <a:bodyPr rtlCol="0" anchor="ctr"/>
            <a:lstStyle/>
            <a:p>
              <a:endParaRPr lang="sv-SE"/>
            </a:p>
          </p:txBody>
        </p:sp>
        <p:sp>
          <p:nvSpPr>
            <p:cNvPr id="84" name="Freeform 83">
              <a:extLst>
                <a:ext uri="{FF2B5EF4-FFF2-40B4-BE49-F238E27FC236}">
                  <a16:creationId xmlns:a16="http://schemas.microsoft.com/office/drawing/2014/main" id="{4E5596C7-5EDE-49CD-BDAB-09A5E111D18A}"/>
                </a:ext>
              </a:extLst>
            </p:cNvPr>
            <p:cNvSpPr/>
            <p:nvPr/>
          </p:nvSpPr>
          <p:spPr>
            <a:xfrm>
              <a:off x="10561371" y="2761582"/>
              <a:ext cx="102628" cy="55206"/>
            </a:xfrm>
            <a:custGeom>
              <a:avLst/>
              <a:gdLst>
                <a:gd name="connsiteX0" fmla="*/ 0 w 102628"/>
                <a:gd name="connsiteY0" fmla="*/ 55206 h 55206"/>
                <a:gd name="connsiteX1" fmla="*/ 51287 w 102628"/>
                <a:gd name="connsiteY1" fmla="*/ 0 h 55206"/>
                <a:gd name="connsiteX2" fmla="*/ 102628 w 102628"/>
                <a:gd name="connsiteY2" fmla="*/ 55206 h 55206"/>
              </a:gdLst>
              <a:ahLst/>
              <a:cxnLst>
                <a:cxn ang="0">
                  <a:pos x="connsiteX0" y="connsiteY0"/>
                </a:cxn>
                <a:cxn ang="0">
                  <a:pos x="connsiteX1" y="connsiteY1"/>
                </a:cxn>
                <a:cxn ang="0">
                  <a:pos x="connsiteX2" y="connsiteY2"/>
                </a:cxn>
              </a:cxnLst>
              <a:rect l="l" t="t" r="r" b="b"/>
              <a:pathLst>
                <a:path w="102628" h="55206">
                  <a:moveTo>
                    <a:pt x="0" y="55206"/>
                  </a:moveTo>
                  <a:lnTo>
                    <a:pt x="51287" y="0"/>
                  </a:lnTo>
                  <a:lnTo>
                    <a:pt x="102628" y="55206"/>
                  </a:lnTo>
                </a:path>
              </a:pathLst>
            </a:custGeom>
            <a:noFill/>
            <a:ln w="15875" cap="flat">
              <a:solidFill>
                <a:srgbClr val="FFFFFF"/>
              </a:solidFill>
              <a:prstDash val="solid"/>
              <a:miter/>
            </a:ln>
          </p:spPr>
          <p:txBody>
            <a:bodyPr rtlCol="0" anchor="ctr"/>
            <a:lstStyle/>
            <a:p>
              <a:endParaRPr lang="sv-SE"/>
            </a:p>
          </p:txBody>
        </p:sp>
      </p:grpSp>
      <p:grpSp>
        <p:nvGrpSpPr>
          <p:cNvPr id="370" name="Group 369">
            <a:extLst>
              <a:ext uri="{FF2B5EF4-FFF2-40B4-BE49-F238E27FC236}">
                <a16:creationId xmlns:a16="http://schemas.microsoft.com/office/drawing/2014/main" id="{0F33DB6F-01EC-71AC-C565-54BA74FC94F9}"/>
              </a:ext>
            </a:extLst>
          </p:cNvPr>
          <p:cNvGrpSpPr/>
          <p:nvPr/>
        </p:nvGrpSpPr>
        <p:grpSpPr>
          <a:xfrm>
            <a:off x="7032406" y="2952419"/>
            <a:ext cx="172629" cy="244508"/>
            <a:chOff x="6958031" y="3096794"/>
            <a:chExt cx="172629" cy="244508"/>
          </a:xfrm>
        </p:grpSpPr>
        <p:sp>
          <p:nvSpPr>
            <p:cNvPr id="308" name="Freeform 307">
              <a:extLst>
                <a:ext uri="{FF2B5EF4-FFF2-40B4-BE49-F238E27FC236}">
                  <a16:creationId xmlns:a16="http://schemas.microsoft.com/office/drawing/2014/main" id="{924EBD96-590F-7B8C-F08F-F86483F543FF}"/>
                </a:ext>
              </a:extLst>
            </p:cNvPr>
            <p:cNvSpPr/>
            <p:nvPr/>
          </p:nvSpPr>
          <p:spPr>
            <a:xfrm>
              <a:off x="6961895" y="3096794"/>
              <a:ext cx="168765" cy="240091"/>
            </a:xfrm>
            <a:custGeom>
              <a:avLst/>
              <a:gdLst>
                <a:gd name="connsiteX0" fmla="*/ 168766 w 168765"/>
                <a:gd name="connsiteY0" fmla="*/ 0 h 240091"/>
                <a:gd name="connsiteX1" fmla="*/ 168766 w 168765"/>
                <a:gd name="connsiteY1" fmla="*/ 71326 h 240091"/>
                <a:gd name="connsiteX2" fmla="*/ 0 w 168765"/>
                <a:gd name="connsiteY2" fmla="*/ 240092 h 240091"/>
              </a:gdLst>
              <a:ahLst/>
              <a:cxnLst>
                <a:cxn ang="0">
                  <a:pos x="connsiteX0" y="connsiteY0"/>
                </a:cxn>
                <a:cxn ang="0">
                  <a:pos x="connsiteX1" y="connsiteY1"/>
                </a:cxn>
                <a:cxn ang="0">
                  <a:pos x="connsiteX2" y="connsiteY2"/>
                </a:cxn>
              </a:cxnLst>
              <a:rect l="l" t="t" r="r" b="b"/>
              <a:pathLst>
                <a:path w="168765" h="240091">
                  <a:moveTo>
                    <a:pt x="168766" y="0"/>
                  </a:moveTo>
                  <a:lnTo>
                    <a:pt x="168766" y="71326"/>
                  </a:lnTo>
                  <a:lnTo>
                    <a:pt x="0" y="240092"/>
                  </a:lnTo>
                </a:path>
              </a:pathLst>
            </a:custGeom>
            <a:noFill/>
            <a:ln w="15875" cap="flat">
              <a:solidFill>
                <a:schemeClr val="accent4"/>
              </a:solidFill>
              <a:prstDash val="solid"/>
              <a:miter/>
            </a:ln>
          </p:spPr>
          <p:txBody>
            <a:bodyPr rtlCol="0" anchor="ctr"/>
            <a:lstStyle/>
            <a:p>
              <a:endParaRPr lang="sv-SE"/>
            </a:p>
          </p:txBody>
        </p:sp>
        <p:sp>
          <p:nvSpPr>
            <p:cNvPr id="309" name="Freeform 308">
              <a:extLst>
                <a:ext uri="{FF2B5EF4-FFF2-40B4-BE49-F238E27FC236}">
                  <a16:creationId xmlns:a16="http://schemas.microsoft.com/office/drawing/2014/main" id="{D2689C77-05EF-05B7-2188-BF1FBFDD6FA1}"/>
                </a:ext>
              </a:extLst>
            </p:cNvPr>
            <p:cNvSpPr/>
            <p:nvPr/>
          </p:nvSpPr>
          <p:spPr>
            <a:xfrm>
              <a:off x="6958031" y="3272460"/>
              <a:ext cx="68842" cy="68842"/>
            </a:xfrm>
            <a:custGeom>
              <a:avLst/>
              <a:gdLst>
                <a:gd name="connsiteX0" fmla="*/ 68842 w 68842"/>
                <a:gd name="connsiteY0" fmla="*/ 68842 h 68842"/>
                <a:gd name="connsiteX1" fmla="*/ 0 w 68842"/>
                <a:gd name="connsiteY1" fmla="*/ 68842 h 68842"/>
                <a:gd name="connsiteX2" fmla="*/ 0 w 68842"/>
                <a:gd name="connsiteY2" fmla="*/ 0 h 68842"/>
              </a:gdLst>
              <a:ahLst/>
              <a:cxnLst>
                <a:cxn ang="0">
                  <a:pos x="connsiteX0" y="connsiteY0"/>
                </a:cxn>
                <a:cxn ang="0">
                  <a:pos x="connsiteX1" y="connsiteY1"/>
                </a:cxn>
                <a:cxn ang="0">
                  <a:pos x="connsiteX2" y="connsiteY2"/>
                </a:cxn>
              </a:cxnLst>
              <a:rect l="l" t="t" r="r" b="b"/>
              <a:pathLst>
                <a:path w="68842" h="68842">
                  <a:moveTo>
                    <a:pt x="68842" y="68842"/>
                  </a:moveTo>
                  <a:lnTo>
                    <a:pt x="0" y="68842"/>
                  </a:lnTo>
                  <a:lnTo>
                    <a:pt x="0" y="0"/>
                  </a:lnTo>
                </a:path>
              </a:pathLst>
            </a:custGeom>
            <a:noFill/>
            <a:ln w="15875" cap="flat">
              <a:solidFill>
                <a:schemeClr val="accent4"/>
              </a:solidFill>
              <a:prstDash val="solid"/>
              <a:miter/>
            </a:ln>
          </p:spPr>
          <p:txBody>
            <a:bodyPr rtlCol="0" anchor="ctr"/>
            <a:lstStyle/>
            <a:p>
              <a:endParaRPr lang="sv-SE"/>
            </a:p>
          </p:txBody>
        </p:sp>
      </p:grpSp>
      <p:grpSp>
        <p:nvGrpSpPr>
          <p:cNvPr id="371" name="Group 370">
            <a:extLst>
              <a:ext uri="{FF2B5EF4-FFF2-40B4-BE49-F238E27FC236}">
                <a16:creationId xmlns:a16="http://schemas.microsoft.com/office/drawing/2014/main" id="{9BC415A9-268A-E994-6CEE-CB37C5C31FCC}"/>
              </a:ext>
            </a:extLst>
          </p:cNvPr>
          <p:cNvGrpSpPr/>
          <p:nvPr/>
        </p:nvGrpSpPr>
        <p:grpSpPr>
          <a:xfrm flipV="1">
            <a:off x="2439988" y="4409599"/>
            <a:ext cx="80711" cy="346198"/>
            <a:chOff x="2649182" y="4409599"/>
            <a:chExt cx="80711" cy="346198"/>
          </a:xfrm>
        </p:grpSpPr>
        <p:sp>
          <p:nvSpPr>
            <p:cNvPr id="310" name="Freeform 309">
              <a:extLst>
                <a:ext uri="{FF2B5EF4-FFF2-40B4-BE49-F238E27FC236}">
                  <a16:creationId xmlns:a16="http://schemas.microsoft.com/office/drawing/2014/main" id="{333579C6-75B3-B3D5-42D8-19DA98445D2B}"/>
                </a:ext>
              </a:extLst>
            </p:cNvPr>
            <p:cNvSpPr/>
            <p:nvPr/>
          </p:nvSpPr>
          <p:spPr>
            <a:xfrm>
              <a:off x="2689538" y="4409599"/>
              <a:ext cx="0" cy="345425"/>
            </a:xfrm>
            <a:custGeom>
              <a:avLst/>
              <a:gdLst>
                <a:gd name="connsiteX0" fmla="*/ 0 w 5520"/>
                <a:gd name="connsiteY0" fmla="*/ 345425 h 345425"/>
                <a:gd name="connsiteX1" fmla="*/ 0 w 5520"/>
                <a:gd name="connsiteY1" fmla="*/ 0 h 345425"/>
              </a:gdLst>
              <a:ahLst/>
              <a:cxnLst>
                <a:cxn ang="0">
                  <a:pos x="connsiteX0" y="connsiteY0"/>
                </a:cxn>
                <a:cxn ang="0">
                  <a:pos x="connsiteX1" y="connsiteY1"/>
                </a:cxn>
              </a:cxnLst>
              <a:rect l="l" t="t" r="r" b="b"/>
              <a:pathLst>
                <a:path w="5520" h="345425">
                  <a:moveTo>
                    <a:pt x="0" y="345425"/>
                  </a:moveTo>
                  <a:lnTo>
                    <a:pt x="0" y="0"/>
                  </a:lnTo>
                </a:path>
              </a:pathLst>
            </a:custGeom>
            <a:ln w="15875" cap="flat">
              <a:solidFill>
                <a:srgbClr val="F27B21"/>
              </a:solidFill>
              <a:prstDash val="solid"/>
              <a:miter/>
            </a:ln>
          </p:spPr>
          <p:txBody>
            <a:bodyPr rtlCol="0" anchor="ctr"/>
            <a:lstStyle/>
            <a:p>
              <a:endParaRPr lang="sv-SE"/>
            </a:p>
          </p:txBody>
        </p:sp>
        <p:sp>
          <p:nvSpPr>
            <p:cNvPr id="311" name="Freeform 310">
              <a:extLst>
                <a:ext uri="{FF2B5EF4-FFF2-40B4-BE49-F238E27FC236}">
                  <a16:creationId xmlns:a16="http://schemas.microsoft.com/office/drawing/2014/main" id="{E0EC6077-3339-1B94-4BA8-A9B69EB74BF7}"/>
                </a:ext>
              </a:extLst>
            </p:cNvPr>
            <p:cNvSpPr/>
            <p:nvPr/>
          </p:nvSpPr>
          <p:spPr>
            <a:xfrm>
              <a:off x="2649182" y="4712405"/>
              <a:ext cx="80711" cy="43392"/>
            </a:xfrm>
            <a:custGeom>
              <a:avLst/>
              <a:gdLst>
                <a:gd name="connsiteX0" fmla="*/ 80712 w 80711"/>
                <a:gd name="connsiteY0" fmla="*/ 0 h 43392"/>
                <a:gd name="connsiteX1" fmla="*/ 40356 w 80711"/>
                <a:gd name="connsiteY1" fmla="*/ 43392 h 43392"/>
                <a:gd name="connsiteX2" fmla="*/ 0 w 80711"/>
                <a:gd name="connsiteY2" fmla="*/ 0 h 43392"/>
              </a:gdLst>
              <a:ahLst/>
              <a:cxnLst>
                <a:cxn ang="0">
                  <a:pos x="connsiteX0" y="connsiteY0"/>
                </a:cxn>
                <a:cxn ang="0">
                  <a:pos x="connsiteX1" y="connsiteY1"/>
                </a:cxn>
                <a:cxn ang="0">
                  <a:pos x="connsiteX2" y="connsiteY2"/>
                </a:cxn>
              </a:cxnLst>
              <a:rect l="l" t="t" r="r" b="b"/>
              <a:pathLst>
                <a:path w="80711" h="43392">
                  <a:moveTo>
                    <a:pt x="80712" y="0"/>
                  </a:moveTo>
                  <a:lnTo>
                    <a:pt x="40356" y="43392"/>
                  </a:lnTo>
                  <a:lnTo>
                    <a:pt x="0" y="0"/>
                  </a:lnTo>
                </a:path>
              </a:pathLst>
            </a:custGeom>
            <a:noFill/>
            <a:ln w="15875" cap="flat">
              <a:solidFill>
                <a:srgbClr val="F27B21"/>
              </a:solidFill>
              <a:prstDash val="solid"/>
              <a:miter/>
            </a:ln>
          </p:spPr>
          <p:txBody>
            <a:bodyPr rtlCol="0" anchor="ctr"/>
            <a:lstStyle/>
            <a:p>
              <a:endParaRPr lang="sv-SE"/>
            </a:p>
          </p:txBody>
        </p:sp>
      </p:grpSp>
      <p:grpSp>
        <p:nvGrpSpPr>
          <p:cNvPr id="368" name="Group 367">
            <a:extLst>
              <a:ext uri="{FF2B5EF4-FFF2-40B4-BE49-F238E27FC236}">
                <a16:creationId xmlns:a16="http://schemas.microsoft.com/office/drawing/2014/main" id="{32022438-AC64-EFAF-A0BB-F055FE4870B7}"/>
              </a:ext>
            </a:extLst>
          </p:cNvPr>
          <p:cNvGrpSpPr/>
          <p:nvPr/>
        </p:nvGrpSpPr>
        <p:grpSpPr>
          <a:xfrm flipH="1">
            <a:off x="4571685" y="3680821"/>
            <a:ext cx="346253" cy="80711"/>
            <a:chOff x="4571685" y="3680821"/>
            <a:chExt cx="346253" cy="80711"/>
          </a:xfrm>
        </p:grpSpPr>
        <p:sp>
          <p:nvSpPr>
            <p:cNvPr id="314" name="Freeform 313">
              <a:extLst>
                <a:ext uri="{FF2B5EF4-FFF2-40B4-BE49-F238E27FC236}">
                  <a16:creationId xmlns:a16="http://schemas.microsoft.com/office/drawing/2014/main" id="{7401B925-76DE-7872-545A-1F0FCD2FBFB3}"/>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27B21"/>
              </a:solidFill>
              <a:prstDash val="solid"/>
              <a:miter/>
            </a:ln>
          </p:spPr>
          <p:txBody>
            <a:bodyPr rtlCol="0" anchor="ctr"/>
            <a:lstStyle/>
            <a:p>
              <a:endParaRPr lang="sv-SE"/>
            </a:p>
          </p:txBody>
        </p:sp>
        <p:sp>
          <p:nvSpPr>
            <p:cNvPr id="315" name="Freeform 314">
              <a:extLst>
                <a:ext uri="{FF2B5EF4-FFF2-40B4-BE49-F238E27FC236}">
                  <a16:creationId xmlns:a16="http://schemas.microsoft.com/office/drawing/2014/main" id="{016DAA25-EF52-8AB1-E81B-054AD422BEDE}"/>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27B21"/>
              </a:solidFill>
              <a:prstDash val="solid"/>
              <a:miter/>
            </a:ln>
          </p:spPr>
          <p:txBody>
            <a:bodyPr rtlCol="0" anchor="ctr"/>
            <a:lstStyle/>
            <a:p>
              <a:endParaRPr lang="sv-SE"/>
            </a:p>
          </p:txBody>
        </p:sp>
      </p:grpSp>
      <p:sp>
        <p:nvSpPr>
          <p:cNvPr id="318" name="!!Line2" hidden="1">
            <a:extLst>
              <a:ext uri="{FF2B5EF4-FFF2-40B4-BE49-F238E27FC236}">
                <a16:creationId xmlns:a16="http://schemas.microsoft.com/office/drawing/2014/main" id="{E34EB1F5-36E2-1480-CDCB-9EE624163109}"/>
              </a:ext>
            </a:extLst>
          </p:cNvPr>
          <p:cNvSpPr/>
          <p:nvPr/>
        </p:nvSpPr>
        <p:spPr>
          <a:xfrm>
            <a:off x="2883588" y="3919809"/>
            <a:ext cx="4312989" cy="1465229"/>
          </a:xfrm>
          <a:custGeom>
            <a:avLst/>
            <a:gdLst>
              <a:gd name="connsiteX0" fmla="*/ 4312989 w 4312989"/>
              <a:gd name="connsiteY0" fmla="*/ 0 h 1465229"/>
              <a:gd name="connsiteX1" fmla="*/ 102849 w 4312989"/>
              <a:gd name="connsiteY1" fmla="*/ 0 h 1465229"/>
              <a:gd name="connsiteX2" fmla="*/ 0 w 4312989"/>
              <a:gd name="connsiteY2" fmla="*/ 102794 h 1465229"/>
              <a:gd name="connsiteX3" fmla="*/ 0 w 4312989"/>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4312989" h="1465229">
                <a:moveTo>
                  <a:pt x="4312989" y="0"/>
                </a:moveTo>
                <a:lnTo>
                  <a:pt x="102849" y="0"/>
                </a:lnTo>
                <a:lnTo>
                  <a:pt x="0" y="102794"/>
                </a:lnTo>
                <a:lnTo>
                  <a:pt x="0" y="1465229"/>
                </a:lnTo>
              </a:path>
            </a:pathLst>
          </a:custGeom>
          <a:noFill/>
          <a:ln w="22066" cap="rnd">
            <a:solidFill>
              <a:srgbClr val="ED1C24"/>
            </a:solidFill>
            <a:prstDash val="solid"/>
            <a:miter/>
          </a:ln>
        </p:spPr>
        <p:txBody>
          <a:bodyPr rtlCol="0" anchor="ctr"/>
          <a:lstStyle/>
          <a:p>
            <a:endParaRPr lang="sv-SE"/>
          </a:p>
        </p:txBody>
      </p:sp>
      <p:sp>
        <p:nvSpPr>
          <p:cNvPr id="319" name="!!Line3" hidden="1">
            <a:extLst>
              <a:ext uri="{FF2B5EF4-FFF2-40B4-BE49-F238E27FC236}">
                <a16:creationId xmlns:a16="http://schemas.microsoft.com/office/drawing/2014/main" id="{0FEC85C8-4A83-6B13-84BD-D01A33E65E85}"/>
              </a:ext>
            </a:extLst>
          </p:cNvPr>
          <p:cNvSpPr/>
          <p:nvPr/>
        </p:nvSpPr>
        <p:spPr>
          <a:xfrm>
            <a:off x="2883588" y="3919809"/>
            <a:ext cx="6201043" cy="1465229"/>
          </a:xfrm>
          <a:custGeom>
            <a:avLst/>
            <a:gdLst>
              <a:gd name="connsiteX0" fmla="*/ 6201043 w 6201043"/>
              <a:gd name="connsiteY0" fmla="*/ 0 h 1465229"/>
              <a:gd name="connsiteX1" fmla="*/ 102849 w 6201043"/>
              <a:gd name="connsiteY1" fmla="*/ 0 h 1465229"/>
              <a:gd name="connsiteX2" fmla="*/ 0 w 6201043"/>
              <a:gd name="connsiteY2" fmla="*/ 102794 h 1465229"/>
              <a:gd name="connsiteX3" fmla="*/ 0 w 6201043"/>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6201043" h="1465229">
                <a:moveTo>
                  <a:pt x="6201043" y="0"/>
                </a:moveTo>
                <a:lnTo>
                  <a:pt x="102849" y="0"/>
                </a:lnTo>
                <a:lnTo>
                  <a:pt x="0" y="102794"/>
                </a:lnTo>
                <a:lnTo>
                  <a:pt x="0" y="1465229"/>
                </a:lnTo>
              </a:path>
            </a:pathLst>
          </a:custGeom>
          <a:noFill/>
          <a:ln w="22066" cap="rnd">
            <a:solidFill>
              <a:srgbClr val="3DEA1F"/>
            </a:solidFill>
            <a:prstDash val="solid"/>
            <a:miter/>
          </a:ln>
        </p:spPr>
        <p:txBody>
          <a:bodyPr rtlCol="0" anchor="ctr"/>
          <a:lstStyle/>
          <a:p>
            <a:endParaRPr lang="sv-SE"/>
          </a:p>
        </p:txBody>
      </p:sp>
      <p:grpSp>
        <p:nvGrpSpPr>
          <p:cNvPr id="323" name="!!Grid">
            <a:extLst>
              <a:ext uri="{FF2B5EF4-FFF2-40B4-BE49-F238E27FC236}">
                <a16:creationId xmlns:a16="http://schemas.microsoft.com/office/drawing/2014/main" id="{3C68D1AF-7B27-366C-2F1F-C0C352F01A55}"/>
              </a:ext>
            </a:extLst>
          </p:cNvPr>
          <p:cNvGrpSpPr/>
          <p:nvPr/>
        </p:nvGrpSpPr>
        <p:grpSpPr>
          <a:xfrm>
            <a:off x="4727239" y="2098424"/>
            <a:ext cx="554314" cy="656022"/>
            <a:chOff x="3914104" y="2396347"/>
            <a:chExt cx="657114" cy="777685"/>
          </a:xfrm>
        </p:grpSpPr>
        <p:sp>
          <p:nvSpPr>
            <p:cNvPr id="324" name="Freeform 323">
              <a:extLst>
                <a:ext uri="{FF2B5EF4-FFF2-40B4-BE49-F238E27FC236}">
                  <a16:creationId xmlns:a16="http://schemas.microsoft.com/office/drawing/2014/main" id="{5CDDD8F3-01AA-47CF-4AE0-48AF3AC45B47}"/>
                </a:ext>
              </a:extLst>
            </p:cNvPr>
            <p:cNvSpPr/>
            <p:nvPr/>
          </p:nvSpPr>
          <p:spPr>
            <a:xfrm>
              <a:off x="3914104" y="2474150"/>
              <a:ext cx="657114" cy="84466"/>
            </a:xfrm>
            <a:custGeom>
              <a:avLst/>
              <a:gdLst>
                <a:gd name="connsiteX0" fmla="*/ 360171 w 700395"/>
                <a:gd name="connsiteY0" fmla="*/ 90029 h 90029"/>
                <a:gd name="connsiteX1" fmla="*/ 700395 w 700395"/>
                <a:gd name="connsiteY1" fmla="*/ 90029 h 90029"/>
                <a:gd name="connsiteX2" fmla="*/ 533345 w 700395"/>
                <a:gd name="connsiteY2" fmla="*/ 0 h 90029"/>
                <a:gd name="connsiteX3" fmla="*/ 360171 w 700395"/>
                <a:gd name="connsiteY3" fmla="*/ 0 h 90029"/>
                <a:gd name="connsiteX4" fmla="*/ 340224 w 700395"/>
                <a:gd name="connsiteY4" fmla="*/ 0 h 90029"/>
                <a:gd name="connsiteX5" fmla="*/ 167050 w 700395"/>
                <a:gd name="connsiteY5" fmla="*/ 0 h 90029"/>
                <a:gd name="connsiteX6" fmla="*/ 0 w 700395"/>
                <a:gd name="connsiteY6" fmla="*/ 90029 h 90029"/>
                <a:gd name="connsiteX7" fmla="*/ 340224 w 700395"/>
                <a:gd name="connsiteY7" fmla="*/ 90029 h 90029"/>
                <a:gd name="connsiteX8" fmla="*/ 360171 w 700395"/>
                <a:gd name="connsiteY8" fmla="*/ 90029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395" h="90029">
                  <a:moveTo>
                    <a:pt x="360171" y="90029"/>
                  </a:moveTo>
                  <a:lnTo>
                    <a:pt x="700395" y="90029"/>
                  </a:lnTo>
                  <a:lnTo>
                    <a:pt x="533345" y="0"/>
                  </a:lnTo>
                  <a:lnTo>
                    <a:pt x="360171" y="0"/>
                  </a:lnTo>
                  <a:lnTo>
                    <a:pt x="340224" y="0"/>
                  </a:lnTo>
                  <a:lnTo>
                    <a:pt x="167050" y="0"/>
                  </a:lnTo>
                  <a:lnTo>
                    <a:pt x="0" y="90029"/>
                  </a:lnTo>
                  <a:lnTo>
                    <a:pt x="340224" y="90029"/>
                  </a:lnTo>
                  <a:lnTo>
                    <a:pt x="360171" y="90029"/>
                  </a:lnTo>
                  <a:close/>
                </a:path>
              </a:pathLst>
            </a:custGeom>
            <a:noFill/>
            <a:ln w="9525" cap="rnd">
              <a:solidFill>
                <a:schemeClr val="accent4"/>
              </a:solidFill>
              <a:prstDash val="solid"/>
              <a:bevel/>
            </a:ln>
          </p:spPr>
          <p:txBody>
            <a:bodyPr rtlCol="0" anchor="ctr"/>
            <a:lstStyle/>
            <a:p>
              <a:endParaRPr lang="sv-SE"/>
            </a:p>
          </p:txBody>
        </p:sp>
        <p:sp>
          <p:nvSpPr>
            <p:cNvPr id="325" name="Freeform 324">
              <a:extLst>
                <a:ext uri="{FF2B5EF4-FFF2-40B4-BE49-F238E27FC236}">
                  <a16:creationId xmlns:a16="http://schemas.microsoft.com/office/drawing/2014/main" id="{62F9B3F2-51BB-2BDB-6751-B3F575E0DB15}"/>
                </a:ext>
              </a:extLst>
            </p:cNvPr>
            <p:cNvSpPr/>
            <p:nvPr/>
          </p:nvSpPr>
          <p:spPr>
            <a:xfrm>
              <a:off x="4071085" y="2474151"/>
              <a:ext cx="162473" cy="84466"/>
            </a:xfrm>
            <a:custGeom>
              <a:avLst/>
              <a:gdLst>
                <a:gd name="connsiteX0" fmla="*/ 0 w 173174"/>
                <a:gd name="connsiteY0" fmla="*/ 0 h 90029"/>
                <a:gd name="connsiteX1" fmla="*/ 173175 w 173174"/>
                <a:gd name="connsiteY1" fmla="*/ 90029 h 90029"/>
              </a:gdLst>
              <a:ahLst/>
              <a:cxnLst>
                <a:cxn ang="0">
                  <a:pos x="connsiteX0" y="connsiteY0"/>
                </a:cxn>
                <a:cxn ang="0">
                  <a:pos x="connsiteX1" y="connsiteY1"/>
                </a:cxn>
              </a:cxnLst>
              <a:rect l="l" t="t" r="r" b="b"/>
              <a:pathLst>
                <a:path w="173174" h="90029">
                  <a:moveTo>
                    <a:pt x="0" y="0"/>
                  </a:moveTo>
                  <a:lnTo>
                    <a:pt x="173175" y="90029"/>
                  </a:lnTo>
                </a:path>
              </a:pathLst>
            </a:custGeom>
            <a:ln w="9525" cap="rnd">
              <a:solidFill>
                <a:schemeClr val="accent4"/>
              </a:solidFill>
              <a:prstDash val="solid"/>
              <a:bevel/>
            </a:ln>
          </p:spPr>
          <p:txBody>
            <a:bodyPr rtlCol="0" anchor="ctr"/>
            <a:lstStyle/>
            <a:p>
              <a:endParaRPr lang="sv-SE"/>
            </a:p>
          </p:txBody>
        </p:sp>
        <p:sp>
          <p:nvSpPr>
            <p:cNvPr id="326" name="Freeform 325">
              <a:extLst>
                <a:ext uri="{FF2B5EF4-FFF2-40B4-BE49-F238E27FC236}">
                  <a16:creationId xmlns:a16="http://schemas.microsoft.com/office/drawing/2014/main" id="{F49C875F-FA7C-DF2D-88B6-3CF230EF71D6}"/>
                </a:ext>
              </a:extLst>
            </p:cNvPr>
            <p:cNvSpPr/>
            <p:nvPr/>
          </p:nvSpPr>
          <p:spPr>
            <a:xfrm>
              <a:off x="4251764" y="2474151"/>
              <a:ext cx="162473" cy="84466"/>
            </a:xfrm>
            <a:custGeom>
              <a:avLst/>
              <a:gdLst>
                <a:gd name="connsiteX0" fmla="*/ 173175 w 173174"/>
                <a:gd name="connsiteY0" fmla="*/ 0 h 90029"/>
                <a:gd name="connsiteX1" fmla="*/ 0 w 173174"/>
                <a:gd name="connsiteY1" fmla="*/ 90029 h 90029"/>
              </a:gdLst>
              <a:ahLst/>
              <a:cxnLst>
                <a:cxn ang="0">
                  <a:pos x="connsiteX0" y="connsiteY0"/>
                </a:cxn>
                <a:cxn ang="0">
                  <a:pos x="connsiteX1" y="connsiteY1"/>
                </a:cxn>
              </a:cxnLst>
              <a:rect l="l" t="t" r="r" b="b"/>
              <a:pathLst>
                <a:path w="173174" h="90029">
                  <a:moveTo>
                    <a:pt x="173175" y="0"/>
                  </a:moveTo>
                  <a:lnTo>
                    <a:pt x="0" y="90029"/>
                  </a:lnTo>
                </a:path>
              </a:pathLst>
            </a:custGeom>
            <a:ln w="9525" cap="rnd">
              <a:solidFill>
                <a:schemeClr val="accent4"/>
              </a:solidFill>
              <a:prstDash val="solid"/>
              <a:bevel/>
            </a:ln>
          </p:spPr>
          <p:txBody>
            <a:bodyPr rtlCol="0" anchor="ctr"/>
            <a:lstStyle/>
            <a:p>
              <a:endParaRPr lang="sv-SE"/>
            </a:p>
          </p:txBody>
        </p:sp>
        <p:sp>
          <p:nvSpPr>
            <p:cNvPr id="327" name="Freeform 326">
              <a:extLst>
                <a:ext uri="{FF2B5EF4-FFF2-40B4-BE49-F238E27FC236}">
                  <a16:creationId xmlns:a16="http://schemas.microsoft.com/office/drawing/2014/main" id="{DFC4C69B-EF83-303A-6AEF-300171EB4411}"/>
                </a:ext>
              </a:extLst>
            </p:cNvPr>
            <p:cNvSpPr/>
            <p:nvPr/>
          </p:nvSpPr>
          <p:spPr>
            <a:xfrm>
              <a:off x="4071949"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chemeClr val="accent4"/>
              </a:solidFill>
              <a:prstDash val="solid"/>
              <a:bevel/>
            </a:ln>
          </p:spPr>
          <p:txBody>
            <a:bodyPr rtlCol="0" anchor="ctr"/>
            <a:lstStyle/>
            <a:p>
              <a:endParaRPr lang="sv-SE"/>
            </a:p>
          </p:txBody>
        </p:sp>
        <p:sp>
          <p:nvSpPr>
            <p:cNvPr id="328" name="Freeform 327">
              <a:extLst>
                <a:ext uri="{FF2B5EF4-FFF2-40B4-BE49-F238E27FC236}">
                  <a16:creationId xmlns:a16="http://schemas.microsoft.com/office/drawing/2014/main" id="{5713376D-8BA1-40E0-427A-ECF7E668B762}"/>
                </a:ext>
              </a:extLst>
            </p:cNvPr>
            <p:cNvSpPr/>
            <p:nvPr/>
          </p:nvSpPr>
          <p:spPr>
            <a:xfrm>
              <a:off x="4413372"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chemeClr val="accent4"/>
              </a:solidFill>
              <a:prstDash val="solid"/>
              <a:bevel/>
            </a:ln>
          </p:spPr>
          <p:txBody>
            <a:bodyPr rtlCol="0" anchor="ctr"/>
            <a:lstStyle/>
            <a:p>
              <a:endParaRPr lang="sv-SE"/>
            </a:p>
          </p:txBody>
        </p:sp>
        <p:sp>
          <p:nvSpPr>
            <p:cNvPr id="329" name="Freeform 328">
              <a:extLst>
                <a:ext uri="{FF2B5EF4-FFF2-40B4-BE49-F238E27FC236}">
                  <a16:creationId xmlns:a16="http://schemas.microsoft.com/office/drawing/2014/main" id="{5A1587E5-2D2E-E719-87B1-ECCF46E40BED}"/>
                </a:ext>
              </a:extLst>
            </p:cNvPr>
            <p:cNvSpPr/>
            <p:nvPr/>
          </p:nvSpPr>
          <p:spPr>
            <a:xfrm>
              <a:off x="4158959"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chemeClr val="accent4"/>
              </a:solidFill>
              <a:prstDash val="solid"/>
              <a:bevel/>
            </a:ln>
          </p:spPr>
          <p:txBody>
            <a:bodyPr rtlCol="0" anchor="ctr"/>
            <a:lstStyle/>
            <a:p>
              <a:endParaRPr lang="sv-SE"/>
            </a:p>
          </p:txBody>
        </p:sp>
        <p:sp>
          <p:nvSpPr>
            <p:cNvPr id="330" name="Freeform 329">
              <a:extLst>
                <a:ext uri="{FF2B5EF4-FFF2-40B4-BE49-F238E27FC236}">
                  <a16:creationId xmlns:a16="http://schemas.microsoft.com/office/drawing/2014/main" id="{0084A181-76E2-BFA4-3797-B5651BD52988}"/>
                </a:ext>
              </a:extLst>
            </p:cNvPr>
            <p:cNvSpPr/>
            <p:nvPr/>
          </p:nvSpPr>
          <p:spPr>
            <a:xfrm>
              <a:off x="4326364"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chemeClr val="accent4"/>
              </a:solidFill>
              <a:prstDash val="solid"/>
              <a:bevel/>
            </a:ln>
          </p:spPr>
          <p:txBody>
            <a:bodyPr rtlCol="0" anchor="ctr"/>
            <a:lstStyle/>
            <a:p>
              <a:endParaRPr lang="sv-SE"/>
            </a:p>
          </p:txBody>
        </p:sp>
        <p:sp>
          <p:nvSpPr>
            <p:cNvPr id="331" name="Freeform 330">
              <a:extLst>
                <a:ext uri="{FF2B5EF4-FFF2-40B4-BE49-F238E27FC236}">
                  <a16:creationId xmlns:a16="http://schemas.microsoft.com/office/drawing/2014/main" id="{28D83269-04C8-2778-0282-9D4361A10056}"/>
                </a:ext>
              </a:extLst>
            </p:cNvPr>
            <p:cNvSpPr/>
            <p:nvPr/>
          </p:nvSpPr>
          <p:spPr>
            <a:xfrm>
              <a:off x="424266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chemeClr val="accent4"/>
              </a:solidFill>
              <a:prstDash val="solid"/>
              <a:bevel/>
            </a:ln>
          </p:spPr>
          <p:txBody>
            <a:bodyPr rtlCol="0" anchor="ctr"/>
            <a:lstStyle/>
            <a:p>
              <a:endParaRPr lang="sv-SE"/>
            </a:p>
          </p:txBody>
        </p:sp>
        <p:sp>
          <p:nvSpPr>
            <p:cNvPr id="332" name="Freeform 331">
              <a:extLst>
                <a:ext uri="{FF2B5EF4-FFF2-40B4-BE49-F238E27FC236}">
                  <a16:creationId xmlns:a16="http://schemas.microsoft.com/office/drawing/2014/main" id="{F4B9A0EB-7311-8F4B-4704-A1D07FFEC276}"/>
                </a:ext>
              </a:extLst>
            </p:cNvPr>
            <p:cNvSpPr/>
            <p:nvPr/>
          </p:nvSpPr>
          <p:spPr>
            <a:xfrm>
              <a:off x="4225066" y="2660100"/>
              <a:ext cx="35189" cy="0"/>
            </a:xfrm>
            <a:custGeom>
              <a:avLst/>
              <a:gdLst>
                <a:gd name="connsiteX0" fmla="*/ 0 w 37507"/>
                <a:gd name="connsiteY0" fmla="*/ 0 h 5420"/>
                <a:gd name="connsiteX1" fmla="*/ 37508 w 37507"/>
                <a:gd name="connsiteY1" fmla="*/ 0 h 5420"/>
              </a:gdLst>
              <a:ahLst/>
              <a:cxnLst>
                <a:cxn ang="0">
                  <a:pos x="connsiteX0" y="connsiteY0"/>
                </a:cxn>
                <a:cxn ang="0">
                  <a:pos x="connsiteX1" y="connsiteY1"/>
                </a:cxn>
              </a:cxnLst>
              <a:rect l="l" t="t" r="r" b="b"/>
              <a:pathLst>
                <a:path w="37507" h="5420">
                  <a:moveTo>
                    <a:pt x="0" y="0"/>
                  </a:moveTo>
                  <a:lnTo>
                    <a:pt x="37508" y="0"/>
                  </a:lnTo>
                </a:path>
              </a:pathLst>
            </a:custGeom>
            <a:ln w="9525" cap="rnd">
              <a:solidFill>
                <a:schemeClr val="accent4"/>
              </a:solidFill>
              <a:prstDash val="solid"/>
              <a:bevel/>
            </a:ln>
          </p:spPr>
          <p:txBody>
            <a:bodyPr rtlCol="0" anchor="ctr"/>
            <a:lstStyle/>
            <a:p>
              <a:endParaRPr lang="sv-SE"/>
            </a:p>
          </p:txBody>
        </p:sp>
        <p:sp>
          <p:nvSpPr>
            <p:cNvPr id="333" name="Freeform 332">
              <a:extLst>
                <a:ext uri="{FF2B5EF4-FFF2-40B4-BE49-F238E27FC236}">
                  <a16:creationId xmlns:a16="http://schemas.microsoft.com/office/drawing/2014/main" id="{BD74BF39-48B3-C79A-97BA-C7D9B584DF10}"/>
                </a:ext>
              </a:extLst>
            </p:cNvPr>
            <p:cNvSpPr/>
            <p:nvPr/>
          </p:nvSpPr>
          <p:spPr>
            <a:xfrm>
              <a:off x="4234423" y="2640896"/>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chemeClr val="accent4"/>
              </a:solidFill>
              <a:prstDash val="solid"/>
              <a:bevel/>
            </a:ln>
          </p:spPr>
          <p:txBody>
            <a:bodyPr rtlCol="0" anchor="ctr"/>
            <a:lstStyle/>
            <a:p>
              <a:endParaRPr lang="sv-SE"/>
            </a:p>
          </p:txBody>
        </p:sp>
        <p:sp>
          <p:nvSpPr>
            <p:cNvPr id="334" name="Freeform 333">
              <a:extLst>
                <a:ext uri="{FF2B5EF4-FFF2-40B4-BE49-F238E27FC236}">
                  <a16:creationId xmlns:a16="http://schemas.microsoft.com/office/drawing/2014/main" id="{F23390DF-3AAE-814D-34BC-C26C324851B9}"/>
                </a:ext>
              </a:extLst>
            </p:cNvPr>
            <p:cNvSpPr/>
            <p:nvPr/>
          </p:nvSpPr>
          <p:spPr>
            <a:xfrm>
              <a:off x="4234423" y="2624725"/>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chemeClr val="accent4"/>
              </a:solidFill>
              <a:prstDash val="solid"/>
              <a:bevel/>
            </a:ln>
          </p:spPr>
          <p:txBody>
            <a:bodyPr rtlCol="0" anchor="ctr"/>
            <a:lstStyle/>
            <a:p>
              <a:endParaRPr lang="sv-SE"/>
            </a:p>
          </p:txBody>
        </p:sp>
        <p:sp>
          <p:nvSpPr>
            <p:cNvPr id="335" name="Freeform 334">
              <a:extLst>
                <a:ext uri="{FF2B5EF4-FFF2-40B4-BE49-F238E27FC236}">
                  <a16:creationId xmlns:a16="http://schemas.microsoft.com/office/drawing/2014/main" id="{F944D8F5-7D5C-61B7-6055-12CC66E7680F}"/>
                </a:ext>
              </a:extLst>
            </p:cNvPr>
            <p:cNvSpPr/>
            <p:nvPr/>
          </p:nvSpPr>
          <p:spPr>
            <a:xfrm>
              <a:off x="4234423" y="2608554"/>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chemeClr val="accent4"/>
              </a:solidFill>
              <a:prstDash val="solid"/>
              <a:bevel/>
            </a:ln>
          </p:spPr>
          <p:txBody>
            <a:bodyPr rtlCol="0" anchor="ctr"/>
            <a:lstStyle/>
            <a:p>
              <a:endParaRPr lang="sv-SE"/>
            </a:p>
          </p:txBody>
        </p:sp>
        <p:sp>
          <p:nvSpPr>
            <p:cNvPr id="336" name="Freeform 335">
              <a:extLst>
                <a:ext uri="{FF2B5EF4-FFF2-40B4-BE49-F238E27FC236}">
                  <a16:creationId xmlns:a16="http://schemas.microsoft.com/office/drawing/2014/main" id="{AE20924F-166A-739F-4F92-C16AFFF48A1E}"/>
                </a:ext>
              </a:extLst>
            </p:cNvPr>
            <p:cNvSpPr/>
            <p:nvPr/>
          </p:nvSpPr>
          <p:spPr>
            <a:xfrm>
              <a:off x="4234423" y="2592383"/>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chemeClr val="accent4"/>
              </a:solidFill>
              <a:prstDash val="solid"/>
              <a:bevel/>
            </a:ln>
          </p:spPr>
          <p:txBody>
            <a:bodyPr rtlCol="0" anchor="ctr"/>
            <a:lstStyle/>
            <a:p>
              <a:endParaRPr lang="sv-SE"/>
            </a:p>
          </p:txBody>
        </p:sp>
        <p:sp>
          <p:nvSpPr>
            <p:cNvPr id="337" name="Freeform 336">
              <a:extLst>
                <a:ext uri="{FF2B5EF4-FFF2-40B4-BE49-F238E27FC236}">
                  <a16:creationId xmlns:a16="http://schemas.microsoft.com/office/drawing/2014/main" id="{A9DD35F2-7AD0-A0BC-A531-A9F99A456B8D}"/>
                </a:ext>
              </a:extLst>
            </p:cNvPr>
            <p:cNvSpPr/>
            <p:nvPr/>
          </p:nvSpPr>
          <p:spPr>
            <a:xfrm>
              <a:off x="4551691" y="2560295"/>
              <a:ext cx="0" cy="97992"/>
            </a:xfrm>
            <a:custGeom>
              <a:avLst/>
              <a:gdLst>
                <a:gd name="connsiteX0" fmla="*/ 0 w 5420"/>
                <a:gd name="connsiteY0" fmla="*/ 0 h 104446"/>
                <a:gd name="connsiteX1" fmla="*/ 0 w 5420"/>
                <a:gd name="connsiteY1" fmla="*/ 104447 h 104446"/>
              </a:gdLst>
              <a:ahLst/>
              <a:cxnLst>
                <a:cxn ang="0">
                  <a:pos x="connsiteX0" y="connsiteY0"/>
                </a:cxn>
                <a:cxn ang="0">
                  <a:pos x="connsiteX1" y="connsiteY1"/>
                </a:cxn>
              </a:cxnLst>
              <a:rect l="l" t="t" r="r" b="b"/>
              <a:pathLst>
                <a:path w="5420" h="104446">
                  <a:moveTo>
                    <a:pt x="0" y="0"/>
                  </a:moveTo>
                  <a:lnTo>
                    <a:pt x="0" y="104447"/>
                  </a:lnTo>
                </a:path>
              </a:pathLst>
            </a:custGeom>
            <a:ln w="9525" cap="sq">
              <a:solidFill>
                <a:schemeClr val="accent4"/>
              </a:solidFill>
              <a:prstDash val="solid"/>
              <a:bevel/>
            </a:ln>
          </p:spPr>
          <p:txBody>
            <a:bodyPr rtlCol="0" anchor="ctr"/>
            <a:lstStyle/>
            <a:p>
              <a:endParaRPr lang="sv-SE"/>
            </a:p>
          </p:txBody>
        </p:sp>
        <p:sp>
          <p:nvSpPr>
            <p:cNvPr id="338" name="Freeform 337">
              <a:extLst>
                <a:ext uri="{FF2B5EF4-FFF2-40B4-BE49-F238E27FC236}">
                  <a16:creationId xmlns:a16="http://schemas.microsoft.com/office/drawing/2014/main" id="{74460BB5-D4DA-1051-88EA-388BFCBDC5A0}"/>
                </a:ext>
              </a:extLst>
            </p:cNvPr>
            <p:cNvSpPr/>
            <p:nvPr/>
          </p:nvSpPr>
          <p:spPr>
            <a:xfrm>
              <a:off x="4534045"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chemeClr val="accent4"/>
              </a:solidFill>
              <a:prstDash val="solid"/>
              <a:bevel/>
            </a:ln>
          </p:spPr>
          <p:txBody>
            <a:bodyPr rtlCol="0" anchor="ctr"/>
            <a:lstStyle/>
            <a:p>
              <a:endParaRPr lang="sv-SE"/>
            </a:p>
          </p:txBody>
        </p:sp>
        <p:sp>
          <p:nvSpPr>
            <p:cNvPr id="339" name="Freeform 338">
              <a:extLst>
                <a:ext uri="{FF2B5EF4-FFF2-40B4-BE49-F238E27FC236}">
                  <a16:creationId xmlns:a16="http://schemas.microsoft.com/office/drawing/2014/main" id="{616CDF13-AF71-C042-CB00-8E42855DCD59}"/>
                </a:ext>
              </a:extLst>
            </p:cNvPr>
            <p:cNvSpPr/>
            <p:nvPr/>
          </p:nvSpPr>
          <p:spPr>
            <a:xfrm>
              <a:off x="4543402"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0" name="Freeform 339">
              <a:extLst>
                <a:ext uri="{FF2B5EF4-FFF2-40B4-BE49-F238E27FC236}">
                  <a16:creationId xmlns:a16="http://schemas.microsoft.com/office/drawing/2014/main" id="{240075DA-B4AA-9E89-C5DC-790981338181}"/>
                </a:ext>
              </a:extLst>
            </p:cNvPr>
            <p:cNvSpPr/>
            <p:nvPr/>
          </p:nvSpPr>
          <p:spPr>
            <a:xfrm>
              <a:off x="4543402"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1" name="Freeform 340">
              <a:extLst>
                <a:ext uri="{FF2B5EF4-FFF2-40B4-BE49-F238E27FC236}">
                  <a16:creationId xmlns:a16="http://schemas.microsoft.com/office/drawing/2014/main" id="{58F79168-87B0-2308-7F5C-B699652F3F62}"/>
                </a:ext>
              </a:extLst>
            </p:cNvPr>
            <p:cNvSpPr/>
            <p:nvPr/>
          </p:nvSpPr>
          <p:spPr>
            <a:xfrm>
              <a:off x="4543402"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2" name="Freeform 341">
              <a:extLst>
                <a:ext uri="{FF2B5EF4-FFF2-40B4-BE49-F238E27FC236}">
                  <a16:creationId xmlns:a16="http://schemas.microsoft.com/office/drawing/2014/main" id="{E8B4EDF4-2A5B-9D89-9C32-822284E63252}"/>
                </a:ext>
              </a:extLst>
            </p:cNvPr>
            <p:cNvSpPr/>
            <p:nvPr/>
          </p:nvSpPr>
          <p:spPr>
            <a:xfrm>
              <a:off x="4543402"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3" name="Freeform 342">
              <a:extLst>
                <a:ext uri="{FF2B5EF4-FFF2-40B4-BE49-F238E27FC236}">
                  <a16:creationId xmlns:a16="http://schemas.microsoft.com/office/drawing/2014/main" id="{CD19D383-893D-1AAF-9855-BBE619F158D4}"/>
                </a:ext>
              </a:extLst>
            </p:cNvPr>
            <p:cNvSpPr/>
            <p:nvPr/>
          </p:nvSpPr>
          <p:spPr>
            <a:xfrm>
              <a:off x="393363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chemeClr val="accent4"/>
              </a:solidFill>
              <a:prstDash val="solid"/>
              <a:bevel/>
            </a:ln>
          </p:spPr>
          <p:txBody>
            <a:bodyPr rtlCol="0" anchor="ctr"/>
            <a:lstStyle/>
            <a:p>
              <a:endParaRPr lang="sv-SE"/>
            </a:p>
          </p:txBody>
        </p:sp>
        <p:sp>
          <p:nvSpPr>
            <p:cNvPr id="344" name="Freeform 343">
              <a:extLst>
                <a:ext uri="{FF2B5EF4-FFF2-40B4-BE49-F238E27FC236}">
                  <a16:creationId xmlns:a16="http://schemas.microsoft.com/office/drawing/2014/main" id="{675CD8CA-38F7-68AE-9577-34644A067127}"/>
                </a:ext>
              </a:extLst>
            </p:cNvPr>
            <p:cNvSpPr/>
            <p:nvPr/>
          </p:nvSpPr>
          <p:spPr>
            <a:xfrm>
              <a:off x="3916037"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chemeClr val="accent4"/>
              </a:solidFill>
              <a:prstDash val="solid"/>
              <a:bevel/>
            </a:ln>
          </p:spPr>
          <p:txBody>
            <a:bodyPr rtlCol="0" anchor="ctr"/>
            <a:lstStyle/>
            <a:p>
              <a:endParaRPr lang="sv-SE"/>
            </a:p>
          </p:txBody>
        </p:sp>
        <p:sp>
          <p:nvSpPr>
            <p:cNvPr id="345" name="Freeform 344">
              <a:extLst>
                <a:ext uri="{FF2B5EF4-FFF2-40B4-BE49-F238E27FC236}">
                  <a16:creationId xmlns:a16="http://schemas.microsoft.com/office/drawing/2014/main" id="{3C70F161-F033-E806-139D-FF150A7A95A8}"/>
                </a:ext>
              </a:extLst>
            </p:cNvPr>
            <p:cNvSpPr/>
            <p:nvPr/>
          </p:nvSpPr>
          <p:spPr>
            <a:xfrm>
              <a:off x="3925393"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6" name="Freeform 345">
              <a:extLst>
                <a:ext uri="{FF2B5EF4-FFF2-40B4-BE49-F238E27FC236}">
                  <a16:creationId xmlns:a16="http://schemas.microsoft.com/office/drawing/2014/main" id="{B9616AC7-CF2C-9E69-B6E3-F01F817D478C}"/>
                </a:ext>
              </a:extLst>
            </p:cNvPr>
            <p:cNvSpPr/>
            <p:nvPr/>
          </p:nvSpPr>
          <p:spPr>
            <a:xfrm>
              <a:off x="3925393"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7" name="Freeform 346">
              <a:extLst>
                <a:ext uri="{FF2B5EF4-FFF2-40B4-BE49-F238E27FC236}">
                  <a16:creationId xmlns:a16="http://schemas.microsoft.com/office/drawing/2014/main" id="{68F962F6-CEAF-E391-5A4A-62FFD3BE7299}"/>
                </a:ext>
              </a:extLst>
            </p:cNvPr>
            <p:cNvSpPr/>
            <p:nvPr/>
          </p:nvSpPr>
          <p:spPr>
            <a:xfrm>
              <a:off x="3925393"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8" name="Freeform 347">
              <a:extLst>
                <a:ext uri="{FF2B5EF4-FFF2-40B4-BE49-F238E27FC236}">
                  <a16:creationId xmlns:a16="http://schemas.microsoft.com/office/drawing/2014/main" id="{E4954868-434F-F1BD-DB9E-552654E23998}"/>
                </a:ext>
              </a:extLst>
            </p:cNvPr>
            <p:cNvSpPr/>
            <p:nvPr/>
          </p:nvSpPr>
          <p:spPr>
            <a:xfrm>
              <a:off x="3925393"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chemeClr val="accent4"/>
              </a:solidFill>
              <a:prstDash val="solid"/>
              <a:bevel/>
            </a:ln>
          </p:spPr>
          <p:txBody>
            <a:bodyPr rtlCol="0" anchor="ctr"/>
            <a:lstStyle/>
            <a:p>
              <a:endParaRPr lang="sv-SE"/>
            </a:p>
          </p:txBody>
        </p:sp>
        <p:sp>
          <p:nvSpPr>
            <p:cNvPr id="349" name="Freeform 348">
              <a:extLst>
                <a:ext uri="{FF2B5EF4-FFF2-40B4-BE49-F238E27FC236}">
                  <a16:creationId xmlns:a16="http://schemas.microsoft.com/office/drawing/2014/main" id="{690B3DCA-CD5B-78DD-2D55-831B9D25C9A5}"/>
                </a:ext>
              </a:extLst>
            </p:cNvPr>
            <p:cNvSpPr/>
            <p:nvPr/>
          </p:nvSpPr>
          <p:spPr>
            <a:xfrm>
              <a:off x="3995874" y="2558463"/>
              <a:ext cx="151184" cy="610636"/>
            </a:xfrm>
            <a:custGeom>
              <a:avLst/>
              <a:gdLst>
                <a:gd name="connsiteX0" fmla="*/ 0 w 161142"/>
                <a:gd name="connsiteY0" fmla="*/ 652210 h 652210"/>
                <a:gd name="connsiteX1" fmla="*/ 29107 w 161142"/>
                <a:gd name="connsiteY1" fmla="*/ 0 h 652210"/>
                <a:gd name="connsiteX2" fmla="*/ 136860 w 161142"/>
                <a:gd name="connsiteY2" fmla="*/ 107699 h 652210"/>
                <a:gd name="connsiteX3" fmla="*/ 20434 w 161142"/>
                <a:gd name="connsiteY3" fmla="*/ 231550 h 652210"/>
                <a:gd name="connsiteX4" fmla="*/ 148567 w 161142"/>
                <a:gd name="connsiteY4" fmla="*/ 364344 h 652210"/>
                <a:gd name="connsiteX5" fmla="*/ 7426 w 161142"/>
                <a:gd name="connsiteY5" fmla="*/ 495675 h 652210"/>
                <a:gd name="connsiteX6" fmla="*/ 161142 w 161142"/>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142" h="652210">
                  <a:moveTo>
                    <a:pt x="0" y="652210"/>
                  </a:moveTo>
                  <a:lnTo>
                    <a:pt x="29107" y="0"/>
                  </a:lnTo>
                  <a:lnTo>
                    <a:pt x="136860" y="107699"/>
                  </a:lnTo>
                  <a:lnTo>
                    <a:pt x="20434" y="231550"/>
                  </a:lnTo>
                  <a:lnTo>
                    <a:pt x="148567" y="364344"/>
                  </a:lnTo>
                  <a:lnTo>
                    <a:pt x="7426" y="495675"/>
                  </a:lnTo>
                  <a:lnTo>
                    <a:pt x="161142" y="648958"/>
                  </a:lnTo>
                </a:path>
              </a:pathLst>
            </a:custGeom>
            <a:noFill/>
            <a:ln w="9525" cap="rnd">
              <a:solidFill>
                <a:schemeClr val="accent4"/>
              </a:solidFill>
              <a:prstDash val="solid"/>
              <a:bevel/>
            </a:ln>
          </p:spPr>
          <p:txBody>
            <a:bodyPr rtlCol="0" anchor="ctr"/>
            <a:lstStyle/>
            <a:p>
              <a:endParaRPr lang="sv-SE"/>
            </a:p>
          </p:txBody>
        </p:sp>
        <p:sp>
          <p:nvSpPr>
            <p:cNvPr id="350" name="Freeform 349">
              <a:extLst>
                <a:ext uri="{FF2B5EF4-FFF2-40B4-BE49-F238E27FC236}">
                  <a16:creationId xmlns:a16="http://schemas.microsoft.com/office/drawing/2014/main" id="{58CA6A16-6AF8-3AFC-991D-6E757950BC04}"/>
                </a:ext>
              </a:extLst>
            </p:cNvPr>
            <p:cNvSpPr/>
            <p:nvPr/>
          </p:nvSpPr>
          <p:spPr>
            <a:xfrm>
              <a:off x="4120717" y="2558463"/>
              <a:ext cx="27307" cy="610636"/>
            </a:xfrm>
            <a:custGeom>
              <a:avLst/>
              <a:gdLst>
                <a:gd name="connsiteX0" fmla="*/ 0 w 29106"/>
                <a:gd name="connsiteY0" fmla="*/ 0 h 652210"/>
                <a:gd name="connsiteX1" fmla="*/ 29106 w 29106"/>
                <a:gd name="connsiteY1" fmla="*/ 652210 h 652210"/>
              </a:gdLst>
              <a:ahLst/>
              <a:cxnLst>
                <a:cxn ang="0">
                  <a:pos x="connsiteX0" y="connsiteY0"/>
                </a:cxn>
                <a:cxn ang="0">
                  <a:pos x="connsiteX1" y="connsiteY1"/>
                </a:cxn>
              </a:cxnLst>
              <a:rect l="l" t="t" r="r" b="b"/>
              <a:pathLst>
                <a:path w="29106" h="652210">
                  <a:moveTo>
                    <a:pt x="0" y="0"/>
                  </a:moveTo>
                  <a:lnTo>
                    <a:pt x="29106" y="652210"/>
                  </a:lnTo>
                </a:path>
              </a:pathLst>
            </a:custGeom>
            <a:ln w="9525" cap="sq">
              <a:solidFill>
                <a:schemeClr val="accent4"/>
              </a:solidFill>
              <a:prstDash val="solid"/>
              <a:bevel/>
            </a:ln>
          </p:spPr>
          <p:txBody>
            <a:bodyPr rtlCol="0" anchor="ctr"/>
            <a:lstStyle/>
            <a:p>
              <a:endParaRPr lang="sv-SE"/>
            </a:p>
          </p:txBody>
        </p:sp>
        <p:sp>
          <p:nvSpPr>
            <p:cNvPr id="351" name="Freeform 350">
              <a:extLst>
                <a:ext uri="{FF2B5EF4-FFF2-40B4-BE49-F238E27FC236}">
                  <a16:creationId xmlns:a16="http://schemas.microsoft.com/office/drawing/2014/main" id="{252DDE43-995E-781D-C034-581454DC6ED9}"/>
                </a:ext>
              </a:extLst>
            </p:cNvPr>
            <p:cNvSpPr/>
            <p:nvPr/>
          </p:nvSpPr>
          <p:spPr>
            <a:xfrm>
              <a:off x="4018610"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chemeClr val="accent4"/>
              </a:solidFill>
              <a:prstDash val="solid"/>
              <a:bevel/>
            </a:ln>
          </p:spPr>
          <p:txBody>
            <a:bodyPr rtlCol="0" anchor="ctr"/>
            <a:lstStyle/>
            <a:p>
              <a:endParaRPr lang="sv-SE"/>
            </a:p>
          </p:txBody>
        </p:sp>
        <p:sp>
          <p:nvSpPr>
            <p:cNvPr id="352" name="Freeform 351">
              <a:extLst>
                <a:ext uri="{FF2B5EF4-FFF2-40B4-BE49-F238E27FC236}">
                  <a16:creationId xmlns:a16="http://schemas.microsoft.com/office/drawing/2014/main" id="{644A5B7C-5A80-3265-A73A-6A425E846519}"/>
                </a:ext>
              </a:extLst>
            </p:cNvPr>
            <p:cNvSpPr/>
            <p:nvPr/>
          </p:nvSpPr>
          <p:spPr>
            <a:xfrm>
              <a:off x="4015045"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chemeClr val="accent4"/>
              </a:solidFill>
              <a:prstDash val="solid"/>
              <a:bevel/>
            </a:ln>
          </p:spPr>
          <p:txBody>
            <a:bodyPr rtlCol="0" anchor="ctr"/>
            <a:lstStyle/>
            <a:p>
              <a:endParaRPr lang="sv-SE"/>
            </a:p>
          </p:txBody>
        </p:sp>
        <p:sp>
          <p:nvSpPr>
            <p:cNvPr id="353" name="Freeform 352">
              <a:extLst>
                <a:ext uri="{FF2B5EF4-FFF2-40B4-BE49-F238E27FC236}">
                  <a16:creationId xmlns:a16="http://schemas.microsoft.com/office/drawing/2014/main" id="{9EC62349-9C60-E443-BD79-E6404EC92806}"/>
                </a:ext>
              </a:extLst>
            </p:cNvPr>
            <p:cNvSpPr/>
            <p:nvPr/>
          </p:nvSpPr>
          <p:spPr>
            <a:xfrm>
              <a:off x="4008079"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chemeClr val="accent4"/>
              </a:solidFill>
              <a:prstDash val="solid"/>
              <a:bevel/>
            </a:ln>
          </p:spPr>
          <p:txBody>
            <a:bodyPr rtlCol="0" anchor="ctr"/>
            <a:lstStyle/>
            <a:p>
              <a:endParaRPr lang="sv-SE"/>
            </a:p>
          </p:txBody>
        </p:sp>
        <p:sp>
          <p:nvSpPr>
            <p:cNvPr id="354" name="Freeform 353">
              <a:extLst>
                <a:ext uri="{FF2B5EF4-FFF2-40B4-BE49-F238E27FC236}">
                  <a16:creationId xmlns:a16="http://schemas.microsoft.com/office/drawing/2014/main" id="{3159D670-9924-0AB8-A378-ED172185394B}"/>
                </a:ext>
              </a:extLst>
            </p:cNvPr>
            <p:cNvSpPr/>
            <p:nvPr/>
          </p:nvSpPr>
          <p:spPr>
            <a:xfrm>
              <a:off x="4002841"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chemeClr val="accent4"/>
              </a:solidFill>
              <a:prstDash val="solid"/>
              <a:bevel/>
            </a:ln>
          </p:spPr>
          <p:txBody>
            <a:bodyPr rtlCol="0" anchor="ctr"/>
            <a:lstStyle/>
            <a:p>
              <a:endParaRPr lang="sv-SE"/>
            </a:p>
          </p:txBody>
        </p:sp>
        <p:sp>
          <p:nvSpPr>
            <p:cNvPr id="355" name="Freeform 354">
              <a:extLst>
                <a:ext uri="{FF2B5EF4-FFF2-40B4-BE49-F238E27FC236}">
                  <a16:creationId xmlns:a16="http://schemas.microsoft.com/office/drawing/2014/main" id="{53CE9166-D7E2-C881-C789-B826DB5E330A}"/>
                </a:ext>
              </a:extLst>
            </p:cNvPr>
            <p:cNvSpPr/>
            <p:nvPr/>
          </p:nvSpPr>
          <p:spPr>
            <a:xfrm>
              <a:off x="4337297" y="2558463"/>
              <a:ext cx="151133" cy="610636"/>
            </a:xfrm>
            <a:custGeom>
              <a:avLst/>
              <a:gdLst>
                <a:gd name="connsiteX0" fmla="*/ 0 w 161087"/>
                <a:gd name="connsiteY0" fmla="*/ 652210 h 652210"/>
                <a:gd name="connsiteX1" fmla="*/ 29106 w 161087"/>
                <a:gd name="connsiteY1" fmla="*/ 0 h 652210"/>
                <a:gd name="connsiteX2" fmla="*/ 136805 w 161087"/>
                <a:gd name="connsiteY2" fmla="*/ 107699 h 652210"/>
                <a:gd name="connsiteX3" fmla="*/ 20434 w 161087"/>
                <a:gd name="connsiteY3" fmla="*/ 231550 h 652210"/>
                <a:gd name="connsiteX4" fmla="*/ 148513 w 161087"/>
                <a:gd name="connsiteY4" fmla="*/ 364344 h 652210"/>
                <a:gd name="connsiteX5" fmla="*/ 7371 w 161087"/>
                <a:gd name="connsiteY5" fmla="*/ 495675 h 652210"/>
                <a:gd name="connsiteX6" fmla="*/ 161088 w 161087"/>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087" h="652210">
                  <a:moveTo>
                    <a:pt x="0" y="652210"/>
                  </a:moveTo>
                  <a:lnTo>
                    <a:pt x="29106" y="0"/>
                  </a:lnTo>
                  <a:lnTo>
                    <a:pt x="136805" y="107699"/>
                  </a:lnTo>
                  <a:lnTo>
                    <a:pt x="20434" y="231550"/>
                  </a:lnTo>
                  <a:lnTo>
                    <a:pt x="148513" y="364344"/>
                  </a:lnTo>
                  <a:lnTo>
                    <a:pt x="7371" y="495675"/>
                  </a:lnTo>
                  <a:lnTo>
                    <a:pt x="161088" y="648958"/>
                  </a:lnTo>
                </a:path>
              </a:pathLst>
            </a:custGeom>
            <a:noFill/>
            <a:ln w="9525" cap="rnd">
              <a:solidFill>
                <a:schemeClr val="accent4"/>
              </a:solidFill>
              <a:prstDash val="solid"/>
              <a:bevel/>
            </a:ln>
          </p:spPr>
          <p:txBody>
            <a:bodyPr rtlCol="0" anchor="ctr"/>
            <a:lstStyle/>
            <a:p>
              <a:endParaRPr lang="sv-SE"/>
            </a:p>
          </p:txBody>
        </p:sp>
        <p:sp>
          <p:nvSpPr>
            <p:cNvPr id="356" name="Freeform 355">
              <a:extLst>
                <a:ext uri="{FF2B5EF4-FFF2-40B4-BE49-F238E27FC236}">
                  <a16:creationId xmlns:a16="http://schemas.microsoft.com/office/drawing/2014/main" id="{79694106-89C8-F011-428A-C92B28F4B62C}"/>
                </a:ext>
              </a:extLst>
            </p:cNvPr>
            <p:cNvSpPr/>
            <p:nvPr/>
          </p:nvSpPr>
          <p:spPr>
            <a:xfrm>
              <a:off x="4462140" y="2558463"/>
              <a:ext cx="27307" cy="610636"/>
            </a:xfrm>
            <a:custGeom>
              <a:avLst/>
              <a:gdLst>
                <a:gd name="connsiteX0" fmla="*/ 0 w 29106"/>
                <a:gd name="connsiteY0" fmla="*/ 0 h 652210"/>
                <a:gd name="connsiteX1" fmla="*/ 29107 w 29106"/>
                <a:gd name="connsiteY1" fmla="*/ 652210 h 652210"/>
              </a:gdLst>
              <a:ahLst/>
              <a:cxnLst>
                <a:cxn ang="0">
                  <a:pos x="connsiteX0" y="connsiteY0"/>
                </a:cxn>
                <a:cxn ang="0">
                  <a:pos x="connsiteX1" y="connsiteY1"/>
                </a:cxn>
              </a:cxnLst>
              <a:rect l="l" t="t" r="r" b="b"/>
              <a:pathLst>
                <a:path w="29106" h="652210">
                  <a:moveTo>
                    <a:pt x="0" y="0"/>
                  </a:moveTo>
                  <a:lnTo>
                    <a:pt x="29107" y="652210"/>
                  </a:lnTo>
                </a:path>
              </a:pathLst>
            </a:custGeom>
            <a:ln w="9525" cap="sq">
              <a:solidFill>
                <a:schemeClr val="accent4"/>
              </a:solidFill>
              <a:prstDash val="solid"/>
              <a:bevel/>
            </a:ln>
          </p:spPr>
          <p:txBody>
            <a:bodyPr rtlCol="0" anchor="ctr"/>
            <a:lstStyle/>
            <a:p>
              <a:endParaRPr lang="sv-SE" dirty="0"/>
            </a:p>
          </p:txBody>
        </p:sp>
        <p:sp>
          <p:nvSpPr>
            <p:cNvPr id="357" name="Freeform 356">
              <a:extLst>
                <a:ext uri="{FF2B5EF4-FFF2-40B4-BE49-F238E27FC236}">
                  <a16:creationId xmlns:a16="http://schemas.microsoft.com/office/drawing/2014/main" id="{BAAC9F52-6CF5-AD75-B465-3E6B27404A3A}"/>
                </a:ext>
              </a:extLst>
            </p:cNvPr>
            <p:cNvSpPr/>
            <p:nvPr/>
          </p:nvSpPr>
          <p:spPr>
            <a:xfrm>
              <a:off x="4359983"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chemeClr val="accent4"/>
              </a:solidFill>
              <a:prstDash val="solid"/>
              <a:bevel/>
            </a:ln>
          </p:spPr>
          <p:txBody>
            <a:bodyPr rtlCol="0" anchor="ctr"/>
            <a:lstStyle/>
            <a:p>
              <a:endParaRPr lang="sv-SE"/>
            </a:p>
          </p:txBody>
        </p:sp>
        <p:sp>
          <p:nvSpPr>
            <p:cNvPr id="358" name="Freeform 357">
              <a:extLst>
                <a:ext uri="{FF2B5EF4-FFF2-40B4-BE49-F238E27FC236}">
                  <a16:creationId xmlns:a16="http://schemas.microsoft.com/office/drawing/2014/main" id="{FB5C7380-F6AE-A262-B6F3-49324E703EAF}"/>
                </a:ext>
              </a:extLst>
            </p:cNvPr>
            <p:cNvSpPr/>
            <p:nvPr/>
          </p:nvSpPr>
          <p:spPr>
            <a:xfrm>
              <a:off x="4356468"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chemeClr val="accent4"/>
              </a:solidFill>
              <a:prstDash val="solid"/>
              <a:bevel/>
            </a:ln>
          </p:spPr>
          <p:txBody>
            <a:bodyPr rtlCol="0" anchor="ctr"/>
            <a:lstStyle/>
            <a:p>
              <a:endParaRPr lang="sv-SE"/>
            </a:p>
          </p:txBody>
        </p:sp>
        <p:sp>
          <p:nvSpPr>
            <p:cNvPr id="359" name="Freeform 358">
              <a:extLst>
                <a:ext uri="{FF2B5EF4-FFF2-40B4-BE49-F238E27FC236}">
                  <a16:creationId xmlns:a16="http://schemas.microsoft.com/office/drawing/2014/main" id="{ED28893E-7487-E7FE-DEB2-B7C6A43AD7C3}"/>
                </a:ext>
              </a:extLst>
            </p:cNvPr>
            <p:cNvSpPr/>
            <p:nvPr/>
          </p:nvSpPr>
          <p:spPr>
            <a:xfrm>
              <a:off x="4349451"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chemeClr val="accent4"/>
              </a:solidFill>
              <a:prstDash val="solid"/>
              <a:bevel/>
            </a:ln>
          </p:spPr>
          <p:txBody>
            <a:bodyPr rtlCol="0" anchor="ctr"/>
            <a:lstStyle/>
            <a:p>
              <a:endParaRPr lang="sv-SE"/>
            </a:p>
          </p:txBody>
        </p:sp>
        <p:sp>
          <p:nvSpPr>
            <p:cNvPr id="360" name="Freeform 359">
              <a:extLst>
                <a:ext uri="{FF2B5EF4-FFF2-40B4-BE49-F238E27FC236}">
                  <a16:creationId xmlns:a16="http://schemas.microsoft.com/office/drawing/2014/main" id="{AE0A0123-42A5-D960-D234-2E26E81292D3}"/>
                </a:ext>
              </a:extLst>
            </p:cNvPr>
            <p:cNvSpPr/>
            <p:nvPr/>
          </p:nvSpPr>
          <p:spPr>
            <a:xfrm>
              <a:off x="4344214"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chemeClr val="accent4"/>
              </a:solidFill>
              <a:prstDash val="solid"/>
              <a:bevel/>
            </a:ln>
          </p:spPr>
          <p:txBody>
            <a:bodyPr rtlCol="0" anchor="ctr"/>
            <a:lstStyle/>
            <a:p>
              <a:endParaRPr lang="sv-SE"/>
            </a:p>
          </p:txBody>
        </p:sp>
        <p:sp>
          <p:nvSpPr>
            <p:cNvPr id="361" name="Freeform 360">
              <a:extLst>
                <a:ext uri="{FF2B5EF4-FFF2-40B4-BE49-F238E27FC236}">
                  <a16:creationId xmlns:a16="http://schemas.microsoft.com/office/drawing/2014/main" id="{96B6FAB9-7B79-5526-12F1-0813D67AD4A7}"/>
                </a:ext>
              </a:extLst>
            </p:cNvPr>
            <p:cNvSpPr/>
            <p:nvPr/>
          </p:nvSpPr>
          <p:spPr>
            <a:xfrm>
              <a:off x="3940598"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chemeClr val="accent4"/>
              </a:solidFill>
              <a:prstDash val="solid"/>
              <a:bevel/>
            </a:ln>
          </p:spPr>
          <p:txBody>
            <a:bodyPr rtlCol="0" anchor="ctr"/>
            <a:lstStyle/>
            <a:p>
              <a:endParaRPr lang="sv-SE"/>
            </a:p>
          </p:txBody>
        </p:sp>
        <p:sp>
          <p:nvSpPr>
            <p:cNvPr id="362" name="Freeform 361">
              <a:extLst>
                <a:ext uri="{FF2B5EF4-FFF2-40B4-BE49-F238E27FC236}">
                  <a16:creationId xmlns:a16="http://schemas.microsoft.com/office/drawing/2014/main" id="{5A540067-4C21-3C1D-D0CE-CB50A6892615}"/>
                </a:ext>
              </a:extLst>
            </p:cNvPr>
            <p:cNvSpPr/>
            <p:nvPr/>
          </p:nvSpPr>
          <p:spPr>
            <a:xfrm>
              <a:off x="4281970"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chemeClr val="accent4"/>
              </a:solidFill>
              <a:prstDash val="solid"/>
              <a:bevel/>
            </a:ln>
          </p:spPr>
          <p:txBody>
            <a:bodyPr rtlCol="0" anchor="ctr"/>
            <a:lstStyle/>
            <a:p>
              <a:endParaRPr lang="sv-SE"/>
            </a:p>
          </p:txBody>
        </p:sp>
      </p:grpSp>
      <p:sp>
        <p:nvSpPr>
          <p:cNvPr id="379" name="TextBox 378">
            <a:extLst>
              <a:ext uri="{FF2B5EF4-FFF2-40B4-BE49-F238E27FC236}">
                <a16:creationId xmlns:a16="http://schemas.microsoft.com/office/drawing/2014/main" id="{9A3A6A3B-456A-85F1-CB5B-A74A85DCD4C8}"/>
              </a:ext>
            </a:extLst>
          </p:cNvPr>
          <p:cNvSpPr txBox="1"/>
          <p:nvPr/>
        </p:nvSpPr>
        <p:spPr>
          <a:xfrm>
            <a:off x="4592566" y="178894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accent4"/>
                </a:solidFill>
              </a:rPr>
              <a:t>FOSSILFRI EL</a:t>
            </a:r>
            <a:endParaRPr lang="sv-SE" sz="800" baseline="-25000" dirty="0">
              <a:solidFill>
                <a:schemeClr val="accent4"/>
              </a:solidFill>
            </a:endParaRPr>
          </a:p>
        </p:txBody>
      </p:sp>
      <p:sp>
        <p:nvSpPr>
          <p:cNvPr id="380" name="TextBox 379">
            <a:extLst>
              <a:ext uri="{FF2B5EF4-FFF2-40B4-BE49-F238E27FC236}">
                <a16:creationId xmlns:a16="http://schemas.microsoft.com/office/drawing/2014/main" id="{7B578514-7FAA-0D84-12FD-BA779F3EF0E5}"/>
              </a:ext>
            </a:extLst>
          </p:cNvPr>
          <p:cNvSpPr txBox="1"/>
          <p:nvPr/>
        </p:nvSpPr>
        <p:spPr>
          <a:xfrm>
            <a:off x="3163298" y="4174826"/>
            <a:ext cx="823660" cy="295008"/>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KOMPRESSOR-</a:t>
            </a:r>
            <a:br>
              <a:rPr lang="sv-SE" sz="800" dirty="0">
                <a:solidFill>
                  <a:schemeClr val="bg1"/>
                </a:solidFill>
              </a:rPr>
            </a:br>
            <a:r>
              <a:rPr lang="sv-SE" sz="800" dirty="0">
                <a:solidFill>
                  <a:schemeClr val="bg1"/>
                </a:solidFill>
              </a:rPr>
              <a:t>STATION</a:t>
            </a:r>
            <a:endParaRPr lang="sv-SE" sz="800" baseline="-25000" dirty="0">
              <a:solidFill>
                <a:schemeClr val="bg1"/>
              </a:solidFill>
            </a:endParaRPr>
          </a:p>
        </p:txBody>
      </p:sp>
      <p:sp>
        <p:nvSpPr>
          <p:cNvPr id="382" name="TextBox 381">
            <a:extLst>
              <a:ext uri="{FF2B5EF4-FFF2-40B4-BE49-F238E27FC236}">
                <a16:creationId xmlns:a16="http://schemas.microsoft.com/office/drawing/2014/main" id="{DF7EC074-9FBE-AFAD-426E-93DA94B1AE7E}"/>
              </a:ext>
            </a:extLst>
          </p:cNvPr>
          <p:cNvSpPr txBox="1"/>
          <p:nvPr/>
        </p:nvSpPr>
        <p:spPr>
          <a:xfrm>
            <a:off x="9659724"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INDUSTRI</a:t>
            </a:r>
            <a:endParaRPr lang="sv-SE" sz="800" baseline="-25000" dirty="0">
              <a:solidFill>
                <a:schemeClr val="bg1"/>
              </a:solidFill>
            </a:endParaRPr>
          </a:p>
        </p:txBody>
      </p:sp>
      <p:sp>
        <p:nvSpPr>
          <p:cNvPr id="383" name="TextBox 382">
            <a:extLst>
              <a:ext uri="{FF2B5EF4-FFF2-40B4-BE49-F238E27FC236}">
                <a16:creationId xmlns:a16="http://schemas.microsoft.com/office/drawing/2014/main" id="{8A015A77-7A68-3C4F-7031-7252EA7446EB}"/>
              </a:ext>
            </a:extLst>
          </p:cNvPr>
          <p:cNvSpPr txBox="1"/>
          <p:nvPr/>
        </p:nvSpPr>
        <p:spPr>
          <a:xfrm>
            <a:off x="6799830" y="270598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accent4"/>
                </a:solidFill>
              </a:rPr>
              <a:t>VATTEN</a:t>
            </a:r>
            <a:endParaRPr lang="sv-SE" sz="800" baseline="-25000" dirty="0">
              <a:solidFill>
                <a:schemeClr val="accent4"/>
              </a:solidFill>
            </a:endParaRPr>
          </a:p>
        </p:txBody>
      </p:sp>
      <p:sp>
        <p:nvSpPr>
          <p:cNvPr id="384" name="TextBox 383">
            <a:extLst>
              <a:ext uri="{FF2B5EF4-FFF2-40B4-BE49-F238E27FC236}">
                <a16:creationId xmlns:a16="http://schemas.microsoft.com/office/drawing/2014/main" id="{D557008A-18BB-DD59-D294-96167C642866}"/>
              </a:ext>
            </a:extLst>
          </p:cNvPr>
          <p:cNvSpPr txBox="1"/>
          <p:nvPr/>
        </p:nvSpPr>
        <p:spPr>
          <a:xfrm>
            <a:off x="10209852" y="2088779"/>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VATTEN</a:t>
            </a:r>
            <a:endParaRPr lang="sv-SE" sz="800" baseline="-25000" dirty="0">
              <a:solidFill>
                <a:schemeClr val="bg1"/>
              </a:solidFill>
            </a:endParaRPr>
          </a:p>
        </p:txBody>
      </p:sp>
      <p:sp>
        <p:nvSpPr>
          <p:cNvPr id="385" name="TextBox 384">
            <a:extLst>
              <a:ext uri="{FF2B5EF4-FFF2-40B4-BE49-F238E27FC236}">
                <a16:creationId xmlns:a16="http://schemas.microsoft.com/office/drawing/2014/main" id="{7D9A6ABA-3CD0-0D1B-F302-EA9103E4427F}"/>
              </a:ext>
            </a:extLst>
          </p:cNvPr>
          <p:cNvSpPr txBox="1"/>
          <p:nvPr/>
        </p:nvSpPr>
        <p:spPr>
          <a:xfrm>
            <a:off x="3237201" y="5422869"/>
            <a:ext cx="1031329" cy="295008"/>
          </a:xfrm>
          <a:prstGeom prst="rect">
            <a:avLst/>
          </a:prstGeom>
          <a:noFill/>
        </p:spPr>
        <p:txBody>
          <a:bodyPr wrap="square" lIns="0" tIns="36000" rIns="0" bIns="36000" rtlCol="0" anchor="t">
            <a:spAutoFit/>
          </a:bodyPr>
          <a:lstStyle/>
          <a:p>
            <a:pPr>
              <a:lnSpc>
                <a:spcPct val="90000"/>
              </a:lnSpc>
            </a:pPr>
            <a:r>
              <a:rPr lang="sv-SE" sz="800" dirty="0">
                <a:solidFill>
                  <a:schemeClr val="bg1"/>
                </a:solidFill>
              </a:rPr>
              <a:t>VÄTGASLAGER</a:t>
            </a:r>
          </a:p>
          <a:p>
            <a:pPr>
              <a:lnSpc>
                <a:spcPct val="90000"/>
              </a:lnSpc>
            </a:pPr>
            <a:r>
              <a:rPr lang="sv-SE" sz="800" dirty="0">
                <a:solidFill>
                  <a:schemeClr val="bg1"/>
                </a:solidFill>
              </a:rPr>
              <a:t>LINED ROCK CAVERN</a:t>
            </a:r>
            <a:endParaRPr lang="sv-SE" sz="800" baseline="-25000" dirty="0">
              <a:solidFill>
                <a:schemeClr val="bg1"/>
              </a:solidFill>
            </a:endParaRPr>
          </a:p>
        </p:txBody>
      </p:sp>
      <p:sp>
        <p:nvSpPr>
          <p:cNvPr id="188" name="Freeform 187">
            <a:extLst>
              <a:ext uri="{FF2B5EF4-FFF2-40B4-BE49-F238E27FC236}">
                <a16:creationId xmlns:a16="http://schemas.microsoft.com/office/drawing/2014/main" id="{641FA2A4-FFE0-4362-84BA-075A4FD5D373}"/>
              </a:ext>
            </a:extLst>
          </p:cNvPr>
          <p:cNvSpPr/>
          <p:nvPr/>
        </p:nvSpPr>
        <p:spPr>
          <a:xfrm>
            <a:off x="9023407" y="2730535"/>
            <a:ext cx="2087829" cy="1356681"/>
          </a:xfrm>
          <a:custGeom>
            <a:avLst/>
            <a:gdLst>
              <a:gd name="connsiteX0" fmla="*/ 1980228 w 2087829"/>
              <a:gd name="connsiteY0" fmla="*/ 575106 h 1356681"/>
              <a:gd name="connsiteX1" fmla="*/ 1789925 w 2087829"/>
              <a:gd name="connsiteY1" fmla="*/ 575106 h 1356681"/>
              <a:gd name="connsiteX2" fmla="*/ 1789925 w 2087829"/>
              <a:gd name="connsiteY2" fmla="*/ 0 h 1356681"/>
              <a:gd name="connsiteX3" fmla="*/ 1665136 w 2087829"/>
              <a:gd name="connsiteY3" fmla="*/ 0 h 1356681"/>
              <a:gd name="connsiteX4" fmla="*/ 1665136 w 2087829"/>
              <a:gd name="connsiteY4" fmla="*/ 575106 h 1356681"/>
              <a:gd name="connsiteX5" fmla="*/ 1534675 w 2087829"/>
              <a:gd name="connsiteY5" fmla="*/ 575106 h 1356681"/>
              <a:gd name="connsiteX6" fmla="*/ 1534675 w 2087829"/>
              <a:gd name="connsiteY6" fmla="*/ 0 h 1356681"/>
              <a:gd name="connsiteX7" fmla="*/ 1409886 w 2087829"/>
              <a:gd name="connsiteY7" fmla="*/ 0 h 1356681"/>
              <a:gd name="connsiteX8" fmla="*/ 1409886 w 2087829"/>
              <a:gd name="connsiteY8" fmla="*/ 575106 h 1356681"/>
              <a:gd name="connsiteX9" fmla="*/ 754802 w 2087829"/>
              <a:gd name="connsiteY9" fmla="*/ 575106 h 1356681"/>
              <a:gd name="connsiteX10" fmla="*/ 754802 w 2087829"/>
              <a:gd name="connsiteY10" fmla="*/ 487811 h 1356681"/>
              <a:gd name="connsiteX11" fmla="*/ 754802 w 2087829"/>
              <a:gd name="connsiteY11" fmla="*/ 380209 h 1356681"/>
              <a:gd name="connsiteX12" fmla="*/ 107602 w 2087829"/>
              <a:gd name="connsiteY12" fmla="*/ 380209 h 1356681"/>
              <a:gd name="connsiteX13" fmla="*/ 0 w 2087829"/>
              <a:gd name="connsiteY13" fmla="*/ 487811 h 1356681"/>
              <a:gd name="connsiteX14" fmla="*/ 0 w 2087829"/>
              <a:gd name="connsiteY14" fmla="*/ 575106 h 1356681"/>
              <a:gd name="connsiteX15" fmla="*/ 0 w 2087829"/>
              <a:gd name="connsiteY15" fmla="*/ 682708 h 1356681"/>
              <a:gd name="connsiteX16" fmla="*/ 0 w 2087829"/>
              <a:gd name="connsiteY16" fmla="*/ 1338190 h 1356681"/>
              <a:gd name="connsiteX17" fmla="*/ 0 w 2087829"/>
              <a:gd name="connsiteY17" fmla="*/ 1356681 h 1356681"/>
              <a:gd name="connsiteX18" fmla="*/ 2087830 w 2087829"/>
              <a:gd name="connsiteY18" fmla="*/ 1356681 h 1356681"/>
              <a:gd name="connsiteX19" fmla="*/ 2087830 w 2087829"/>
              <a:gd name="connsiteY19" fmla="*/ 682708 h 1356681"/>
              <a:gd name="connsiteX20" fmla="*/ 1980228 w 2087829"/>
              <a:gd name="connsiteY20" fmla="*/ 575106 h 135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87829" h="1356681">
                <a:moveTo>
                  <a:pt x="1980228" y="575106"/>
                </a:moveTo>
                <a:lnTo>
                  <a:pt x="1789925" y="575106"/>
                </a:lnTo>
                <a:lnTo>
                  <a:pt x="1789925" y="0"/>
                </a:lnTo>
                <a:lnTo>
                  <a:pt x="1665136" y="0"/>
                </a:lnTo>
                <a:lnTo>
                  <a:pt x="1665136" y="575106"/>
                </a:lnTo>
                <a:lnTo>
                  <a:pt x="1534675" y="575106"/>
                </a:lnTo>
                <a:lnTo>
                  <a:pt x="1534675" y="0"/>
                </a:lnTo>
                <a:lnTo>
                  <a:pt x="1409886" y="0"/>
                </a:lnTo>
                <a:lnTo>
                  <a:pt x="1409886" y="575106"/>
                </a:lnTo>
                <a:lnTo>
                  <a:pt x="754802" y="575106"/>
                </a:lnTo>
                <a:lnTo>
                  <a:pt x="754802" y="487811"/>
                </a:lnTo>
                <a:lnTo>
                  <a:pt x="754802" y="380209"/>
                </a:lnTo>
                <a:lnTo>
                  <a:pt x="107602" y="380209"/>
                </a:lnTo>
                <a:lnTo>
                  <a:pt x="0" y="487811"/>
                </a:lnTo>
                <a:lnTo>
                  <a:pt x="0" y="575106"/>
                </a:lnTo>
                <a:lnTo>
                  <a:pt x="0" y="682708"/>
                </a:lnTo>
                <a:lnTo>
                  <a:pt x="0" y="1338190"/>
                </a:lnTo>
                <a:lnTo>
                  <a:pt x="0" y="1356681"/>
                </a:lnTo>
                <a:lnTo>
                  <a:pt x="2087830" y="1356681"/>
                </a:lnTo>
                <a:lnTo>
                  <a:pt x="2087830" y="682708"/>
                </a:lnTo>
                <a:lnTo>
                  <a:pt x="1980228" y="575106"/>
                </a:lnTo>
                <a:close/>
              </a:path>
            </a:pathLst>
          </a:custGeom>
          <a:solidFill>
            <a:srgbClr val="FFFFFF"/>
          </a:solidFill>
          <a:ln w="0" cap="flat">
            <a:noFill/>
            <a:prstDash val="solid"/>
            <a:miter/>
          </a:ln>
        </p:spPr>
        <p:txBody>
          <a:bodyPr rtlCol="0" anchor="ctr"/>
          <a:lstStyle/>
          <a:p>
            <a:endParaRPr lang="sv-SE"/>
          </a:p>
        </p:txBody>
      </p:sp>
      <p:sp>
        <p:nvSpPr>
          <p:cNvPr id="189" name="Freeform 188">
            <a:extLst>
              <a:ext uri="{FF2B5EF4-FFF2-40B4-BE49-F238E27FC236}">
                <a16:creationId xmlns:a16="http://schemas.microsoft.com/office/drawing/2014/main" id="{CD2DEF0D-A7D7-4DFB-080E-5A839F27F5A4}"/>
              </a:ext>
            </a:extLst>
          </p:cNvPr>
          <p:cNvSpPr/>
          <p:nvPr/>
        </p:nvSpPr>
        <p:spPr>
          <a:xfrm>
            <a:off x="2744206" y="4087216"/>
            <a:ext cx="9446850" cy="0"/>
          </a:xfrm>
          <a:custGeom>
            <a:avLst/>
            <a:gdLst>
              <a:gd name="connsiteX0" fmla="*/ 0 w 9446850"/>
              <a:gd name="connsiteY0" fmla="*/ 0 h 5672"/>
              <a:gd name="connsiteX1" fmla="*/ 9446851 w 9446850"/>
              <a:gd name="connsiteY1" fmla="*/ 0 h 5672"/>
            </a:gdLst>
            <a:ahLst/>
            <a:cxnLst>
              <a:cxn ang="0">
                <a:pos x="connsiteX0" y="connsiteY0"/>
              </a:cxn>
              <a:cxn ang="0">
                <a:pos x="connsiteX1" y="connsiteY1"/>
              </a:cxn>
            </a:cxnLst>
            <a:rect l="l" t="t" r="r" b="b"/>
            <a:pathLst>
              <a:path w="9446850" h="5672">
                <a:moveTo>
                  <a:pt x="0" y="0"/>
                </a:moveTo>
                <a:lnTo>
                  <a:pt x="9446851" y="0"/>
                </a:lnTo>
              </a:path>
            </a:pathLst>
          </a:custGeom>
          <a:ln w="9525" cap="flat">
            <a:solidFill>
              <a:srgbClr val="FFFFFF"/>
            </a:solidFill>
            <a:prstDash val="solid"/>
            <a:miter/>
          </a:ln>
        </p:spPr>
        <p:txBody>
          <a:bodyPr rtlCol="0" anchor="ctr"/>
          <a:lstStyle/>
          <a:p>
            <a:endParaRPr lang="sv-SE"/>
          </a:p>
        </p:txBody>
      </p:sp>
      <p:sp>
        <p:nvSpPr>
          <p:cNvPr id="190" name="Freeform 189">
            <a:extLst>
              <a:ext uri="{FF2B5EF4-FFF2-40B4-BE49-F238E27FC236}">
                <a16:creationId xmlns:a16="http://schemas.microsoft.com/office/drawing/2014/main" id="{86D87DF5-182E-73FA-E8D9-34FC3DF326F4}"/>
              </a:ext>
            </a:extLst>
          </p:cNvPr>
          <p:cNvSpPr/>
          <p:nvPr/>
        </p:nvSpPr>
        <p:spPr>
          <a:xfrm>
            <a:off x="-5" y="4087216"/>
            <a:ext cx="2617200" cy="0"/>
          </a:xfrm>
          <a:custGeom>
            <a:avLst/>
            <a:gdLst>
              <a:gd name="connsiteX0" fmla="*/ 0 w 1318336"/>
              <a:gd name="connsiteY0" fmla="*/ 0 h 5672"/>
              <a:gd name="connsiteX1" fmla="*/ 1318337 w 1318336"/>
              <a:gd name="connsiteY1" fmla="*/ 0 h 5672"/>
            </a:gdLst>
            <a:ahLst/>
            <a:cxnLst>
              <a:cxn ang="0">
                <a:pos x="connsiteX0" y="connsiteY0"/>
              </a:cxn>
              <a:cxn ang="0">
                <a:pos x="connsiteX1" y="connsiteY1"/>
              </a:cxn>
            </a:cxnLst>
            <a:rect l="l" t="t" r="r" b="b"/>
            <a:pathLst>
              <a:path w="1318336" h="5672">
                <a:moveTo>
                  <a:pt x="0" y="0"/>
                </a:moveTo>
                <a:lnTo>
                  <a:pt x="1318337" y="0"/>
                </a:lnTo>
              </a:path>
            </a:pathLst>
          </a:custGeom>
          <a:ln w="9525" cap="flat">
            <a:solidFill>
              <a:srgbClr val="FFFFFF"/>
            </a:solidFill>
            <a:prstDash val="solid"/>
            <a:miter/>
          </a:ln>
        </p:spPr>
        <p:txBody>
          <a:bodyPr rtlCol="0" anchor="ctr"/>
          <a:lstStyle/>
          <a:p>
            <a:endParaRPr lang="sv-SE"/>
          </a:p>
        </p:txBody>
      </p:sp>
      <p:sp>
        <p:nvSpPr>
          <p:cNvPr id="256" name="Freeform 255">
            <a:extLst>
              <a:ext uri="{FF2B5EF4-FFF2-40B4-BE49-F238E27FC236}">
                <a16:creationId xmlns:a16="http://schemas.microsoft.com/office/drawing/2014/main" id="{F366C6F8-0472-7C29-1154-7E6429C5AFF7}"/>
              </a:ext>
            </a:extLst>
          </p:cNvPr>
          <p:cNvSpPr/>
          <p:nvPr/>
        </p:nvSpPr>
        <p:spPr>
          <a:xfrm>
            <a:off x="10388596"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3" name="Freeform 262">
            <a:extLst>
              <a:ext uri="{FF2B5EF4-FFF2-40B4-BE49-F238E27FC236}">
                <a16:creationId xmlns:a16="http://schemas.microsoft.com/office/drawing/2014/main" id="{83E567E0-147A-0444-C844-CE3134EC095E}"/>
              </a:ext>
            </a:extLst>
          </p:cNvPr>
          <p:cNvSpPr/>
          <p:nvPr/>
        </p:nvSpPr>
        <p:spPr>
          <a:xfrm>
            <a:off x="10570107"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4" name="Freeform 263">
            <a:extLst>
              <a:ext uri="{FF2B5EF4-FFF2-40B4-BE49-F238E27FC236}">
                <a16:creationId xmlns:a16="http://schemas.microsoft.com/office/drawing/2014/main" id="{CD55B276-224A-FC9A-27E3-2502CA788BC7}"/>
              </a:ext>
            </a:extLst>
          </p:cNvPr>
          <p:cNvSpPr/>
          <p:nvPr/>
        </p:nvSpPr>
        <p:spPr>
          <a:xfrm>
            <a:off x="10751618"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5" name="Freeform 264">
            <a:extLst>
              <a:ext uri="{FF2B5EF4-FFF2-40B4-BE49-F238E27FC236}">
                <a16:creationId xmlns:a16="http://schemas.microsoft.com/office/drawing/2014/main" id="{E99D3C2A-AD5E-EBDA-C3C4-206E2416865B}"/>
              </a:ext>
            </a:extLst>
          </p:cNvPr>
          <p:cNvSpPr/>
          <p:nvPr/>
        </p:nvSpPr>
        <p:spPr>
          <a:xfrm>
            <a:off x="960271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6" name="Freeform 265">
            <a:extLst>
              <a:ext uri="{FF2B5EF4-FFF2-40B4-BE49-F238E27FC236}">
                <a16:creationId xmlns:a16="http://schemas.microsoft.com/office/drawing/2014/main" id="{35560ED7-4403-76FE-9C1D-272DB2FA5EFE}"/>
              </a:ext>
            </a:extLst>
          </p:cNvPr>
          <p:cNvSpPr/>
          <p:nvPr/>
        </p:nvSpPr>
        <p:spPr>
          <a:xfrm>
            <a:off x="955132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7" name="Freeform 266">
            <a:extLst>
              <a:ext uri="{FF2B5EF4-FFF2-40B4-BE49-F238E27FC236}">
                <a16:creationId xmlns:a16="http://schemas.microsoft.com/office/drawing/2014/main" id="{4669DE3F-1FD2-F60B-94A9-017FDC568F90}"/>
              </a:ext>
            </a:extLst>
          </p:cNvPr>
          <p:cNvSpPr/>
          <p:nvPr/>
        </p:nvSpPr>
        <p:spPr>
          <a:xfrm>
            <a:off x="949993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8" name="Freeform 267">
            <a:extLst>
              <a:ext uri="{FF2B5EF4-FFF2-40B4-BE49-F238E27FC236}">
                <a16:creationId xmlns:a16="http://schemas.microsoft.com/office/drawing/2014/main" id="{1738E41A-D094-AA25-279A-0B1DE338B103}"/>
              </a:ext>
            </a:extLst>
          </p:cNvPr>
          <p:cNvSpPr/>
          <p:nvPr/>
        </p:nvSpPr>
        <p:spPr>
          <a:xfrm>
            <a:off x="944853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9" name="Freeform 268">
            <a:extLst>
              <a:ext uri="{FF2B5EF4-FFF2-40B4-BE49-F238E27FC236}">
                <a16:creationId xmlns:a16="http://schemas.microsoft.com/office/drawing/2014/main" id="{C8B5E2ED-10F7-5E16-75E8-024D72224417}"/>
              </a:ext>
            </a:extLst>
          </p:cNvPr>
          <p:cNvSpPr/>
          <p:nvPr/>
        </p:nvSpPr>
        <p:spPr>
          <a:xfrm>
            <a:off x="939714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12" name="Freeform 11">
            <a:extLst>
              <a:ext uri="{FF2B5EF4-FFF2-40B4-BE49-F238E27FC236}">
                <a16:creationId xmlns:a16="http://schemas.microsoft.com/office/drawing/2014/main" id="{FE24AD71-7392-E186-BEFC-288139A7DE80}"/>
              </a:ext>
            </a:extLst>
          </p:cNvPr>
          <p:cNvSpPr/>
          <p:nvPr/>
        </p:nvSpPr>
        <p:spPr>
          <a:xfrm>
            <a:off x="2667800" y="3893043"/>
            <a:ext cx="6359860" cy="1533837"/>
          </a:xfrm>
          <a:custGeom>
            <a:avLst/>
            <a:gdLst>
              <a:gd name="connsiteX0" fmla="*/ 16960 w 6359860"/>
              <a:gd name="connsiteY0" fmla="*/ 1505760 h 1533837"/>
              <a:gd name="connsiteX1" fmla="*/ 19626 w 6359860"/>
              <a:gd name="connsiteY1" fmla="*/ 1506554 h 1533837"/>
              <a:gd name="connsiteX2" fmla="*/ 22065 w 6359860"/>
              <a:gd name="connsiteY2" fmla="*/ 1507859 h 1533837"/>
              <a:gd name="connsiteX3" fmla="*/ 24220 w 6359860"/>
              <a:gd name="connsiteY3" fmla="*/ 1509674 h 1533837"/>
              <a:gd name="connsiteX4" fmla="*/ 25979 w 6359860"/>
              <a:gd name="connsiteY4" fmla="*/ 1511829 h 1533837"/>
              <a:gd name="connsiteX5" fmla="*/ 27283 w 6359860"/>
              <a:gd name="connsiteY5" fmla="*/ 1514268 h 1533837"/>
              <a:gd name="connsiteX6" fmla="*/ 28077 w 6359860"/>
              <a:gd name="connsiteY6" fmla="*/ 1516877 h 1533837"/>
              <a:gd name="connsiteX7" fmla="*/ 28361 w 6359860"/>
              <a:gd name="connsiteY7" fmla="*/ 1519657 h 1533837"/>
              <a:gd name="connsiteX8" fmla="*/ 24220 w 6359860"/>
              <a:gd name="connsiteY8" fmla="*/ 1529697 h 1533837"/>
              <a:gd name="connsiteX9" fmla="*/ 22065 w 6359860"/>
              <a:gd name="connsiteY9" fmla="*/ 1531455 h 1533837"/>
              <a:gd name="connsiteX10" fmla="*/ 19626 w 6359860"/>
              <a:gd name="connsiteY10" fmla="*/ 1532760 h 1533837"/>
              <a:gd name="connsiteX11" fmla="*/ 16960 w 6359860"/>
              <a:gd name="connsiteY11" fmla="*/ 1533554 h 1533837"/>
              <a:gd name="connsiteX12" fmla="*/ 14181 w 6359860"/>
              <a:gd name="connsiteY12" fmla="*/ 1533837 h 1533837"/>
              <a:gd name="connsiteX13" fmla="*/ 4141 w 6359860"/>
              <a:gd name="connsiteY13" fmla="*/ 1529697 h 1533837"/>
              <a:gd name="connsiteX14" fmla="*/ 0 w 6359860"/>
              <a:gd name="connsiteY14" fmla="*/ 1519657 h 1533837"/>
              <a:gd name="connsiteX15" fmla="*/ 284 w 6359860"/>
              <a:gd name="connsiteY15" fmla="*/ 1516877 h 1533837"/>
              <a:gd name="connsiteX16" fmla="*/ 1078 w 6359860"/>
              <a:gd name="connsiteY16" fmla="*/ 1514268 h 1533837"/>
              <a:gd name="connsiteX17" fmla="*/ 2382 w 6359860"/>
              <a:gd name="connsiteY17" fmla="*/ 1511829 h 1533837"/>
              <a:gd name="connsiteX18" fmla="*/ 4141 w 6359860"/>
              <a:gd name="connsiteY18" fmla="*/ 1509674 h 1533837"/>
              <a:gd name="connsiteX19" fmla="*/ 16960 w 6359860"/>
              <a:gd name="connsiteY19" fmla="*/ 1505760 h 1533837"/>
              <a:gd name="connsiteX20" fmla="*/ 14181 w 6359860"/>
              <a:gd name="connsiteY20" fmla="*/ 1448130 h 1533837"/>
              <a:gd name="connsiteX21" fmla="*/ 28361 w 6359860"/>
              <a:gd name="connsiteY21" fmla="*/ 1462311 h 1533837"/>
              <a:gd name="connsiteX22" fmla="*/ 14181 w 6359860"/>
              <a:gd name="connsiteY22" fmla="*/ 1476491 h 1533837"/>
              <a:gd name="connsiteX23" fmla="*/ 0 w 6359860"/>
              <a:gd name="connsiteY23" fmla="*/ 1462311 h 1533837"/>
              <a:gd name="connsiteX24" fmla="*/ 14181 w 6359860"/>
              <a:gd name="connsiteY24" fmla="*/ 1448130 h 1533837"/>
              <a:gd name="connsiteX25" fmla="*/ 14181 w 6359860"/>
              <a:gd name="connsiteY25" fmla="*/ 1390727 h 1533837"/>
              <a:gd name="connsiteX26" fmla="*/ 28361 w 6359860"/>
              <a:gd name="connsiteY26" fmla="*/ 1404908 h 1533837"/>
              <a:gd name="connsiteX27" fmla="*/ 14181 w 6359860"/>
              <a:gd name="connsiteY27" fmla="*/ 1419089 h 1533837"/>
              <a:gd name="connsiteX28" fmla="*/ 0 w 6359860"/>
              <a:gd name="connsiteY28" fmla="*/ 1404908 h 1533837"/>
              <a:gd name="connsiteX29" fmla="*/ 14181 w 6359860"/>
              <a:gd name="connsiteY29" fmla="*/ 1390727 h 1533837"/>
              <a:gd name="connsiteX30" fmla="*/ 14181 w 6359860"/>
              <a:gd name="connsiteY30" fmla="*/ 1333325 h 1533837"/>
              <a:gd name="connsiteX31" fmla="*/ 28361 w 6359860"/>
              <a:gd name="connsiteY31" fmla="*/ 1347562 h 1533837"/>
              <a:gd name="connsiteX32" fmla="*/ 14181 w 6359860"/>
              <a:gd name="connsiteY32" fmla="*/ 1361742 h 1533837"/>
              <a:gd name="connsiteX33" fmla="*/ 0 w 6359860"/>
              <a:gd name="connsiteY33" fmla="*/ 1347562 h 1533837"/>
              <a:gd name="connsiteX34" fmla="*/ 14181 w 6359860"/>
              <a:gd name="connsiteY34" fmla="*/ 1333325 h 1533837"/>
              <a:gd name="connsiteX35" fmla="*/ 14181 w 6359860"/>
              <a:gd name="connsiteY35" fmla="*/ 1275979 h 1533837"/>
              <a:gd name="connsiteX36" fmla="*/ 28361 w 6359860"/>
              <a:gd name="connsiteY36" fmla="*/ 1290159 h 1533837"/>
              <a:gd name="connsiteX37" fmla="*/ 14181 w 6359860"/>
              <a:gd name="connsiteY37" fmla="*/ 1304340 h 1533837"/>
              <a:gd name="connsiteX38" fmla="*/ 0 w 6359860"/>
              <a:gd name="connsiteY38" fmla="*/ 1290159 h 1533837"/>
              <a:gd name="connsiteX39" fmla="*/ 14181 w 6359860"/>
              <a:gd name="connsiteY39" fmla="*/ 1275979 h 1533837"/>
              <a:gd name="connsiteX40" fmla="*/ 14181 w 6359860"/>
              <a:gd name="connsiteY40" fmla="*/ 1218576 h 1533837"/>
              <a:gd name="connsiteX41" fmla="*/ 28361 w 6359860"/>
              <a:gd name="connsiteY41" fmla="*/ 1232813 h 1533837"/>
              <a:gd name="connsiteX42" fmla="*/ 14181 w 6359860"/>
              <a:gd name="connsiteY42" fmla="*/ 1246937 h 1533837"/>
              <a:gd name="connsiteX43" fmla="*/ 0 w 6359860"/>
              <a:gd name="connsiteY43" fmla="*/ 1232813 h 1533837"/>
              <a:gd name="connsiteX44" fmla="*/ 14181 w 6359860"/>
              <a:gd name="connsiteY44" fmla="*/ 1218576 h 1533837"/>
              <a:gd name="connsiteX45" fmla="*/ 14181 w 6359860"/>
              <a:gd name="connsiteY45" fmla="*/ 1161230 h 1533837"/>
              <a:gd name="connsiteX46" fmla="*/ 28361 w 6359860"/>
              <a:gd name="connsiteY46" fmla="*/ 1175410 h 1533837"/>
              <a:gd name="connsiteX47" fmla="*/ 14181 w 6359860"/>
              <a:gd name="connsiteY47" fmla="*/ 1189591 h 1533837"/>
              <a:gd name="connsiteX48" fmla="*/ 0 w 6359860"/>
              <a:gd name="connsiteY48" fmla="*/ 1175410 h 1533837"/>
              <a:gd name="connsiteX49" fmla="*/ 14181 w 6359860"/>
              <a:gd name="connsiteY49" fmla="*/ 1161230 h 1533837"/>
              <a:gd name="connsiteX50" fmla="*/ 14181 w 6359860"/>
              <a:gd name="connsiteY50" fmla="*/ 1103827 h 1533837"/>
              <a:gd name="connsiteX51" fmla="*/ 28361 w 6359860"/>
              <a:gd name="connsiteY51" fmla="*/ 1118007 h 1533837"/>
              <a:gd name="connsiteX52" fmla="*/ 14181 w 6359860"/>
              <a:gd name="connsiteY52" fmla="*/ 1132188 h 1533837"/>
              <a:gd name="connsiteX53" fmla="*/ 0 w 6359860"/>
              <a:gd name="connsiteY53" fmla="*/ 1118007 h 1533837"/>
              <a:gd name="connsiteX54" fmla="*/ 14181 w 6359860"/>
              <a:gd name="connsiteY54" fmla="*/ 1103827 h 1533837"/>
              <a:gd name="connsiteX55" fmla="*/ 14181 w 6359860"/>
              <a:gd name="connsiteY55" fmla="*/ 1046481 h 1533837"/>
              <a:gd name="connsiteX56" fmla="*/ 28361 w 6359860"/>
              <a:gd name="connsiteY56" fmla="*/ 1060661 h 1533837"/>
              <a:gd name="connsiteX57" fmla="*/ 14181 w 6359860"/>
              <a:gd name="connsiteY57" fmla="*/ 1074842 h 1533837"/>
              <a:gd name="connsiteX58" fmla="*/ 0 w 6359860"/>
              <a:gd name="connsiteY58" fmla="*/ 1060661 h 1533837"/>
              <a:gd name="connsiteX59" fmla="*/ 14181 w 6359860"/>
              <a:gd name="connsiteY59" fmla="*/ 1046481 h 1533837"/>
              <a:gd name="connsiteX60" fmla="*/ 14181 w 6359860"/>
              <a:gd name="connsiteY60" fmla="*/ 989078 h 1533837"/>
              <a:gd name="connsiteX61" fmla="*/ 28361 w 6359860"/>
              <a:gd name="connsiteY61" fmla="*/ 1003258 h 1533837"/>
              <a:gd name="connsiteX62" fmla="*/ 14181 w 6359860"/>
              <a:gd name="connsiteY62" fmla="*/ 1017439 h 1533837"/>
              <a:gd name="connsiteX63" fmla="*/ 0 w 6359860"/>
              <a:gd name="connsiteY63" fmla="*/ 1003258 h 1533837"/>
              <a:gd name="connsiteX64" fmla="*/ 14181 w 6359860"/>
              <a:gd name="connsiteY64" fmla="*/ 989078 h 1533837"/>
              <a:gd name="connsiteX65" fmla="*/ 14181 w 6359860"/>
              <a:gd name="connsiteY65" fmla="*/ 931732 h 1533837"/>
              <a:gd name="connsiteX66" fmla="*/ 28361 w 6359860"/>
              <a:gd name="connsiteY66" fmla="*/ 945912 h 1533837"/>
              <a:gd name="connsiteX67" fmla="*/ 14181 w 6359860"/>
              <a:gd name="connsiteY67" fmla="*/ 960093 h 1533837"/>
              <a:gd name="connsiteX68" fmla="*/ 0 w 6359860"/>
              <a:gd name="connsiteY68" fmla="*/ 945912 h 1533837"/>
              <a:gd name="connsiteX69" fmla="*/ 14181 w 6359860"/>
              <a:gd name="connsiteY69" fmla="*/ 931732 h 1533837"/>
              <a:gd name="connsiteX70" fmla="*/ 14181 w 6359860"/>
              <a:gd name="connsiteY70" fmla="*/ 874329 h 1533837"/>
              <a:gd name="connsiteX71" fmla="*/ 28361 w 6359860"/>
              <a:gd name="connsiteY71" fmla="*/ 888509 h 1533837"/>
              <a:gd name="connsiteX72" fmla="*/ 14181 w 6359860"/>
              <a:gd name="connsiteY72" fmla="*/ 902690 h 1533837"/>
              <a:gd name="connsiteX73" fmla="*/ 0 w 6359860"/>
              <a:gd name="connsiteY73" fmla="*/ 888509 h 1533837"/>
              <a:gd name="connsiteX74" fmla="*/ 14181 w 6359860"/>
              <a:gd name="connsiteY74" fmla="*/ 874329 h 1533837"/>
              <a:gd name="connsiteX75" fmla="*/ 14181 w 6359860"/>
              <a:gd name="connsiteY75" fmla="*/ 816926 h 1533837"/>
              <a:gd name="connsiteX76" fmla="*/ 28361 w 6359860"/>
              <a:gd name="connsiteY76" fmla="*/ 831107 h 1533837"/>
              <a:gd name="connsiteX77" fmla="*/ 14181 w 6359860"/>
              <a:gd name="connsiteY77" fmla="*/ 845287 h 1533837"/>
              <a:gd name="connsiteX78" fmla="*/ 0 w 6359860"/>
              <a:gd name="connsiteY78" fmla="*/ 831107 h 1533837"/>
              <a:gd name="connsiteX79" fmla="*/ 14181 w 6359860"/>
              <a:gd name="connsiteY79" fmla="*/ 816926 h 1533837"/>
              <a:gd name="connsiteX80" fmla="*/ 14181 w 6359860"/>
              <a:gd name="connsiteY80" fmla="*/ 759580 h 1533837"/>
              <a:gd name="connsiteX81" fmla="*/ 28361 w 6359860"/>
              <a:gd name="connsiteY81" fmla="*/ 773761 h 1533837"/>
              <a:gd name="connsiteX82" fmla="*/ 14181 w 6359860"/>
              <a:gd name="connsiteY82" fmla="*/ 787941 h 1533837"/>
              <a:gd name="connsiteX83" fmla="*/ 0 w 6359860"/>
              <a:gd name="connsiteY83" fmla="*/ 773761 h 1533837"/>
              <a:gd name="connsiteX84" fmla="*/ 14181 w 6359860"/>
              <a:gd name="connsiteY84" fmla="*/ 759580 h 1533837"/>
              <a:gd name="connsiteX85" fmla="*/ 14181 w 6359860"/>
              <a:gd name="connsiteY85" fmla="*/ 702177 h 1533837"/>
              <a:gd name="connsiteX86" fmla="*/ 28361 w 6359860"/>
              <a:gd name="connsiteY86" fmla="*/ 716358 h 1533837"/>
              <a:gd name="connsiteX87" fmla="*/ 14181 w 6359860"/>
              <a:gd name="connsiteY87" fmla="*/ 730538 h 1533837"/>
              <a:gd name="connsiteX88" fmla="*/ 0 w 6359860"/>
              <a:gd name="connsiteY88" fmla="*/ 716358 h 1533837"/>
              <a:gd name="connsiteX89" fmla="*/ 14181 w 6359860"/>
              <a:gd name="connsiteY89" fmla="*/ 702177 h 1533837"/>
              <a:gd name="connsiteX90" fmla="*/ 14181 w 6359860"/>
              <a:gd name="connsiteY90" fmla="*/ 644831 h 1533837"/>
              <a:gd name="connsiteX91" fmla="*/ 28361 w 6359860"/>
              <a:gd name="connsiteY91" fmla="*/ 659011 h 1533837"/>
              <a:gd name="connsiteX92" fmla="*/ 14181 w 6359860"/>
              <a:gd name="connsiteY92" fmla="*/ 673192 h 1533837"/>
              <a:gd name="connsiteX93" fmla="*/ 0 w 6359860"/>
              <a:gd name="connsiteY93" fmla="*/ 659011 h 1533837"/>
              <a:gd name="connsiteX94" fmla="*/ 14181 w 6359860"/>
              <a:gd name="connsiteY94" fmla="*/ 644831 h 1533837"/>
              <a:gd name="connsiteX95" fmla="*/ 14181 w 6359860"/>
              <a:gd name="connsiteY95" fmla="*/ 587428 h 1533837"/>
              <a:gd name="connsiteX96" fmla="*/ 28361 w 6359860"/>
              <a:gd name="connsiteY96" fmla="*/ 601609 h 1533837"/>
              <a:gd name="connsiteX97" fmla="*/ 14181 w 6359860"/>
              <a:gd name="connsiteY97" fmla="*/ 615789 h 1533837"/>
              <a:gd name="connsiteX98" fmla="*/ 0 w 6359860"/>
              <a:gd name="connsiteY98" fmla="*/ 601609 h 1533837"/>
              <a:gd name="connsiteX99" fmla="*/ 14181 w 6359860"/>
              <a:gd name="connsiteY99" fmla="*/ 587428 h 1533837"/>
              <a:gd name="connsiteX100" fmla="*/ 14181 w 6359860"/>
              <a:gd name="connsiteY100" fmla="*/ 530025 h 1533837"/>
              <a:gd name="connsiteX101" fmla="*/ 28361 w 6359860"/>
              <a:gd name="connsiteY101" fmla="*/ 544262 h 1533837"/>
              <a:gd name="connsiteX102" fmla="*/ 14181 w 6359860"/>
              <a:gd name="connsiteY102" fmla="*/ 558443 h 1533837"/>
              <a:gd name="connsiteX103" fmla="*/ 0 w 6359860"/>
              <a:gd name="connsiteY103" fmla="*/ 544262 h 1533837"/>
              <a:gd name="connsiteX104" fmla="*/ 14181 w 6359860"/>
              <a:gd name="connsiteY104" fmla="*/ 530025 h 1533837"/>
              <a:gd name="connsiteX105" fmla="*/ 14181 w 6359860"/>
              <a:gd name="connsiteY105" fmla="*/ 472679 h 1533837"/>
              <a:gd name="connsiteX106" fmla="*/ 28361 w 6359860"/>
              <a:gd name="connsiteY106" fmla="*/ 486860 h 1533837"/>
              <a:gd name="connsiteX107" fmla="*/ 14181 w 6359860"/>
              <a:gd name="connsiteY107" fmla="*/ 501040 h 1533837"/>
              <a:gd name="connsiteX108" fmla="*/ 0 w 6359860"/>
              <a:gd name="connsiteY108" fmla="*/ 486860 h 1533837"/>
              <a:gd name="connsiteX109" fmla="*/ 14181 w 6359860"/>
              <a:gd name="connsiteY109" fmla="*/ 472679 h 1533837"/>
              <a:gd name="connsiteX110" fmla="*/ 14181 w 6359860"/>
              <a:gd name="connsiteY110" fmla="*/ 415276 h 1533837"/>
              <a:gd name="connsiteX111" fmla="*/ 28361 w 6359860"/>
              <a:gd name="connsiteY111" fmla="*/ 429514 h 1533837"/>
              <a:gd name="connsiteX112" fmla="*/ 14181 w 6359860"/>
              <a:gd name="connsiteY112" fmla="*/ 443637 h 1533837"/>
              <a:gd name="connsiteX113" fmla="*/ 0 w 6359860"/>
              <a:gd name="connsiteY113" fmla="*/ 429514 h 1533837"/>
              <a:gd name="connsiteX114" fmla="*/ 14181 w 6359860"/>
              <a:gd name="connsiteY114" fmla="*/ 415276 h 1533837"/>
              <a:gd name="connsiteX115" fmla="*/ 14181 w 6359860"/>
              <a:gd name="connsiteY115" fmla="*/ 357930 h 1533837"/>
              <a:gd name="connsiteX116" fmla="*/ 28361 w 6359860"/>
              <a:gd name="connsiteY116" fmla="*/ 372111 h 1533837"/>
              <a:gd name="connsiteX117" fmla="*/ 14181 w 6359860"/>
              <a:gd name="connsiteY117" fmla="*/ 386291 h 1533837"/>
              <a:gd name="connsiteX118" fmla="*/ 0 w 6359860"/>
              <a:gd name="connsiteY118" fmla="*/ 372111 h 1533837"/>
              <a:gd name="connsiteX119" fmla="*/ 14181 w 6359860"/>
              <a:gd name="connsiteY119" fmla="*/ 357930 h 1533837"/>
              <a:gd name="connsiteX120" fmla="*/ 14181 w 6359860"/>
              <a:gd name="connsiteY120" fmla="*/ 300527 h 1533837"/>
              <a:gd name="connsiteX121" fmla="*/ 28361 w 6359860"/>
              <a:gd name="connsiteY121" fmla="*/ 314708 h 1533837"/>
              <a:gd name="connsiteX122" fmla="*/ 14181 w 6359860"/>
              <a:gd name="connsiteY122" fmla="*/ 328889 h 1533837"/>
              <a:gd name="connsiteX123" fmla="*/ 0 w 6359860"/>
              <a:gd name="connsiteY123" fmla="*/ 314708 h 1533837"/>
              <a:gd name="connsiteX124" fmla="*/ 14181 w 6359860"/>
              <a:gd name="connsiteY124" fmla="*/ 300527 h 1533837"/>
              <a:gd name="connsiteX125" fmla="*/ 14181 w 6359860"/>
              <a:gd name="connsiteY125" fmla="*/ 243181 h 1533837"/>
              <a:gd name="connsiteX126" fmla="*/ 28361 w 6359860"/>
              <a:gd name="connsiteY126" fmla="*/ 257362 h 1533837"/>
              <a:gd name="connsiteX127" fmla="*/ 14181 w 6359860"/>
              <a:gd name="connsiteY127" fmla="*/ 271542 h 1533837"/>
              <a:gd name="connsiteX128" fmla="*/ 0 w 6359860"/>
              <a:gd name="connsiteY128" fmla="*/ 257362 h 1533837"/>
              <a:gd name="connsiteX129" fmla="*/ 14181 w 6359860"/>
              <a:gd name="connsiteY129" fmla="*/ 243181 h 1533837"/>
              <a:gd name="connsiteX130" fmla="*/ 14181 w 6359860"/>
              <a:gd name="connsiteY130" fmla="*/ 185778 h 1533837"/>
              <a:gd name="connsiteX131" fmla="*/ 28361 w 6359860"/>
              <a:gd name="connsiteY131" fmla="*/ 199959 h 1533837"/>
              <a:gd name="connsiteX132" fmla="*/ 14181 w 6359860"/>
              <a:gd name="connsiteY132" fmla="*/ 214139 h 1533837"/>
              <a:gd name="connsiteX133" fmla="*/ 0 w 6359860"/>
              <a:gd name="connsiteY133" fmla="*/ 199959 h 1533837"/>
              <a:gd name="connsiteX134" fmla="*/ 14181 w 6359860"/>
              <a:gd name="connsiteY134" fmla="*/ 185778 h 1533837"/>
              <a:gd name="connsiteX135" fmla="*/ 14181 w 6359860"/>
              <a:gd name="connsiteY135" fmla="*/ 128375 h 1533837"/>
              <a:gd name="connsiteX136" fmla="*/ 28361 w 6359860"/>
              <a:gd name="connsiteY136" fmla="*/ 142613 h 1533837"/>
              <a:gd name="connsiteX137" fmla="*/ 14181 w 6359860"/>
              <a:gd name="connsiteY137" fmla="*/ 156737 h 1533837"/>
              <a:gd name="connsiteX138" fmla="*/ 0 w 6359860"/>
              <a:gd name="connsiteY138" fmla="*/ 142613 h 1533837"/>
              <a:gd name="connsiteX139" fmla="*/ 14181 w 6359860"/>
              <a:gd name="connsiteY139" fmla="*/ 128375 h 1533837"/>
              <a:gd name="connsiteX140" fmla="*/ 38684 w 6359860"/>
              <a:gd name="connsiteY140" fmla="*/ 81154 h 1533837"/>
              <a:gd name="connsiteX141" fmla="*/ 48724 w 6359860"/>
              <a:gd name="connsiteY141" fmla="*/ 85323 h 1533837"/>
              <a:gd name="connsiteX142" fmla="*/ 48724 w 6359860"/>
              <a:gd name="connsiteY142" fmla="*/ 105403 h 1533837"/>
              <a:gd name="connsiteX143" fmla="*/ 38684 w 6359860"/>
              <a:gd name="connsiteY143" fmla="*/ 109544 h 1533837"/>
              <a:gd name="connsiteX144" fmla="*/ 28645 w 6359860"/>
              <a:gd name="connsiteY144" fmla="*/ 105403 h 1533837"/>
              <a:gd name="connsiteX145" fmla="*/ 28645 w 6359860"/>
              <a:gd name="connsiteY145" fmla="*/ 85323 h 1533837"/>
              <a:gd name="connsiteX146" fmla="*/ 38684 w 6359860"/>
              <a:gd name="connsiteY146" fmla="*/ 81154 h 1533837"/>
              <a:gd name="connsiteX147" fmla="*/ 79269 w 6359860"/>
              <a:gd name="connsiteY147" fmla="*/ 40598 h 1533837"/>
              <a:gd name="connsiteX148" fmla="*/ 89281 w 6359860"/>
              <a:gd name="connsiteY148" fmla="*/ 44767 h 1533837"/>
              <a:gd name="connsiteX149" fmla="*/ 89281 w 6359860"/>
              <a:gd name="connsiteY149" fmla="*/ 64790 h 1533837"/>
              <a:gd name="connsiteX150" fmla="*/ 79298 w 6359860"/>
              <a:gd name="connsiteY150" fmla="*/ 68987 h 1533837"/>
              <a:gd name="connsiteX151" fmla="*/ 69258 w 6359860"/>
              <a:gd name="connsiteY151" fmla="*/ 64790 h 1533837"/>
              <a:gd name="connsiteX152" fmla="*/ 69258 w 6359860"/>
              <a:gd name="connsiteY152" fmla="*/ 44767 h 1533837"/>
              <a:gd name="connsiteX153" fmla="*/ 79269 w 6359860"/>
              <a:gd name="connsiteY153" fmla="*/ 40598 h 1533837"/>
              <a:gd name="connsiteX154" fmla="*/ 117074 w 6359860"/>
              <a:gd name="connsiteY154" fmla="*/ 297 h 1533837"/>
              <a:gd name="connsiteX155" fmla="*/ 122633 w 6359860"/>
              <a:gd name="connsiteY155" fmla="*/ 297 h 1533837"/>
              <a:gd name="connsiteX156" fmla="*/ 125242 w 6359860"/>
              <a:gd name="connsiteY156" fmla="*/ 1091 h 1533837"/>
              <a:gd name="connsiteX157" fmla="*/ 127738 w 6359860"/>
              <a:gd name="connsiteY157" fmla="*/ 2395 h 1533837"/>
              <a:gd name="connsiteX158" fmla="*/ 129893 w 6359860"/>
              <a:gd name="connsiteY158" fmla="*/ 4210 h 1533837"/>
              <a:gd name="connsiteX159" fmla="*/ 131652 w 6359860"/>
              <a:gd name="connsiteY159" fmla="*/ 6366 h 1533837"/>
              <a:gd name="connsiteX160" fmla="*/ 132956 w 6359860"/>
              <a:gd name="connsiteY160" fmla="*/ 8805 h 1533837"/>
              <a:gd name="connsiteX161" fmla="*/ 133750 w 6359860"/>
              <a:gd name="connsiteY161" fmla="*/ 11414 h 1533837"/>
              <a:gd name="connsiteX162" fmla="*/ 134034 w 6359860"/>
              <a:gd name="connsiteY162" fmla="*/ 14194 h 1533837"/>
              <a:gd name="connsiteX163" fmla="*/ 129893 w 6359860"/>
              <a:gd name="connsiteY163" fmla="*/ 24234 h 1533837"/>
              <a:gd name="connsiteX164" fmla="*/ 127738 w 6359860"/>
              <a:gd name="connsiteY164" fmla="*/ 25992 h 1533837"/>
              <a:gd name="connsiteX165" fmla="*/ 125242 w 6359860"/>
              <a:gd name="connsiteY165" fmla="*/ 27296 h 1533837"/>
              <a:gd name="connsiteX166" fmla="*/ 122633 w 6359860"/>
              <a:gd name="connsiteY166" fmla="*/ 28091 h 1533837"/>
              <a:gd name="connsiteX167" fmla="*/ 119854 w 6359860"/>
              <a:gd name="connsiteY167" fmla="*/ 28374 h 1533837"/>
              <a:gd name="connsiteX168" fmla="*/ 117074 w 6359860"/>
              <a:gd name="connsiteY168" fmla="*/ 28091 h 1533837"/>
              <a:gd name="connsiteX169" fmla="*/ 114408 w 6359860"/>
              <a:gd name="connsiteY169" fmla="*/ 27296 h 1533837"/>
              <a:gd name="connsiteX170" fmla="*/ 111969 w 6359860"/>
              <a:gd name="connsiteY170" fmla="*/ 25992 h 1533837"/>
              <a:gd name="connsiteX171" fmla="*/ 109814 w 6359860"/>
              <a:gd name="connsiteY171" fmla="*/ 24234 h 1533837"/>
              <a:gd name="connsiteX172" fmla="*/ 108055 w 6359860"/>
              <a:gd name="connsiteY172" fmla="*/ 22078 h 1533837"/>
              <a:gd name="connsiteX173" fmla="*/ 106751 w 6359860"/>
              <a:gd name="connsiteY173" fmla="*/ 19639 h 1533837"/>
              <a:gd name="connsiteX174" fmla="*/ 105957 w 6359860"/>
              <a:gd name="connsiteY174" fmla="*/ 16973 h 1533837"/>
              <a:gd name="connsiteX175" fmla="*/ 105673 w 6359860"/>
              <a:gd name="connsiteY175" fmla="*/ 14194 h 1533837"/>
              <a:gd name="connsiteX176" fmla="*/ 105957 w 6359860"/>
              <a:gd name="connsiteY176" fmla="*/ 11414 h 1533837"/>
              <a:gd name="connsiteX177" fmla="*/ 106751 w 6359860"/>
              <a:gd name="connsiteY177" fmla="*/ 8805 h 1533837"/>
              <a:gd name="connsiteX178" fmla="*/ 108055 w 6359860"/>
              <a:gd name="connsiteY178" fmla="*/ 6366 h 1533837"/>
              <a:gd name="connsiteX179" fmla="*/ 109814 w 6359860"/>
              <a:gd name="connsiteY179" fmla="*/ 4210 h 1533837"/>
              <a:gd name="connsiteX180" fmla="*/ 111969 w 6359860"/>
              <a:gd name="connsiteY180" fmla="*/ 2395 h 1533837"/>
              <a:gd name="connsiteX181" fmla="*/ 114408 w 6359860"/>
              <a:gd name="connsiteY181" fmla="*/ 1091 h 1533837"/>
              <a:gd name="connsiteX182" fmla="*/ 117074 w 6359860"/>
              <a:gd name="connsiteY182" fmla="*/ 297 h 1533837"/>
              <a:gd name="connsiteX183" fmla="*/ 6348402 w 6359860"/>
              <a:gd name="connsiteY183" fmla="*/ 296 h 1533837"/>
              <a:gd name="connsiteX184" fmla="*/ 6351068 w 6359860"/>
              <a:gd name="connsiteY184" fmla="*/ 1091 h 1533837"/>
              <a:gd name="connsiteX185" fmla="*/ 6353507 w 6359860"/>
              <a:gd name="connsiteY185" fmla="*/ 2395 h 1533837"/>
              <a:gd name="connsiteX186" fmla="*/ 6355663 w 6359860"/>
              <a:gd name="connsiteY186" fmla="*/ 4210 h 1533837"/>
              <a:gd name="connsiteX187" fmla="*/ 6357421 w 6359860"/>
              <a:gd name="connsiteY187" fmla="*/ 6366 h 1533837"/>
              <a:gd name="connsiteX188" fmla="*/ 6358725 w 6359860"/>
              <a:gd name="connsiteY188" fmla="*/ 8805 h 1533837"/>
              <a:gd name="connsiteX189" fmla="*/ 6359576 w 6359860"/>
              <a:gd name="connsiteY189" fmla="*/ 11414 h 1533837"/>
              <a:gd name="connsiteX190" fmla="*/ 6359860 w 6359860"/>
              <a:gd name="connsiteY190" fmla="*/ 14193 h 1533837"/>
              <a:gd name="connsiteX191" fmla="*/ 6359576 w 6359860"/>
              <a:gd name="connsiteY191" fmla="*/ 16973 h 1533837"/>
              <a:gd name="connsiteX192" fmla="*/ 6358725 w 6359860"/>
              <a:gd name="connsiteY192" fmla="*/ 19639 h 1533837"/>
              <a:gd name="connsiteX193" fmla="*/ 6357421 w 6359860"/>
              <a:gd name="connsiteY193" fmla="*/ 22078 h 1533837"/>
              <a:gd name="connsiteX194" fmla="*/ 6355663 w 6359860"/>
              <a:gd name="connsiteY194" fmla="*/ 24233 h 1533837"/>
              <a:gd name="connsiteX195" fmla="*/ 6353507 w 6359860"/>
              <a:gd name="connsiteY195" fmla="*/ 25992 h 1533837"/>
              <a:gd name="connsiteX196" fmla="*/ 6351068 w 6359860"/>
              <a:gd name="connsiteY196" fmla="*/ 27296 h 1533837"/>
              <a:gd name="connsiteX197" fmla="*/ 6348402 w 6359860"/>
              <a:gd name="connsiteY197" fmla="*/ 28147 h 1533837"/>
              <a:gd name="connsiteX198" fmla="*/ 6345680 w 6359860"/>
              <a:gd name="connsiteY198" fmla="*/ 28431 h 1533837"/>
              <a:gd name="connsiteX199" fmla="*/ 6335640 w 6359860"/>
              <a:gd name="connsiteY199" fmla="*/ 24233 h 1533837"/>
              <a:gd name="connsiteX200" fmla="*/ 6333881 w 6359860"/>
              <a:gd name="connsiteY200" fmla="*/ 22078 h 1533837"/>
              <a:gd name="connsiteX201" fmla="*/ 6332576 w 6359860"/>
              <a:gd name="connsiteY201" fmla="*/ 19639 h 1533837"/>
              <a:gd name="connsiteX202" fmla="*/ 6331725 w 6359860"/>
              <a:gd name="connsiteY202" fmla="*/ 16973 h 1533837"/>
              <a:gd name="connsiteX203" fmla="*/ 6331499 w 6359860"/>
              <a:gd name="connsiteY203" fmla="*/ 14193 h 1533837"/>
              <a:gd name="connsiteX204" fmla="*/ 6331725 w 6359860"/>
              <a:gd name="connsiteY204" fmla="*/ 11414 h 1533837"/>
              <a:gd name="connsiteX205" fmla="*/ 6332576 w 6359860"/>
              <a:gd name="connsiteY205" fmla="*/ 8805 h 1533837"/>
              <a:gd name="connsiteX206" fmla="*/ 6333881 w 6359860"/>
              <a:gd name="connsiteY206" fmla="*/ 6366 h 1533837"/>
              <a:gd name="connsiteX207" fmla="*/ 6335640 w 6359860"/>
              <a:gd name="connsiteY207" fmla="*/ 4210 h 1533837"/>
              <a:gd name="connsiteX208" fmla="*/ 6348402 w 6359860"/>
              <a:gd name="connsiteY208" fmla="*/ 296 h 1533837"/>
              <a:gd name="connsiteX209" fmla="*/ 6289071 w 6359860"/>
              <a:gd name="connsiteY209" fmla="*/ 13 h 1533837"/>
              <a:gd name="connsiteX210" fmla="*/ 6303251 w 6359860"/>
              <a:gd name="connsiteY210" fmla="*/ 14194 h 1533837"/>
              <a:gd name="connsiteX211" fmla="*/ 6289071 w 6359860"/>
              <a:gd name="connsiteY211" fmla="*/ 28374 h 1533837"/>
              <a:gd name="connsiteX212" fmla="*/ 6274890 w 6359860"/>
              <a:gd name="connsiteY212" fmla="*/ 14194 h 1533837"/>
              <a:gd name="connsiteX213" fmla="*/ 6289071 w 6359860"/>
              <a:gd name="connsiteY213" fmla="*/ 13 h 1533837"/>
              <a:gd name="connsiteX214" fmla="*/ 6232462 w 6359860"/>
              <a:gd name="connsiteY214" fmla="*/ 13 h 1533837"/>
              <a:gd name="connsiteX215" fmla="*/ 6246643 w 6359860"/>
              <a:gd name="connsiteY215" fmla="*/ 14194 h 1533837"/>
              <a:gd name="connsiteX216" fmla="*/ 6232462 w 6359860"/>
              <a:gd name="connsiteY216" fmla="*/ 28374 h 1533837"/>
              <a:gd name="connsiteX217" fmla="*/ 6218282 w 6359860"/>
              <a:gd name="connsiteY217" fmla="*/ 14194 h 1533837"/>
              <a:gd name="connsiteX218" fmla="*/ 6232462 w 6359860"/>
              <a:gd name="connsiteY218" fmla="*/ 13 h 1533837"/>
              <a:gd name="connsiteX219" fmla="*/ 6175853 w 6359860"/>
              <a:gd name="connsiteY219" fmla="*/ 13 h 1533837"/>
              <a:gd name="connsiteX220" fmla="*/ 6190034 w 6359860"/>
              <a:gd name="connsiteY220" fmla="*/ 14194 h 1533837"/>
              <a:gd name="connsiteX221" fmla="*/ 6175853 w 6359860"/>
              <a:gd name="connsiteY221" fmla="*/ 28374 h 1533837"/>
              <a:gd name="connsiteX222" fmla="*/ 6161673 w 6359860"/>
              <a:gd name="connsiteY222" fmla="*/ 14194 h 1533837"/>
              <a:gd name="connsiteX223" fmla="*/ 6175853 w 6359860"/>
              <a:gd name="connsiteY223" fmla="*/ 13 h 1533837"/>
              <a:gd name="connsiteX224" fmla="*/ 6119245 w 6359860"/>
              <a:gd name="connsiteY224" fmla="*/ 13 h 1533837"/>
              <a:gd name="connsiteX225" fmla="*/ 6133425 w 6359860"/>
              <a:gd name="connsiteY225" fmla="*/ 14194 h 1533837"/>
              <a:gd name="connsiteX226" fmla="*/ 6119245 w 6359860"/>
              <a:gd name="connsiteY226" fmla="*/ 28374 h 1533837"/>
              <a:gd name="connsiteX227" fmla="*/ 6105064 w 6359860"/>
              <a:gd name="connsiteY227" fmla="*/ 14194 h 1533837"/>
              <a:gd name="connsiteX228" fmla="*/ 6119245 w 6359860"/>
              <a:gd name="connsiteY228" fmla="*/ 13 h 1533837"/>
              <a:gd name="connsiteX229" fmla="*/ 6062636 w 6359860"/>
              <a:gd name="connsiteY229" fmla="*/ 13 h 1533837"/>
              <a:gd name="connsiteX230" fmla="*/ 6076817 w 6359860"/>
              <a:gd name="connsiteY230" fmla="*/ 14194 h 1533837"/>
              <a:gd name="connsiteX231" fmla="*/ 6062636 w 6359860"/>
              <a:gd name="connsiteY231" fmla="*/ 28374 h 1533837"/>
              <a:gd name="connsiteX232" fmla="*/ 6048456 w 6359860"/>
              <a:gd name="connsiteY232" fmla="*/ 14194 h 1533837"/>
              <a:gd name="connsiteX233" fmla="*/ 6062636 w 6359860"/>
              <a:gd name="connsiteY233" fmla="*/ 13 h 1533837"/>
              <a:gd name="connsiteX234" fmla="*/ 6006084 w 6359860"/>
              <a:gd name="connsiteY234" fmla="*/ 13 h 1533837"/>
              <a:gd name="connsiteX235" fmla="*/ 6020265 w 6359860"/>
              <a:gd name="connsiteY235" fmla="*/ 14194 h 1533837"/>
              <a:gd name="connsiteX236" fmla="*/ 6006084 w 6359860"/>
              <a:gd name="connsiteY236" fmla="*/ 28374 h 1533837"/>
              <a:gd name="connsiteX237" fmla="*/ 5991904 w 6359860"/>
              <a:gd name="connsiteY237" fmla="*/ 14194 h 1533837"/>
              <a:gd name="connsiteX238" fmla="*/ 6006084 w 6359860"/>
              <a:gd name="connsiteY238" fmla="*/ 13 h 1533837"/>
              <a:gd name="connsiteX239" fmla="*/ 5949475 w 6359860"/>
              <a:gd name="connsiteY239" fmla="*/ 13 h 1533837"/>
              <a:gd name="connsiteX240" fmla="*/ 5963656 w 6359860"/>
              <a:gd name="connsiteY240" fmla="*/ 14194 h 1533837"/>
              <a:gd name="connsiteX241" fmla="*/ 5949475 w 6359860"/>
              <a:gd name="connsiteY241" fmla="*/ 28374 h 1533837"/>
              <a:gd name="connsiteX242" fmla="*/ 5935295 w 6359860"/>
              <a:gd name="connsiteY242" fmla="*/ 14194 h 1533837"/>
              <a:gd name="connsiteX243" fmla="*/ 5949475 w 6359860"/>
              <a:gd name="connsiteY243" fmla="*/ 13 h 1533837"/>
              <a:gd name="connsiteX244" fmla="*/ 5892866 w 6359860"/>
              <a:gd name="connsiteY244" fmla="*/ 13 h 1533837"/>
              <a:gd name="connsiteX245" fmla="*/ 5907047 w 6359860"/>
              <a:gd name="connsiteY245" fmla="*/ 14194 h 1533837"/>
              <a:gd name="connsiteX246" fmla="*/ 5892866 w 6359860"/>
              <a:gd name="connsiteY246" fmla="*/ 28374 h 1533837"/>
              <a:gd name="connsiteX247" fmla="*/ 5878686 w 6359860"/>
              <a:gd name="connsiteY247" fmla="*/ 14194 h 1533837"/>
              <a:gd name="connsiteX248" fmla="*/ 5892866 w 6359860"/>
              <a:gd name="connsiteY248" fmla="*/ 13 h 1533837"/>
              <a:gd name="connsiteX249" fmla="*/ 5836258 w 6359860"/>
              <a:gd name="connsiteY249" fmla="*/ 13 h 1533837"/>
              <a:gd name="connsiteX250" fmla="*/ 5850438 w 6359860"/>
              <a:gd name="connsiteY250" fmla="*/ 14194 h 1533837"/>
              <a:gd name="connsiteX251" fmla="*/ 5836258 w 6359860"/>
              <a:gd name="connsiteY251" fmla="*/ 28374 h 1533837"/>
              <a:gd name="connsiteX252" fmla="*/ 5822077 w 6359860"/>
              <a:gd name="connsiteY252" fmla="*/ 14194 h 1533837"/>
              <a:gd name="connsiteX253" fmla="*/ 5836258 w 6359860"/>
              <a:gd name="connsiteY253" fmla="*/ 13 h 1533837"/>
              <a:gd name="connsiteX254" fmla="*/ 5779649 w 6359860"/>
              <a:gd name="connsiteY254" fmla="*/ 13 h 1533837"/>
              <a:gd name="connsiteX255" fmla="*/ 5793830 w 6359860"/>
              <a:gd name="connsiteY255" fmla="*/ 14194 h 1533837"/>
              <a:gd name="connsiteX256" fmla="*/ 5779649 w 6359860"/>
              <a:gd name="connsiteY256" fmla="*/ 28374 h 1533837"/>
              <a:gd name="connsiteX257" fmla="*/ 5765469 w 6359860"/>
              <a:gd name="connsiteY257" fmla="*/ 14194 h 1533837"/>
              <a:gd name="connsiteX258" fmla="*/ 5779649 w 6359860"/>
              <a:gd name="connsiteY258" fmla="*/ 13 h 1533837"/>
              <a:gd name="connsiteX259" fmla="*/ 5723041 w 6359860"/>
              <a:gd name="connsiteY259" fmla="*/ 13 h 1533837"/>
              <a:gd name="connsiteX260" fmla="*/ 5737278 w 6359860"/>
              <a:gd name="connsiteY260" fmla="*/ 14194 h 1533837"/>
              <a:gd name="connsiteX261" fmla="*/ 5723041 w 6359860"/>
              <a:gd name="connsiteY261" fmla="*/ 28374 h 1533837"/>
              <a:gd name="connsiteX262" fmla="*/ 5708917 w 6359860"/>
              <a:gd name="connsiteY262" fmla="*/ 14194 h 1533837"/>
              <a:gd name="connsiteX263" fmla="*/ 5723041 w 6359860"/>
              <a:gd name="connsiteY263" fmla="*/ 13 h 1533837"/>
              <a:gd name="connsiteX264" fmla="*/ 5666489 w 6359860"/>
              <a:gd name="connsiteY264" fmla="*/ 13 h 1533837"/>
              <a:gd name="connsiteX265" fmla="*/ 5680669 w 6359860"/>
              <a:gd name="connsiteY265" fmla="*/ 14194 h 1533837"/>
              <a:gd name="connsiteX266" fmla="*/ 5666489 w 6359860"/>
              <a:gd name="connsiteY266" fmla="*/ 28374 h 1533837"/>
              <a:gd name="connsiteX267" fmla="*/ 5652308 w 6359860"/>
              <a:gd name="connsiteY267" fmla="*/ 14194 h 1533837"/>
              <a:gd name="connsiteX268" fmla="*/ 5666489 w 6359860"/>
              <a:gd name="connsiteY268" fmla="*/ 13 h 1533837"/>
              <a:gd name="connsiteX269" fmla="*/ 5609879 w 6359860"/>
              <a:gd name="connsiteY269" fmla="*/ 13 h 1533837"/>
              <a:gd name="connsiteX270" fmla="*/ 5624060 w 6359860"/>
              <a:gd name="connsiteY270" fmla="*/ 14194 h 1533837"/>
              <a:gd name="connsiteX271" fmla="*/ 5609879 w 6359860"/>
              <a:gd name="connsiteY271" fmla="*/ 28374 h 1533837"/>
              <a:gd name="connsiteX272" fmla="*/ 5595699 w 6359860"/>
              <a:gd name="connsiteY272" fmla="*/ 14194 h 1533837"/>
              <a:gd name="connsiteX273" fmla="*/ 5609879 w 6359860"/>
              <a:gd name="connsiteY273" fmla="*/ 13 h 1533837"/>
              <a:gd name="connsiteX274" fmla="*/ 5553271 w 6359860"/>
              <a:gd name="connsiteY274" fmla="*/ 13 h 1533837"/>
              <a:gd name="connsiteX275" fmla="*/ 5567451 w 6359860"/>
              <a:gd name="connsiteY275" fmla="*/ 14194 h 1533837"/>
              <a:gd name="connsiteX276" fmla="*/ 5553271 w 6359860"/>
              <a:gd name="connsiteY276" fmla="*/ 28374 h 1533837"/>
              <a:gd name="connsiteX277" fmla="*/ 5539090 w 6359860"/>
              <a:gd name="connsiteY277" fmla="*/ 14194 h 1533837"/>
              <a:gd name="connsiteX278" fmla="*/ 5553271 w 6359860"/>
              <a:gd name="connsiteY278" fmla="*/ 13 h 1533837"/>
              <a:gd name="connsiteX279" fmla="*/ 5496662 w 6359860"/>
              <a:gd name="connsiteY279" fmla="*/ 13 h 1533837"/>
              <a:gd name="connsiteX280" fmla="*/ 5510843 w 6359860"/>
              <a:gd name="connsiteY280" fmla="*/ 14194 h 1533837"/>
              <a:gd name="connsiteX281" fmla="*/ 5496662 w 6359860"/>
              <a:gd name="connsiteY281" fmla="*/ 28374 h 1533837"/>
              <a:gd name="connsiteX282" fmla="*/ 5482482 w 6359860"/>
              <a:gd name="connsiteY282" fmla="*/ 14194 h 1533837"/>
              <a:gd name="connsiteX283" fmla="*/ 5496662 w 6359860"/>
              <a:gd name="connsiteY283" fmla="*/ 13 h 1533837"/>
              <a:gd name="connsiteX284" fmla="*/ 5440110 w 6359860"/>
              <a:gd name="connsiteY284" fmla="*/ 13 h 1533837"/>
              <a:gd name="connsiteX285" fmla="*/ 5454234 w 6359860"/>
              <a:gd name="connsiteY285" fmla="*/ 14194 h 1533837"/>
              <a:gd name="connsiteX286" fmla="*/ 5440110 w 6359860"/>
              <a:gd name="connsiteY286" fmla="*/ 28374 h 1533837"/>
              <a:gd name="connsiteX287" fmla="*/ 5425873 w 6359860"/>
              <a:gd name="connsiteY287" fmla="*/ 14194 h 1533837"/>
              <a:gd name="connsiteX288" fmla="*/ 5440110 w 6359860"/>
              <a:gd name="connsiteY288" fmla="*/ 13 h 1533837"/>
              <a:gd name="connsiteX289" fmla="*/ 5383502 w 6359860"/>
              <a:gd name="connsiteY289" fmla="*/ 13 h 1533837"/>
              <a:gd name="connsiteX290" fmla="*/ 5397682 w 6359860"/>
              <a:gd name="connsiteY290" fmla="*/ 14194 h 1533837"/>
              <a:gd name="connsiteX291" fmla="*/ 5383502 w 6359860"/>
              <a:gd name="connsiteY291" fmla="*/ 28374 h 1533837"/>
              <a:gd name="connsiteX292" fmla="*/ 5369321 w 6359860"/>
              <a:gd name="connsiteY292" fmla="*/ 14194 h 1533837"/>
              <a:gd name="connsiteX293" fmla="*/ 5383502 w 6359860"/>
              <a:gd name="connsiteY293" fmla="*/ 13 h 1533837"/>
              <a:gd name="connsiteX294" fmla="*/ 5326892 w 6359860"/>
              <a:gd name="connsiteY294" fmla="*/ 13 h 1533837"/>
              <a:gd name="connsiteX295" fmla="*/ 5341073 w 6359860"/>
              <a:gd name="connsiteY295" fmla="*/ 14194 h 1533837"/>
              <a:gd name="connsiteX296" fmla="*/ 5326892 w 6359860"/>
              <a:gd name="connsiteY296" fmla="*/ 28374 h 1533837"/>
              <a:gd name="connsiteX297" fmla="*/ 5312712 w 6359860"/>
              <a:gd name="connsiteY297" fmla="*/ 14194 h 1533837"/>
              <a:gd name="connsiteX298" fmla="*/ 5326892 w 6359860"/>
              <a:gd name="connsiteY298" fmla="*/ 13 h 1533837"/>
              <a:gd name="connsiteX299" fmla="*/ 5270284 w 6359860"/>
              <a:gd name="connsiteY299" fmla="*/ 13 h 1533837"/>
              <a:gd name="connsiteX300" fmla="*/ 5284464 w 6359860"/>
              <a:gd name="connsiteY300" fmla="*/ 14194 h 1533837"/>
              <a:gd name="connsiteX301" fmla="*/ 5270284 w 6359860"/>
              <a:gd name="connsiteY301" fmla="*/ 28374 h 1533837"/>
              <a:gd name="connsiteX302" fmla="*/ 5256103 w 6359860"/>
              <a:gd name="connsiteY302" fmla="*/ 14194 h 1533837"/>
              <a:gd name="connsiteX303" fmla="*/ 5270284 w 6359860"/>
              <a:gd name="connsiteY303" fmla="*/ 13 h 1533837"/>
              <a:gd name="connsiteX304" fmla="*/ 5213675 w 6359860"/>
              <a:gd name="connsiteY304" fmla="*/ 13 h 1533837"/>
              <a:gd name="connsiteX305" fmla="*/ 5227856 w 6359860"/>
              <a:gd name="connsiteY305" fmla="*/ 14194 h 1533837"/>
              <a:gd name="connsiteX306" fmla="*/ 5213675 w 6359860"/>
              <a:gd name="connsiteY306" fmla="*/ 28374 h 1533837"/>
              <a:gd name="connsiteX307" fmla="*/ 5199495 w 6359860"/>
              <a:gd name="connsiteY307" fmla="*/ 14194 h 1533837"/>
              <a:gd name="connsiteX308" fmla="*/ 5213675 w 6359860"/>
              <a:gd name="connsiteY308" fmla="*/ 13 h 1533837"/>
              <a:gd name="connsiteX309" fmla="*/ 5157067 w 6359860"/>
              <a:gd name="connsiteY309" fmla="*/ 13 h 1533837"/>
              <a:gd name="connsiteX310" fmla="*/ 5171247 w 6359860"/>
              <a:gd name="connsiteY310" fmla="*/ 14194 h 1533837"/>
              <a:gd name="connsiteX311" fmla="*/ 5157067 w 6359860"/>
              <a:gd name="connsiteY311" fmla="*/ 28374 h 1533837"/>
              <a:gd name="connsiteX312" fmla="*/ 5142886 w 6359860"/>
              <a:gd name="connsiteY312" fmla="*/ 14194 h 1533837"/>
              <a:gd name="connsiteX313" fmla="*/ 5157067 w 6359860"/>
              <a:gd name="connsiteY313" fmla="*/ 13 h 1533837"/>
              <a:gd name="connsiteX314" fmla="*/ 5100515 w 6359860"/>
              <a:gd name="connsiteY314" fmla="*/ 13 h 1533837"/>
              <a:gd name="connsiteX315" fmla="*/ 5114695 w 6359860"/>
              <a:gd name="connsiteY315" fmla="*/ 14194 h 1533837"/>
              <a:gd name="connsiteX316" fmla="*/ 5100515 w 6359860"/>
              <a:gd name="connsiteY316" fmla="*/ 28374 h 1533837"/>
              <a:gd name="connsiteX317" fmla="*/ 5086334 w 6359860"/>
              <a:gd name="connsiteY317" fmla="*/ 14194 h 1533837"/>
              <a:gd name="connsiteX318" fmla="*/ 5100515 w 6359860"/>
              <a:gd name="connsiteY318" fmla="*/ 13 h 1533837"/>
              <a:gd name="connsiteX319" fmla="*/ 5043906 w 6359860"/>
              <a:gd name="connsiteY319" fmla="*/ 13 h 1533837"/>
              <a:gd name="connsiteX320" fmla="*/ 5058087 w 6359860"/>
              <a:gd name="connsiteY320" fmla="*/ 14194 h 1533837"/>
              <a:gd name="connsiteX321" fmla="*/ 5043906 w 6359860"/>
              <a:gd name="connsiteY321" fmla="*/ 28374 h 1533837"/>
              <a:gd name="connsiteX322" fmla="*/ 5029726 w 6359860"/>
              <a:gd name="connsiteY322" fmla="*/ 14194 h 1533837"/>
              <a:gd name="connsiteX323" fmla="*/ 5043906 w 6359860"/>
              <a:gd name="connsiteY323" fmla="*/ 13 h 1533837"/>
              <a:gd name="connsiteX324" fmla="*/ 4987297 w 6359860"/>
              <a:gd name="connsiteY324" fmla="*/ 13 h 1533837"/>
              <a:gd name="connsiteX325" fmla="*/ 5001477 w 6359860"/>
              <a:gd name="connsiteY325" fmla="*/ 14194 h 1533837"/>
              <a:gd name="connsiteX326" fmla="*/ 4987297 w 6359860"/>
              <a:gd name="connsiteY326" fmla="*/ 28374 h 1533837"/>
              <a:gd name="connsiteX327" fmla="*/ 4973116 w 6359860"/>
              <a:gd name="connsiteY327" fmla="*/ 14194 h 1533837"/>
              <a:gd name="connsiteX328" fmla="*/ 4987297 w 6359860"/>
              <a:gd name="connsiteY328" fmla="*/ 13 h 1533837"/>
              <a:gd name="connsiteX329" fmla="*/ 4930688 w 6359860"/>
              <a:gd name="connsiteY329" fmla="*/ 13 h 1533837"/>
              <a:gd name="connsiteX330" fmla="*/ 4944869 w 6359860"/>
              <a:gd name="connsiteY330" fmla="*/ 14194 h 1533837"/>
              <a:gd name="connsiteX331" fmla="*/ 4930688 w 6359860"/>
              <a:gd name="connsiteY331" fmla="*/ 28374 h 1533837"/>
              <a:gd name="connsiteX332" fmla="*/ 4916508 w 6359860"/>
              <a:gd name="connsiteY332" fmla="*/ 14194 h 1533837"/>
              <a:gd name="connsiteX333" fmla="*/ 4930688 w 6359860"/>
              <a:gd name="connsiteY333" fmla="*/ 13 h 1533837"/>
              <a:gd name="connsiteX334" fmla="*/ 4874080 w 6359860"/>
              <a:gd name="connsiteY334" fmla="*/ 13 h 1533837"/>
              <a:gd name="connsiteX335" fmla="*/ 4888260 w 6359860"/>
              <a:gd name="connsiteY335" fmla="*/ 14194 h 1533837"/>
              <a:gd name="connsiteX336" fmla="*/ 4874080 w 6359860"/>
              <a:gd name="connsiteY336" fmla="*/ 28374 h 1533837"/>
              <a:gd name="connsiteX337" fmla="*/ 4859899 w 6359860"/>
              <a:gd name="connsiteY337" fmla="*/ 14194 h 1533837"/>
              <a:gd name="connsiteX338" fmla="*/ 4874080 w 6359860"/>
              <a:gd name="connsiteY338" fmla="*/ 13 h 1533837"/>
              <a:gd name="connsiteX339" fmla="*/ 4817528 w 6359860"/>
              <a:gd name="connsiteY339" fmla="*/ 13 h 1533837"/>
              <a:gd name="connsiteX340" fmla="*/ 4831708 w 6359860"/>
              <a:gd name="connsiteY340" fmla="*/ 14194 h 1533837"/>
              <a:gd name="connsiteX341" fmla="*/ 4817528 w 6359860"/>
              <a:gd name="connsiteY341" fmla="*/ 28374 h 1533837"/>
              <a:gd name="connsiteX342" fmla="*/ 4803347 w 6359860"/>
              <a:gd name="connsiteY342" fmla="*/ 14194 h 1533837"/>
              <a:gd name="connsiteX343" fmla="*/ 4817528 w 6359860"/>
              <a:gd name="connsiteY343" fmla="*/ 13 h 1533837"/>
              <a:gd name="connsiteX344" fmla="*/ 4760919 w 6359860"/>
              <a:gd name="connsiteY344" fmla="*/ 13 h 1533837"/>
              <a:gd name="connsiteX345" fmla="*/ 4775100 w 6359860"/>
              <a:gd name="connsiteY345" fmla="*/ 14194 h 1533837"/>
              <a:gd name="connsiteX346" fmla="*/ 4760919 w 6359860"/>
              <a:gd name="connsiteY346" fmla="*/ 28374 h 1533837"/>
              <a:gd name="connsiteX347" fmla="*/ 4746739 w 6359860"/>
              <a:gd name="connsiteY347" fmla="*/ 14194 h 1533837"/>
              <a:gd name="connsiteX348" fmla="*/ 4760919 w 6359860"/>
              <a:gd name="connsiteY348" fmla="*/ 13 h 1533837"/>
              <a:gd name="connsiteX349" fmla="*/ 4704311 w 6359860"/>
              <a:gd name="connsiteY349" fmla="*/ 13 h 1533837"/>
              <a:gd name="connsiteX350" fmla="*/ 4718491 w 6359860"/>
              <a:gd name="connsiteY350" fmla="*/ 14194 h 1533837"/>
              <a:gd name="connsiteX351" fmla="*/ 4704311 w 6359860"/>
              <a:gd name="connsiteY351" fmla="*/ 28374 h 1533837"/>
              <a:gd name="connsiteX352" fmla="*/ 4690130 w 6359860"/>
              <a:gd name="connsiteY352" fmla="*/ 14194 h 1533837"/>
              <a:gd name="connsiteX353" fmla="*/ 4704311 w 6359860"/>
              <a:gd name="connsiteY353" fmla="*/ 13 h 1533837"/>
              <a:gd name="connsiteX354" fmla="*/ 4647701 w 6359860"/>
              <a:gd name="connsiteY354" fmla="*/ 13 h 1533837"/>
              <a:gd name="connsiteX355" fmla="*/ 4661882 w 6359860"/>
              <a:gd name="connsiteY355" fmla="*/ 14194 h 1533837"/>
              <a:gd name="connsiteX356" fmla="*/ 4647701 w 6359860"/>
              <a:gd name="connsiteY356" fmla="*/ 28374 h 1533837"/>
              <a:gd name="connsiteX357" fmla="*/ 4633521 w 6359860"/>
              <a:gd name="connsiteY357" fmla="*/ 14194 h 1533837"/>
              <a:gd name="connsiteX358" fmla="*/ 4647701 w 6359860"/>
              <a:gd name="connsiteY358" fmla="*/ 13 h 1533837"/>
              <a:gd name="connsiteX359" fmla="*/ 4591093 w 6359860"/>
              <a:gd name="connsiteY359" fmla="*/ 13 h 1533837"/>
              <a:gd name="connsiteX360" fmla="*/ 4605273 w 6359860"/>
              <a:gd name="connsiteY360" fmla="*/ 14194 h 1533837"/>
              <a:gd name="connsiteX361" fmla="*/ 4591093 w 6359860"/>
              <a:gd name="connsiteY361" fmla="*/ 28374 h 1533837"/>
              <a:gd name="connsiteX362" fmla="*/ 4576912 w 6359860"/>
              <a:gd name="connsiteY362" fmla="*/ 14194 h 1533837"/>
              <a:gd name="connsiteX363" fmla="*/ 4591093 w 6359860"/>
              <a:gd name="connsiteY363" fmla="*/ 13 h 1533837"/>
              <a:gd name="connsiteX364" fmla="*/ 4534484 w 6359860"/>
              <a:gd name="connsiteY364" fmla="*/ 13 h 1533837"/>
              <a:gd name="connsiteX365" fmla="*/ 4548721 w 6359860"/>
              <a:gd name="connsiteY365" fmla="*/ 14194 h 1533837"/>
              <a:gd name="connsiteX366" fmla="*/ 4534484 w 6359860"/>
              <a:gd name="connsiteY366" fmla="*/ 28374 h 1533837"/>
              <a:gd name="connsiteX367" fmla="*/ 4520360 w 6359860"/>
              <a:gd name="connsiteY367" fmla="*/ 14194 h 1533837"/>
              <a:gd name="connsiteX368" fmla="*/ 4534484 w 6359860"/>
              <a:gd name="connsiteY368" fmla="*/ 13 h 1533837"/>
              <a:gd name="connsiteX369" fmla="*/ 4477932 w 6359860"/>
              <a:gd name="connsiteY369" fmla="*/ 13 h 1533837"/>
              <a:gd name="connsiteX370" fmla="*/ 4492113 w 6359860"/>
              <a:gd name="connsiteY370" fmla="*/ 14194 h 1533837"/>
              <a:gd name="connsiteX371" fmla="*/ 4477932 w 6359860"/>
              <a:gd name="connsiteY371" fmla="*/ 28374 h 1533837"/>
              <a:gd name="connsiteX372" fmla="*/ 4463752 w 6359860"/>
              <a:gd name="connsiteY372" fmla="*/ 14194 h 1533837"/>
              <a:gd name="connsiteX373" fmla="*/ 4477932 w 6359860"/>
              <a:gd name="connsiteY373" fmla="*/ 13 h 1533837"/>
              <a:gd name="connsiteX374" fmla="*/ 4421323 w 6359860"/>
              <a:gd name="connsiteY374" fmla="*/ 13 h 1533837"/>
              <a:gd name="connsiteX375" fmla="*/ 4435504 w 6359860"/>
              <a:gd name="connsiteY375" fmla="*/ 14194 h 1533837"/>
              <a:gd name="connsiteX376" fmla="*/ 4421323 w 6359860"/>
              <a:gd name="connsiteY376" fmla="*/ 28374 h 1533837"/>
              <a:gd name="connsiteX377" fmla="*/ 4407143 w 6359860"/>
              <a:gd name="connsiteY377" fmla="*/ 14194 h 1533837"/>
              <a:gd name="connsiteX378" fmla="*/ 4421323 w 6359860"/>
              <a:gd name="connsiteY378" fmla="*/ 13 h 1533837"/>
              <a:gd name="connsiteX379" fmla="*/ 4364715 w 6359860"/>
              <a:gd name="connsiteY379" fmla="*/ 13 h 1533837"/>
              <a:gd name="connsiteX380" fmla="*/ 4378895 w 6359860"/>
              <a:gd name="connsiteY380" fmla="*/ 14194 h 1533837"/>
              <a:gd name="connsiteX381" fmla="*/ 4364715 w 6359860"/>
              <a:gd name="connsiteY381" fmla="*/ 28374 h 1533837"/>
              <a:gd name="connsiteX382" fmla="*/ 4350534 w 6359860"/>
              <a:gd name="connsiteY382" fmla="*/ 14194 h 1533837"/>
              <a:gd name="connsiteX383" fmla="*/ 4364715 w 6359860"/>
              <a:gd name="connsiteY383" fmla="*/ 13 h 1533837"/>
              <a:gd name="connsiteX384" fmla="*/ 4308106 w 6359860"/>
              <a:gd name="connsiteY384" fmla="*/ 13 h 1533837"/>
              <a:gd name="connsiteX385" fmla="*/ 4322286 w 6359860"/>
              <a:gd name="connsiteY385" fmla="*/ 14194 h 1533837"/>
              <a:gd name="connsiteX386" fmla="*/ 4308106 w 6359860"/>
              <a:gd name="connsiteY386" fmla="*/ 28374 h 1533837"/>
              <a:gd name="connsiteX387" fmla="*/ 4293925 w 6359860"/>
              <a:gd name="connsiteY387" fmla="*/ 14194 h 1533837"/>
              <a:gd name="connsiteX388" fmla="*/ 4308106 w 6359860"/>
              <a:gd name="connsiteY388" fmla="*/ 13 h 1533837"/>
              <a:gd name="connsiteX389" fmla="*/ 4251497 w 6359860"/>
              <a:gd name="connsiteY389" fmla="*/ 13 h 1533837"/>
              <a:gd name="connsiteX390" fmla="*/ 4265677 w 6359860"/>
              <a:gd name="connsiteY390" fmla="*/ 14194 h 1533837"/>
              <a:gd name="connsiteX391" fmla="*/ 4251497 w 6359860"/>
              <a:gd name="connsiteY391" fmla="*/ 28374 h 1533837"/>
              <a:gd name="connsiteX392" fmla="*/ 4237316 w 6359860"/>
              <a:gd name="connsiteY392" fmla="*/ 14194 h 1533837"/>
              <a:gd name="connsiteX393" fmla="*/ 4251497 w 6359860"/>
              <a:gd name="connsiteY393" fmla="*/ 13 h 1533837"/>
              <a:gd name="connsiteX394" fmla="*/ 4194888 w 6359860"/>
              <a:gd name="connsiteY394" fmla="*/ 13 h 1533837"/>
              <a:gd name="connsiteX395" fmla="*/ 4209126 w 6359860"/>
              <a:gd name="connsiteY395" fmla="*/ 14194 h 1533837"/>
              <a:gd name="connsiteX396" fmla="*/ 4194888 w 6359860"/>
              <a:gd name="connsiteY396" fmla="*/ 28374 h 1533837"/>
              <a:gd name="connsiteX397" fmla="*/ 4180764 w 6359860"/>
              <a:gd name="connsiteY397" fmla="*/ 14194 h 1533837"/>
              <a:gd name="connsiteX398" fmla="*/ 4194888 w 6359860"/>
              <a:gd name="connsiteY398" fmla="*/ 13 h 1533837"/>
              <a:gd name="connsiteX399" fmla="*/ 4138336 w 6359860"/>
              <a:gd name="connsiteY399" fmla="*/ 13 h 1533837"/>
              <a:gd name="connsiteX400" fmla="*/ 4152517 w 6359860"/>
              <a:gd name="connsiteY400" fmla="*/ 14194 h 1533837"/>
              <a:gd name="connsiteX401" fmla="*/ 4138336 w 6359860"/>
              <a:gd name="connsiteY401" fmla="*/ 28374 h 1533837"/>
              <a:gd name="connsiteX402" fmla="*/ 4124156 w 6359860"/>
              <a:gd name="connsiteY402" fmla="*/ 14194 h 1533837"/>
              <a:gd name="connsiteX403" fmla="*/ 4138336 w 6359860"/>
              <a:gd name="connsiteY403" fmla="*/ 13 h 1533837"/>
              <a:gd name="connsiteX404" fmla="*/ 4081727 w 6359860"/>
              <a:gd name="connsiteY404" fmla="*/ 13 h 1533837"/>
              <a:gd name="connsiteX405" fmla="*/ 4095908 w 6359860"/>
              <a:gd name="connsiteY405" fmla="*/ 14194 h 1533837"/>
              <a:gd name="connsiteX406" fmla="*/ 4081727 w 6359860"/>
              <a:gd name="connsiteY406" fmla="*/ 28374 h 1533837"/>
              <a:gd name="connsiteX407" fmla="*/ 4067547 w 6359860"/>
              <a:gd name="connsiteY407" fmla="*/ 14194 h 1533837"/>
              <a:gd name="connsiteX408" fmla="*/ 4081727 w 6359860"/>
              <a:gd name="connsiteY408" fmla="*/ 13 h 1533837"/>
              <a:gd name="connsiteX409" fmla="*/ 4025119 w 6359860"/>
              <a:gd name="connsiteY409" fmla="*/ 13 h 1533837"/>
              <a:gd name="connsiteX410" fmla="*/ 4039299 w 6359860"/>
              <a:gd name="connsiteY410" fmla="*/ 14194 h 1533837"/>
              <a:gd name="connsiteX411" fmla="*/ 4025119 w 6359860"/>
              <a:gd name="connsiteY411" fmla="*/ 28374 h 1533837"/>
              <a:gd name="connsiteX412" fmla="*/ 4010938 w 6359860"/>
              <a:gd name="connsiteY412" fmla="*/ 14194 h 1533837"/>
              <a:gd name="connsiteX413" fmla="*/ 4025119 w 6359860"/>
              <a:gd name="connsiteY413" fmla="*/ 13 h 1533837"/>
              <a:gd name="connsiteX414" fmla="*/ 3968510 w 6359860"/>
              <a:gd name="connsiteY414" fmla="*/ 13 h 1533837"/>
              <a:gd name="connsiteX415" fmla="*/ 3982691 w 6359860"/>
              <a:gd name="connsiteY415" fmla="*/ 14194 h 1533837"/>
              <a:gd name="connsiteX416" fmla="*/ 3968510 w 6359860"/>
              <a:gd name="connsiteY416" fmla="*/ 28374 h 1533837"/>
              <a:gd name="connsiteX417" fmla="*/ 3954330 w 6359860"/>
              <a:gd name="connsiteY417" fmla="*/ 14194 h 1533837"/>
              <a:gd name="connsiteX418" fmla="*/ 3968510 w 6359860"/>
              <a:gd name="connsiteY418" fmla="*/ 13 h 1533837"/>
              <a:gd name="connsiteX419" fmla="*/ 3911901 w 6359860"/>
              <a:gd name="connsiteY419" fmla="*/ 13 h 1533837"/>
              <a:gd name="connsiteX420" fmla="*/ 3926082 w 6359860"/>
              <a:gd name="connsiteY420" fmla="*/ 14194 h 1533837"/>
              <a:gd name="connsiteX421" fmla="*/ 3911901 w 6359860"/>
              <a:gd name="connsiteY421" fmla="*/ 28374 h 1533837"/>
              <a:gd name="connsiteX422" fmla="*/ 3897721 w 6359860"/>
              <a:gd name="connsiteY422" fmla="*/ 14194 h 1533837"/>
              <a:gd name="connsiteX423" fmla="*/ 3911901 w 6359860"/>
              <a:gd name="connsiteY423" fmla="*/ 13 h 1533837"/>
              <a:gd name="connsiteX424" fmla="*/ 3855349 w 6359860"/>
              <a:gd name="connsiteY424" fmla="*/ 13 h 1533837"/>
              <a:gd name="connsiteX425" fmla="*/ 3869530 w 6359860"/>
              <a:gd name="connsiteY425" fmla="*/ 14194 h 1533837"/>
              <a:gd name="connsiteX426" fmla="*/ 3855349 w 6359860"/>
              <a:gd name="connsiteY426" fmla="*/ 28374 h 1533837"/>
              <a:gd name="connsiteX427" fmla="*/ 3841169 w 6359860"/>
              <a:gd name="connsiteY427" fmla="*/ 14194 h 1533837"/>
              <a:gd name="connsiteX428" fmla="*/ 3855349 w 6359860"/>
              <a:gd name="connsiteY428" fmla="*/ 13 h 1533837"/>
              <a:gd name="connsiteX429" fmla="*/ 3798741 w 6359860"/>
              <a:gd name="connsiteY429" fmla="*/ 13 h 1533837"/>
              <a:gd name="connsiteX430" fmla="*/ 3812921 w 6359860"/>
              <a:gd name="connsiteY430" fmla="*/ 14194 h 1533837"/>
              <a:gd name="connsiteX431" fmla="*/ 3798741 w 6359860"/>
              <a:gd name="connsiteY431" fmla="*/ 28374 h 1533837"/>
              <a:gd name="connsiteX432" fmla="*/ 3784560 w 6359860"/>
              <a:gd name="connsiteY432" fmla="*/ 14194 h 1533837"/>
              <a:gd name="connsiteX433" fmla="*/ 3798741 w 6359860"/>
              <a:gd name="connsiteY433" fmla="*/ 13 h 1533837"/>
              <a:gd name="connsiteX434" fmla="*/ 3742132 w 6359860"/>
              <a:gd name="connsiteY434" fmla="*/ 13 h 1533837"/>
              <a:gd name="connsiteX435" fmla="*/ 3756312 w 6359860"/>
              <a:gd name="connsiteY435" fmla="*/ 14194 h 1533837"/>
              <a:gd name="connsiteX436" fmla="*/ 3742132 w 6359860"/>
              <a:gd name="connsiteY436" fmla="*/ 28374 h 1533837"/>
              <a:gd name="connsiteX437" fmla="*/ 3727951 w 6359860"/>
              <a:gd name="connsiteY437" fmla="*/ 14194 h 1533837"/>
              <a:gd name="connsiteX438" fmla="*/ 3742132 w 6359860"/>
              <a:gd name="connsiteY438" fmla="*/ 13 h 1533837"/>
              <a:gd name="connsiteX439" fmla="*/ 3685523 w 6359860"/>
              <a:gd name="connsiteY439" fmla="*/ 13 h 1533837"/>
              <a:gd name="connsiteX440" fmla="*/ 3699704 w 6359860"/>
              <a:gd name="connsiteY440" fmla="*/ 14194 h 1533837"/>
              <a:gd name="connsiteX441" fmla="*/ 3685523 w 6359860"/>
              <a:gd name="connsiteY441" fmla="*/ 28374 h 1533837"/>
              <a:gd name="connsiteX442" fmla="*/ 3671343 w 6359860"/>
              <a:gd name="connsiteY442" fmla="*/ 14194 h 1533837"/>
              <a:gd name="connsiteX443" fmla="*/ 3685523 w 6359860"/>
              <a:gd name="connsiteY443" fmla="*/ 13 h 1533837"/>
              <a:gd name="connsiteX444" fmla="*/ 3628915 w 6359860"/>
              <a:gd name="connsiteY444" fmla="*/ 13 h 1533837"/>
              <a:gd name="connsiteX445" fmla="*/ 3643095 w 6359860"/>
              <a:gd name="connsiteY445" fmla="*/ 14194 h 1533837"/>
              <a:gd name="connsiteX446" fmla="*/ 3628915 w 6359860"/>
              <a:gd name="connsiteY446" fmla="*/ 28374 h 1533837"/>
              <a:gd name="connsiteX447" fmla="*/ 3614734 w 6359860"/>
              <a:gd name="connsiteY447" fmla="*/ 14194 h 1533837"/>
              <a:gd name="connsiteX448" fmla="*/ 3628915 w 6359860"/>
              <a:gd name="connsiteY448" fmla="*/ 13 h 1533837"/>
              <a:gd name="connsiteX449" fmla="*/ 3572362 w 6359860"/>
              <a:gd name="connsiteY449" fmla="*/ 13 h 1533837"/>
              <a:gd name="connsiteX450" fmla="*/ 3586543 w 6359860"/>
              <a:gd name="connsiteY450" fmla="*/ 14194 h 1533837"/>
              <a:gd name="connsiteX451" fmla="*/ 3572362 w 6359860"/>
              <a:gd name="connsiteY451" fmla="*/ 28374 h 1533837"/>
              <a:gd name="connsiteX452" fmla="*/ 3558182 w 6359860"/>
              <a:gd name="connsiteY452" fmla="*/ 14194 h 1533837"/>
              <a:gd name="connsiteX453" fmla="*/ 3572362 w 6359860"/>
              <a:gd name="connsiteY453" fmla="*/ 13 h 1533837"/>
              <a:gd name="connsiteX454" fmla="*/ 3515754 w 6359860"/>
              <a:gd name="connsiteY454" fmla="*/ 13 h 1533837"/>
              <a:gd name="connsiteX455" fmla="*/ 3529934 w 6359860"/>
              <a:gd name="connsiteY455" fmla="*/ 14194 h 1533837"/>
              <a:gd name="connsiteX456" fmla="*/ 3515754 w 6359860"/>
              <a:gd name="connsiteY456" fmla="*/ 28374 h 1533837"/>
              <a:gd name="connsiteX457" fmla="*/ 3501573 w 6359860"/>
              <a:gd name="connsiteY457" fmla="*/ 14194 h 1533837"/>
              <a:gd name="connsiteX458" fmla="*/ 3515754 w 6359860"/>
              <a:gd name="connsiteY458" fmla="*/ 13 h 1533837"/>
              <a:gd name="connsiteX459" fmla="*/ 3459145 w 6359860"/>
              <a:gd name="connsiteY459" fmla="*/ 13 h 1533837"/>
              <a:gd name="connsiteX460" fmla="*/ 3473325 w 6359860"/>
              <a:gd name="connsiteY460" fmla="*/ 14194 h 1533837"/>
              <a:gd name="connsiteX461" fmla="*/ 3459145 w 6359860"/>
              <a:gd name="connsiteY461" fmla="*/ 28374 h 1533837"/>
              <a:gd name="connsiteX462" fmla="*/ 3444964 w 6359860"/>
              <a:gd name="connsiteY462" fmla="*/ 14194 h 1533837"/>
              <a:gd name="connsiteX463" fmla="*/ 3459145 w 6359860"/>
              <a:gd name="connsiteY463" fmla="*/ 13 h 1533837"/>
              <a:gd name="connsiteX464" fmla="*/ 3402536 w 6359860"/>
              <a:gd name="connsiteY464" fmla="*/ 13 h 1533837"/>
              <a:gd name="connsiteX465" fmla="*/ 3416717 w 6359860"/>
              <a:gd name="connsiteY465" fmla="*/ 14194 h 1533837"/>
              <a:gd name="connsiteX466" fmla="*/ 3402536 w 6359860"/>
              <a:gd name="connsiteY466" fmla="*/ 28374 h 1533837"/>
              <a:gd name="connsiteX467" fmla="*/ 3388356 w 6359860"/>
              <a:gd name="connsiteY467" fmla="*/ 14194 h 1533837"/>
              <a:gd name="connsiteX468" fmla="*/ 3402536 w 6359860"/>
              <a:gd name="connsiteY468" fmla="*/ 13 h 1533837"/>
              <a:gd name="connsiteX469" fmla="*/ 3345928 w 6359860"/>
              <a:gd name="connsiteY469" fmla="*/ 13 h 1533837"/>
              <a:gd name="connsiteX470" fmla="*/ 3360108 w 6359860"/>
              <a:gd name="connsiteY470" fmla="*/ 14194 h 1533837"/>
              <a:gd name="connsiteX471" fmla="*/ 3345928 w 6359860"/>
              <a:gd name="connsiteY471" fmla="*/ 28374 h 1533837"/>
              <a:gd name="connsiteX472" fmla="*/ 3331747 w 6359860"/>
              <a:gd name="connsiteY472" fmla="*/ 14194 h 1533837"/>
              <a:gd name="connsiteX473" fmla="*/ 3345928 w 6359860"/>
              <a:gd name="connsiteY473" fmla="*/ 13 h 1533837"/>
              <a:gd name="connsiteX474" fmla="*/ 3289375 w 6359860"/>
              <a:gd name="connsiteY474" fmla="*/ 13 h 1533837"/>
              <a:gd name="connsiteX475" fmla="*/ 3303499 w 6359860"/>
              <a:gd name="connsiteY475" fmla="*/ 14194 h 1533837"/>
              <a:gd name="connsiteX476" fmla="*/ 3289375 w 6359860"/>
              <a:gd name="connsiteY476" fmla="*/ 28374 h 1533837"/>
              <a:gd name="connsiteX477" fmla="*/ 3275138 w 6359860"/>
              <a:gd name="connsiteY477" fmla="*/ 14194 h 1533837"/>
              <a:gd name="connsiteX478" fmla="*/ 3289375 w 6359860"/>
              <a:gd name="connsiteY478" fmla="*/ 13 h 1533837"/>
              <a:gd name="connsiteX479" fmla="*/ 3232767 w 6359860"/>
              <a:gd name="connsiteY479" fmla="*/ 13 h 1533837"/>
              <a:gd name="connsiteX480" fmla="*/ 3246947 w 6359860"/>
              <a:gd name="connsiteY480" fmla="*/ 14194 h 1533837"/>
              <a:gd name="connsiteX481" fmla="*/ 3232767 w 6359860"/>
              <a:gd name="connsiteY481" fmla="*/ 28374 h 1533837"/>
              <a:gd name="connsiteX482" fmla="*/ 3218586 w 6359860"/>
              <a:gd name="connsiteY482" fmla="*/ 14194 h 1533837"/>
              <a:gd name="connsiteX483" fmla="*/ 3232767 w 6359860"/>
              <a:gd name="connsiteY483" fmla="*/ 13 h 1533837"/>
              <a:gd name="connsiteX484" fmla="*/ 3176158 w 6359860"/>
              <a:gd name="connsiteY484" fmla="*/ 13 h 1533837"/>
              <a:gd name="connsiteX485" fmla="*/ 3190339 w 6359860"/>
              <a:gd name="connsiteY485" fmla="*/ 14194 h 1533837"/>
              <a:gd name="connsiteX486" fmla="*/ 3176158 w 6359860"/>
              <a:gd name="connsiteY486" fmla="*/ 28374 h 1533837"/>
              <a:gd name="connsiteX487" fmla="*/ 3161978 w 6359860"/>
              <a:gd name="connsiteY487" fmla="*/ 14194 h 1533837"/>
              <a:gd name="connsiteX488" fmla="*/ 3176158 w 6359860"/>
              <a:gd name="connsiteY488" fmla="*/ 13 h 1533837"/>
              <a:gd name="connsiteX489" fmla="*/ 3119549 w 6359860"/>
              <a:gd name="connsiteY489" fmla="*/ 13 h 1533837"/>
              <a:gd name="connsiteX490" fmla="*/ 3133730 w 6359860"/>
              <a:gd name="connsiteY490" fmla="*/ 14194 h 1533837"/>
              <a:gd name="connsiteX491" fmla="*/ 3119549 w 6359860"/>
              <a:gd name="connsiteY491" fmla="*/ 28374 h 1533837"/>
              <a:gd name="connsiteX492" fmla="*/ 3105369 w 6359860"/>
              <a:gd name="connsiteY492" fmla="*/ 14194 h 1533837"/>
              <a:gd name="connsiteX493" fmla="*/ 3119549 w 6359860"/>
              <a:gd name="connsiteY493" fmla="*/ 13 h 1533837"/>
              <a:gd name="connsiteX494" fmla="*/ 3062941 w 6359860"/>
              <a:gd name="connsiteY494" fmla="*/ 13 h 1533837"/>
              <a:gd name="connsiteX495" fmla="*/ 3077121 w 6359860"/>
              <a:gd name="connsiteY495" fmla="*/ 14194 h 1533837"/>
              <a:gd name="connsiteX496" fmla="*/ 3062941 w 6359860"/>
              <a:gd name="connsiteY496" fmla="*/ 28374 h 1533837"/>
              <a:gd name="connsiteX497" fmla="*/ 3048760 w 6359860"/>
              <a:gd name="connsiteY497" fmla="*/ 14194 h 1533837"/>
              <a:gd name="connsiteX498" fmla="*/ 3062941 w 6359860"/>
              <a:gd name="connsiteY498" fmla="*/ 13 h 1533837"/>
              <a:gd name="connsiteX499" fmla="*/ 3006332 w 6359860"/>
              <a:gd name="connsiteY499" fmla="*/ 13 h 1533837"/>
              <a:gd name="connsiteX500" fmla="*/ 3020513 w 6359860"/>
              <a:gd name="connsiteY500" fmla="*/ 14194 h 1533837"/>
              <a:gd name="connsiteX501" fmla="*/ 3006332 w 6359860"/>
              <a:gd name="connsiteY501" fmla="*/ 28374 h 1533837"/>
              <a:gd name="connsiteX502" fmla="*/ 2992151 w 6359860"/>
              <a:gd name="connsiteY502" fmla="*/ 14194 h 1533837"/>
              <a:gd name="connsiteX503" fmla="*/ 3006332 w 6359860"/>
              <a:gd name="connsiteY503" fmla="*/ 13 h 1533837"/>
              <a:gd name="connsiteX504" fmla="*/ 2949780 w 6359860"/>
              <a:gd name="connsiteY504" fmla="*/ 13 h 1533837"/>
              <a:gd name="connsiteX505" fmla="*/ 2963960 w 6359860"/>
              <a:gd name="connsiteY505" fmla="*/ 14194 h 1533837"/>
              <a:gd name="connsiteX506" fmla="*/ 2949780 w 6359860"/>
              <a:gd name="connsiteY506" fmla="*/ 28374 h 1533837"/>
              <a:gd name="connsiteX507" fmla="*/ 2935542 w 6359860"/>
              <a:gd name="connsiteY507" fmla="*/ 14194 h 1533837"/>
              <a:gd name="connsiteX508" fmla="*/ 2949780 w 6359860"/>
              <a:gd name="connsiteY508" fmla="*/ 13 h 1533837"/>
              <a:gd name="connsiteX509" fmla="*/ 2893171 w 6359860"/>
              <a:gd name="connsiteY509" fmla="*/ 13 h 1533837"/>
              <a:gd name="connsiteX510" fmla="*/ 2907352 w 6359860"/>
              <a:gd name="connsiteY510" fmla="*/ 14194 h 1533837"/>
              <a:gd name="connsiteX511" fmla="*/ 2893171 w 6359860"/>
              <a:gd name="connsiteY511" fmla="*/ 28374 h 1533837"/>
              <a:gd name="connsiteX512" fmla="*/ 2878991 w 6359860"/>
              <a:gd name="connsiteY512" fmla="*/ 14194 h 1533837"/>
              <a:gd name="connsiteX513" fmla="*/ 2893171 w 6359860"/>
              <a:gd name="connsiteY513" fmla="*/ 13 h 1533837"/>
              <a:gd name="connsiteX514" fmla="*/ 2836563 w 6359860"/>
              <a:gd name="connsiteY514" fmla="*/ 13 h 1533837"/>
              <a:gd name="connsiteX515" fmla="*/ 2850743 w 6359860"/>
              <a:gd name="connsiteY515" fmla="*/ 14194 h 1533837"/>
              <a:gd name="connsiteX516" fmla="*/ 2836563 w 6359860"/>
              <a:gd name="connsiteY516" fmla="*/ 28374 h 1533837"/>
              <a:gd name="connsiteX517" fmla="*/ 2822382 w 6359860"/>
              <a:gd name="connsiteY517" fmla="*/ 14194 h 1533837"/>
              <a:gd name="connsiteX518" fmla="*/ 2836563 w 6359860"/>
              <a:gd name="connsiteY518" fmla="*/ 13 h 1533837"/>
              <a:gd name="connsiteX519" fmla="*/ 2779954 w 6359860"/>
              <a:gd name="connsiteY519" fmla="*/ 13 h 1533837"/>
              <a:gd name="connsiteX520" fmla="*/ 2794134 w 6359860"/>
              <a:gd name="connsiteY520" fmla="*/ 14194 h 1533837"/>
              <a:gd name="connsiteX521" fmla="*/ 2779954 w 6359860"/>
              <a:gd name="connsiteY521" fmla="*/ 28374 h 1533837"/>
              <a:gd name="connsiteX522" fmla="*/ 2765773 w 6359860"/>
              <a:gd name="connsiteY522" fmla="*/ 14194 h 1533837"/>
              <a:gd name="connsiteX523" fmla="*/ 2779954 w 6359860"/>
              <a:gd name="connsiteY523" fmla="*/ 13 h 1533837"/>
              <a:gd name="connsiteX524" fmla="*/ 2723345 w 6359860"/>
              <a:gd name="connsiteY524" fmla="*/ 13 h 1533837"/>
              <a:gd name="connsiteX525" fmla="*/ 2737526 w 6359860"/>
              <a:gd name="connsiteY525" fmla="*/ 14194 h 1533837"/>
              <a:gd name="connsiteX526" fmla="*/ 2723345 w 6359860"/>
              <a:gd name="connsiteY526" fmla="*/ 28374 h 1533837"/>
              <a:gd name="connsiteX527" fmla="*/ 2709164 w 6359860"/>
              <a:gd name="connsiteY527" fmla="*/ 14194 h 1533837"/>
              <a:gd name="connsiteX528" fmla="*/ 2723345 w 6359860"/>
              <a:gd name="connsiteY528" fmla="*/ 13 h 1533837"/>
              <a:gd name="connsiteX529" fmla="*/ 2666793 w 6359860"/>
              <a:gd name="connsiteY529" fmla="*/ 13 h 1533837"/>
              <a:gd name="connsiteX530" fmla="*/ 2680917 w 6359860"/>
              <a:gd name="connsiteY530" fmla="*/ 14194 h 1533837"/>
              <a:gd name="connsiteX531" fmla="*/ 2666793 w 6359860"/>
              <a:gd name="connsiteY531" fmla="*/ 28374 h 1533837"/>
              <a:gd name="connsiteX532" fmla="*/ 2652612 w 6359860"/>
              <a:gd name="connsiteY532" fmla="*/ 14194 h 1533837"/>
              <a:gd name="connsiteX533" fmla="*/ 2666793 w 6359860"/>
              <a:gd name="connsiteY533" fmla="*/ 13 h 1533837"/>
              <a:gd name="connsiteX534" fmla="*/ 2610184 w 6359860"/>
              <a:gd name="connsiteY534" fmla="*/ 13 h 1533837"/>
              <a:gd name="connsiteX535" fmla="*/ 2624365 w 6359860"/>
              <a:gd name="connsiteY535" fmla="*/ 14194 h 1533837"/>
              <a:gd name="connsiteX536" fmla="*/ 2610184 w 6359860"/>
              <a:gd name="connsiteY536" fmla="*/ 28374 h 1533837"/>
              <a:gd name="connsiteX537" fmla="*/ 2596004 w 6359860"/>
              <a:gd name="connsiteY537" fmla="*/ 14194 h 1533837"/>
              <a:gd name="connsiteX538" fmla="*/ 2610184 w 6359860"/>
              <a:gd name="connsiteY538" fmla="*/ 13 h 1533837"/>
              <a:gd name="connsiteX539" fmla="*/ 2553576 w 6359860"/>
              <a:gd name="connsiteY539" fmla="*/ 13 h 1533837"/>
              <a:gd name="connsiteX540" fmla="*/ 2567756 w 6359860"/>
              <a:gd name="connsiteY540" fmla="*/ 14194 h 1533837"/>
              <a:gd name="connsiteX541" fmla="*/ 2553576 w 6359860"/>
              <a:gd name="connsiteY541" fmla="*/ 28374 h 1533837"/>
              <a:gd name="connsiteX542" fmla="*/ 2539395 w 6359860"/>
              <a:gd name="connsiteY542" fmla="*/ 14194 h 1533837"/>
              <a:gd name="connsiteX543" fmla="*/ 2553576 w 6359860"/>
              <a:gd name="connsiteY543" fmla="*/ 13 h 1533837"/>
              <a:gd name="connsiteX544" fmla="*/ 2496967 w 6359860"/>
              <a:gd name="connsiteY544" fmla="*/ 13 h 1533837"/>
              <a:gd name="connsiteX545" fmla="*/ 2511147 w 6359860"/>
              <a:gd name="connsiteY545" fmla="*/ 14194 h 1533837"/>
              <a:gd name="connsiteX546" fmla="*/ 2496967 w 6359860"/>
              <a:gd name="connsiteY546" fmla="*/ 28374 h 1533837"/>
              <a:gd name="connsiteX547" fmla="*/ 2482786 w 6359860"/>
              <a:gd name="connsiteY547" fmla="*/ 14194 h 1533837"/>
              <a:gd name="connsiteX548" fmla="*/ 2496967 w 6359860"/>
              <a:gd name="connsiteY548" fmla="*/ 13 h 1533837"/>
              <a:gd name="connsiteX549" fmla="*/ 2440358 w 6359860"/>
              <a:gd name="connsiteY549" fmla="*/ 13 h 1533837"/>
              <a:gd name="connsiteX550" fmla="*/ 2454539 w 6359860"/>
              <a:gd name="connsiteY550" fmla="*/ 14194 h 1533837"/>
              <a:gd name="connsiteX551" fmla="*/ 2440358 w 6359860"/>
              <a:gd name="connsiteY551" fmla="*/ 28374 h 1533837"/>
              <a:gd name="connsiteX552" fmla="*/ 2426177 w 6359860"/>
              <a:gd name="connsiteY552" fmla="*/ 14194 h 1533837"/>
              <a:gd name="connsiteX553" fmla="*/ 2440358 w 6359860"/>
              <a:gd name="connsiteY553" fmla="*/ 13 h 1533837"/>
              <a:gd name="connsiteX554" fmla="*/ 2383749 w 6359860"/>
              <a:gd name="connsiteY554" fmla="*/ 13 h 1533837"/>
              <a:gd name="connsiteX555" fmla="*/ 2397987 w 6359860"/>
              <a:gd name="connsiteY555" fmla="*/ 14194 h 1533837"/>
              <a:gd name="connsiteX556" fmla="*/ 2383749 w 6359860"/>
              <a:gd name="connsiteY556" fmla="*/ 28374 h 1533837"/>
              <a:gd name="connsiteX557" fmla="*/ 2369626 w 6359860"/>
              <a:gd name="connsiteY557" fmla="*/ 14194 h 1533837"/>
              <a:gd name="connsiteX558" fmla="*/ 2383749 w 6359860"/>
              <a:gd name="connsiteY558" fmla="*/ 13 h 1533837"/>
              <a:gd name="connsiteX559" fmla="*/ 2327197 w 6359860"/>
              <a:gd name="connsiteY559" fmla="*/ 13 h 1533837"/>
              <a:gd name="connsiteX560" fmla="*/ 2341378 w 6359860"/>
              <a:gd name="connsiteY560" fmla="*/ 14194 h 1533837"/>
              <a:gd name="connsiteX561" fmla="*/ 2327197 w 6359860"/>
              <a:gd name="connsiteY561" fmla="*/ 28374 h 1533837"/>
              <a:gd name="connsiteX562" fmla="*/ 2313017 w 6359860"/>
              <a:gd name="connsiteY562" fmla="*/ 14194 h 1533837"/>
              <a:gd name="connsiteX563" fmla="*/ 2327197 w 6359860"/>
              <a:gd name="connsiteY563" fmla="*/ 13 h 1533837"/>
              <a:gd name="connsiteX564" fmla="*/ 2270589 w 6359860"/>
              <a:gd name="connsiteY564" fmla="*/ 13 h 1533837"/>
              <a:gd name="connsiteX565" fmla="*/ 2284769 w 6359860"/>
              <a:gd name="connsiteY565" fmla="*/ 14194 h 1533837"/>
              <a:gd name="connsiteX566" fmla="*/ 2270589 w 6359860"/>
              <a:gd name="connsiteY566" fmla="*/ 28374 h 1533837"/>
              <a:gd name="connsiteX567" fmla="*/ 2256408 w 6359860"/>
              <a:gd name="connsiteY567" fmla="*/ 14194 h 1533837"/>
              <a:gd name="connsiteX568" fmla="*/ 2270589 w 6359860"/>
              <a:gd name="connsiteY568" fmla="*/ 13 h 1533837"/>
              <a:gd name="connsiteX569" fmla="*/ 2213980 w 6359860"/>
              <a:gd name="connsiteY569" fmla="*/ 13 h 1533837"/>
              <a:gd name="connsiteX570" fmla="*/ 2228160 w 6359860"/>
              <a:gd name="connsiteY570" fmla="*/ 14194 h 1533837"/>
              <a:gd name="connsiteX571" fmla="*/ 2213980 w 6359860"/>
              <a:gd name="connsiteY571" fmla="*/ 28374 h 1533837"/>
              <a:gd name="connsiteX572" fmla="*/ 2199799 w 6359860"/>
              <a:gd name="connsiteY572" fmla="*/ 14194 h 1533837"/>
              <a:gd name="connsiteX573" fmla="*/ 2213980 w 6359860"/>
              <a:gd name="connsiteY573" fmla="*/ 13 h 1533837"/>
              <a:gd name="connsiteX574" fmla="*/ 2157371 w 6359860"/>
              <a:gd name="connsiteY574" fmla="*/ 13 h 1533837"/>
              <a:gd name="connsiteX575" fmla="*/ 2171551 w 6359860"/>
              <a:gd name="connsiteY575" fmla="*/ 14194 h 1533837"/>
              <a:gd name="connsiteX576" fmla="*/ 2157371 w 6359860"/>
              <a:gd name="connsiteY576" fmla="*/ 28374 h 1533837"/>
              <a:gd name="connsiteX577" fmla="*/ 2143190 w 6359860"/>
              <a:gd name="connsiteY577" fmla="*/ 14194 h 1533837"/>
              <a:gd name="connsiteX578" fmla="*/ 2157371 w 6359860"/>
              <a:gd name="connsiteY578" fmla="*/ 13 h 1533837"/>
              <a:gd name="connsiteX579" fmla="*/ 2100762 w 6359860"/>
              <a:gd name="connsiteY579" fmla="*/ 13 h 1533837"/>
              <a:gd name="connsiteX580" fmla="*/ 2114943 w 6359860"/>
              <a:gd name="connsiteY580" fmla="*/ 14194 h 1533837"/>
              <a:gd name="connsiteX581" fmla="*/ 2100762 w 6359860"/>
              <a:gd name="connsiteY581" fmla="*/ 28374 h 1533837"/>
              <a:gd name="connsiteX582" fmla="*/ 2086582 w 6359860"/>
              <a:gd name="connsiteY582" fmla="*/ 14194 h 1533837"/>
              <a:gd name="connsiteX583" fmla="*/ 2100762 w 6359860"/>
              <a:gd name="connsiteY583" fmla="*/ 13 h 1533837"/>
              <a:gd name="connsiteX584" fmla="*/ 2044154 w 6359860"/>
              <a:gd name="connsiteY584" fmla="*/ 13 h 1533837"/>
              <a:gd name="connsiteX585" fmla="*/ 2058391 w 6359860"/>
              <a:gd name="connsiteY585" fmla="*/ 14194 h 1533837"/>
              <a:gd name="connsiteX586" fmla="*/ 2044154 w 6359860"/>
              <a:gd name="connsiteY586" fmla="*/ 28374 h 1533837"/>
              <a:gd name="connsiteX587" fmla="*/ 2030030 w 6359860"/>
              <a:gd name="connsiteY587" fmla="*/ 14194 h 1533837"/>
              <a:gd name="connsiteX588" fmla="*/ 2044154 w 6359860"/>
              <a:gd name="connsiteY588" fmla="*/ 13 h 1533837"/>
              <a:gd name="connsiteX589" fmla="*/ 1987601 w 6359860"/>
              <a:gd name="connsiteY589" fmla="*/ 13 h 1533837"/>
              <a:gd name="connsiteX590" fmla="*/ 2001782 w 6359860"/>
              <a:gd name="connsiteY590" fmla="*/ 14194 h 1533837"/>
              <a:gd name="connsiteX591" fmla="*/ 1987601 w 6359860"/>
              <a:gd name="connsiteY591" fmla="*/ 28374 h 1533837"/>
              <a:gd name="connsiteX592" fmla="*/ 1973421 w 6359860"/>
              <a:gd name="connsiteY592" fmla="*/ 14194 h 1533837"/>
              <a:gd name="connsiteX593" fmla="*/ 1987601 w 6359860"/>
              <a:gd name="connsiteY593" fmla="*/ 13 h 1533837"/>
              <a:gd name="connsiteX594" fmla="*/ 1930993 w 6359860"/>
              <a:gd name="connsiteY594" fmla="*/ 13 h 1533837"/>
              <a:gd name="connsiteX595" fmla="*/ 1945173 w 6359860"/>
              <a:gd name="connsiteY595" fmla="*/ 14194 h 1533837"/>
              <a:gd name="connsiteX596" fmla="*/ 1930993 w 6359860"/>
              <a:gd name="connsiteY596" fmla="*/ 28374 h 1533837"/>
              <a:gd name="connsiteX597" fmla="*/ 1916812 w 6359860"/>
              <a:gd name="connsiteY597" fmla="*/ 14194 h 1533837"/>
              <a:gd name="connsiteX598" fmla="*/ 1930993 w 6359860"/>
              <a:gd name="connsiteY598" fmla="*/ 13 h 1533837"/>
              <a:gd name="connsiteX599" fmla="*/ 1874384 w 6359860"/>
              <a:gd name="connsiteY599" fmla="*/ 13 h 1533837"/>
              <a:gd name="connsiteX600" fmla="*/ 1888565 w 6359860"/>
              <a:gd name="connsiteY600" fmla="*/ 14194 h 1533837"/>
              <a:gd name="connsiteX601" fmla="*/ 1874384 w 6359860"/>
              <a:gd name="connsiteY601" fmla="*/ 28374 h 1533837"/>
              <a:gd name="connsiteX602" fmla="*/ 1860204 w 6359860"/>
              <a:gd name="connsiteY602" fmla="*/ 14194 h 1533837"/>
              <a:gd name="connsiteX603" fmla="*/ 1874384 w 6359860"/>
              <a:gd name="connsiteY603" fmla="*/ 13 h 1533837"/>
              <a:gd name="connsiteX604" fmla="*/ 1817775 w 6359860"/>
              <a:gd name="connsiteY604" fmla="*/ 13 h 1533837"/>
              <a:gd name="connsiteX605" fmla="*/ 1831956 w 6359860"/>
              <a:gd name="connsiteY605" fmla="*/ 14194 h 1533837"/>
              <a:gd name="connsiteX606" fmla="*/ 1817775 w 6359860"/>
              <a:gd name="connsiteY606" fmla="*/ 28374 h 1533837"/>
              <a:gd name="connsiteX607" fmla="*/ 1803595 w 6359860"/>
              <a:gd name="connsiteY607" fmla="*/ 14194 h 1533837"/>
              <a:gd name="connsiteX608" fmla="*/ 1817775 w 6359860"/>
              <a:gd name="connsiteY608" fmla="*/ 13 h 1533837"/>
              <a:gd name="connsiteX609" fmla="*/ 1761167 w 6359860"/>
              <a:gd name="connsiteY609" fmla="*/ 13 h 1533837"/>
              <a:gd name="connsiteX610" fmla="*/ 1775347 w 6359860"/>
              <a:gd name="connsiteY610" fmla="*/ 14194 h 1533837"/>
              <a:gd name="connsiteX611" fmla="*/ 1761167 w 6359860"/>
              <a:gd name="connsiteY611" fmla="*/ 28374 h 1533837"/>
              <a:gd name="connsiteX612" fmla="*/ 1746986 w 6359860"/>
              <a:gd name="connsiteY612" fmla="*/ 14194 h 1533837"/>
              <a:gd name="connsiteX613" fmla="*/ 1761167 w 6359860"/>
              <a:gd name="connsiteY613" fmla="*/ 13 h 1533837"/>
              <a:gd name="connsiteX614" fmla="*/ 1704615 w 6359860"/>
              <a:gd name="connsiteY614" fmla="*/ 13 h 1533837"/>
              <a:gd name="connsiteX615" fmla="*/ 1718795 w 6359860"/>
              <a:gd name="connsiteY615" fmla="*/ 14194 h 1533837"/>
              <a:gd name="connsiteX616" fmla="*/ 1704615 w 6359860"/>
              <a:gd name="connsiteY616" fmla="*/ 28374 h 1533837"/>
              <a:gd name="connsiteX617" fmla="*/ 1690434 w 6359860"/>
              <a:gd name="connsiteY617" fmla="*/ 14194 h 1533837"/>
              <a:gd name="connsiteX618" fmla="*/ 1704615 w 6359860"/>
              <a:gd name="connsiteY618" fmla="*/ 13 h 1533837"/>
              <a:gd name="connsiteX619" fmla="*/ 1648006 w 6359860"/>
              <a:gd name="connsiteY619" fmla="*/ 13 h 1533837"/>
              <a:gd name="connsiteX620" fmla="*/ 1662186 w 6359860"/>
              <a:gd name="connsiteY620" fmla="*/ 14194 h 1533837"/>
              <a:gd name="connsiteX621" fmla="*/ 1648006 w 6359860"/>
              <a:gd name="connsiteY621" fmla="*/ 28374 h 1533837"/>
              <a:gd name="connsiteX622" fmla="*/ 1633825 w 6359860"/>
              <a:gd name="connsiteY622" fmla="*/ 14194 h 1533837"/>
              <a:gd name="connsiteX623" fmla="*/ 1648006 w 6359860"/>
              <a:gd name="connsiteY623" fmla="*/ 13 h 1533837"/>
              <a:gd name="connsiteX624" fmla="*/ 1591397 w 6359860"/>
              <a:gd name="connsiteY624" fmla="*/ 13 h 1533837"/>
              <a:gd name="connsiteX625" fmla="*/ 1605578 w 6359860"/>
              <a:gd name="connsiteY625" fmla="*/ 14194 h 1533837"/>
              <a:gd name="connsiteX626" fmla="*/ 1591397 w 6359860"/>
              <a:gd name="connsiteY626" fmla="*/ 28374 h 1533837"/>
              <a:gd name="connsiteX627" fmla="*/ 1577217 w 6359860"/>
              <a:gd name="connsiteY627" fmla="*/ 14194 h 1533837"/>
              <a:gd name="connsiteX628" fmla="*/ 1591397 w 6359860"/>
              <a:gd name="connsiteY628" fmla="*/ 13 h 1533837"/>
              <a:gd name="connsiteX629" fmla="*/ 1534788 w 6359860"/>
              <a:gd name="connsiteY629" fmla="*/ 13 h 1533837"/>
              <a:gd name="connsiteX630" fmla="*/ 1548969 w 6359860"/>
              <a:gd name="connsiteY630" fmla="*/ 14194 h 1533837"/>
              <a:gd name="connsiteX631" fmla="*/ 1534788 w 6359860"/>
              <a:gd name="connsiteY631" fmla="*/ 28374 h 1533837"/>
              <a:gd name="connsiteX632" fmla="*/ 1520608 w 6359860"/>
              <a:gd name="connsiteY632" fmla="*/ 14194 h 1533837"/>
              <a:gd name="connsiteX633" fmla="*/ 1534788 w 6359860"/>
              <a:gd name="connsiteY633" fmla="*/ 13 h 1533837"/>
              <a:gd name="connsiteX634" fmla="*/ 1478180 w 6359860"/>
              <a:gd name="connsiteY634" fmla="*/ 13 h 1533837"/>
              <a:gd name="connsiteX635" fmla="*/ 1492360 w 6359860"/>
              <a:gd name="connsiteY635" fmla="*/ 14194 h 1533837"/>
              <a:gd name="connsiteX636" fmla="*/ 1478180 w 6359860"/>
              <a:gd name="connsiteY636" fmla="*/ 28374 h 1533837"/>
              <a:gd name="connsiteX637" fmla="*/ 1463999 w 6359860"/>
              <a:gd name="connsiteY637" fmla="*/ 14194 h 1533837"/>
              <a:gd name="connsiteX638" fmla="*/ 1478180 w 6359860"/>
              <a:gd name="connsiteY638" fmla="*/ 13 h 1533837"/>
              <a:gd name="connsiteX639" fmla="*/ 1421628 w 6359860"/>
              <a:gd name="connsiteY639" fmla="*/ 13 h 1533837"/>
              <a:gd name="connsiteX640" fmla="*/ 1435808 w 6359860"/>
              <a:gd name="connsiteY640" fmla="*/ 14194 h 1533837"/>
              <a:gd name="connsiteX641" fmla="*/ 1421628 w 6359860"/>
              <a:gd name="connsiteY641" fmla="*/ 28374 h 1533837"/>
              <a:gd name="connsiteX642" fmla="*/ 1407447 w 6359860"/>
              <a:gd name="connsiteY642" fmla="*/ 14194 h 1533837"/>
              <a:gd name="connsiteX643" fmla="*/ 1421628 w 6359860"/>
              <a:gd name="connsiteY643" fmla="*/ 13 h 1533837"/>
              <a:gd name="connsiteX644" fmla="*/ 1365019 w 6359860"/>
              <a:gd name="connsiteY644" fmla="*/ 13 h 1533837"/>
              <a:gd name="connsiteX645" fmla="*/ 1379200 w 6359860"/>
              <a:gd name="connsiteY645" fmla="*/ 14194 h 1533837"/>
              <a:gd name="connsiteX646" fmla="*/ 1365019 w 6359860"/>
              <a:gd name="connsiteY646" fmla="*/ 28374 h 1533837"/>
              <a:gd name="connsiteX647" fmla="*/ 1350839 w 6359860"/>
              <a:gd name="connsiteY647" fmla="*/ 14194 h 1533837"/>
              <a:gd name="connsiteX648" fmla="*/ 1365019 w 6359860"/>
              <a:gd name="connsiteY648" fmla="*/ 13 h 1533837"/>
              <a:gd name="connsiteX649" fmla="*/ 1308410 w 6359860"/>
              <a:gd name="connsiteY649" fmla="*/ 13 h 1533837"/>
              <a:gd name="connsiteX650" fmla="*/ 1322591 w 6359860"/>
              <a:gd name="connsiteY650" fmla="*/ 14194 h 1533837"/>
              <a:gd name="connsiteX651" fmla="*/ 1308410 w 6359860"/>
              <a:gd name="connsiteY651" fmla="*/ 28374 h 1533837"/>
              <a:gd name="connsiteX652" fmla="*/ 1294230 w 6359860"/>
              <a:gd name="connsiteY652" fmla="*/ 14194 h 1533837"/>
              <a:gd name="connsiteX653" fmla="*/ 1308410 w 6359860"/>
              <a:gd name="connsiteY653" fmla="*/ 13 h 1533837"/>
              <a:gd name="connsiteX654" fmla="*/ 1251802 w 6359860"/>
              <a:gd name="connsiteY654" fmla="*/ 13 h 1533837"/>
              <a:gd name="connsiteX655" fmla="*/ 1265982 w 6359860"/>
              <a:gd name="connsiteY655" fmla="*/ 14194 h 1533837"/>
              <a:gd name="connsiteX656" fmla="*/ 1251802 w 6359860"/>
              <a:gd name="connsiteY656" fmla="*/ 28374 h 1533837"/>
              <a:gd name="connsiteX657" fmla="*/ 1237621 w 6359860"/>
              <a:gd name="connsiteY657" fmla="*/ 14194 h 1533837"/>
              <a:gd name="connsiteX658" fmla="*/ 1251802 w 6359860"/>
              <a:gd name="connsiteY658" fmla="*/ 13 h 1533837"/>
              <a:gd name="connsiteX659" fmla="*/ 1195193 w 6359860"/>
              <a:gd name="connsiteY659" fmla="*/ 13 h 1533837"/>
              <a:gd name="connsiteX660" fmla="*/ 1209373 w 6359860"/>
              <a:gd name="connsiteY660" fmla="*/ 14194 h 1533837"/>
              <a:gd name="connsiteX661" fmla="*/ 1195193 w 6359860"/>
              <a:gd name="connsiteY661" fmla="*/ 28374 h 1533837"/>
              <a:gd name="connsiteX662" fmla="*/ 1181012 w 6359860"/>
              <a:gd name="connsiteY662" fmla="*/ 14194 h 1533837"/>
              <a:gd name="connsiteX663" fmla="*/ 1195193 w 6359860"/>
              <a:gd name="connsiteY663" fmla="*/ 13 h 1533837"/>
              <a:gd name="connsiteX664" fmla="*/ 1138641 w 6359860"/>
              <a:gd name="connsiteY664" fmla="*/ 13 h 1533837"/>
              <a:gd name="connsiteX665" fmla="*/ 1152765 w 6359860"/>
              <a:gd name="connsiteY665" fmla="*/ 14194 h 1533837"/>
              <a:gd name="connsiteX666" fmla="*/ 1138641 w 6359860"/>
              <a:gd name="connsiteY666" fmla="*/ 28374 h 1533837"/>
              <a:gd name="connsiteX667" fmla="*/ 1124403 w 6359860"/>
              <a:gd name="connsiteY667" fmla="*/ 14194 h 1533837"/>
              <a:gd name="connsiteX668" fmla="*/ 1138641 w 6359860"/>
              <a:gd name="connsiteY668" fmla="*/ 13 h 1533837"/>
              <a:gd name="connsiteX669" fmla="*/ 1082032 w 6359860"/>
              <a:gd name="connsiteY669" fmla="*/ 13 h 1533837"/>
              <a:gd name="connsiteX670" fmla="*/ 1096213 w 6359860"/>
              <a:gd name="connsiteY670" fmla="*/ 14194 h 1533837"/>
              <a:gd name="connsiteX671" fmla="*/ 1082032 w 6359860"/>
              <a:gd name="connsiteY671" fmla="*/ 28374 h 1533837"/>
              <a:gd name="connsiteX672" fmla="*/ 1067851 w 6359860"/>
              <a:gd name="connsiteY672" fmla="*/ 14194 h 1533837"/>
              <a:gd name="connsiteX673" fmla="*/ 1082032 w 6359860"/>
              <a:gd name="connsiteY673" fmla="*/ 13 h 1533837"/>
              <a:gd name="connsiteX674" fmla="*/ 1025423 w 6359860"/>
              <a:gd name="connsiteY674" fmla="*/ 13 h 1533837"/>
              <a:gd name="connsiteX675" fmla="*/ 1039604 w 6359860"/>
              <a:gd name="connsiteY675" fmla="*/ 14194 h 1533837"/>
              <a:gd name="connsiteX676" fmla="*/ 1025423 w 6359860"/>
              <a:gd name="connsiteY676" fmla="*/ 28374 h 1533837"/>
              <a:gd name="connsiteX677" fmla="*/ 1011243 w 6359860"/>
              <a:gd name="connsiteY677" fmla="*/ 14194 h 1533837"/>
              <a:gd name="connsiteX678" fmla="*/ 1025423 w 6359860"/>
              <a:gd name="connsiteY678" fmla="*/ 13 h 1533837"/>
              <a:gd name="connsiteX679" fmla="*/ 968815 w 6359860"/>
              <a:gd name="connsiteY679" fmla="*/ 13 h 1533837"/>
              <a:gd name="connsiteX680" fmla="*/ 982995 w 6359860"/>
              <a:gd name="connsiteY680" fmla="*/ 14194 h 1533837"/>
              <a:gd name="connsiteX681" fmla="*/ 968815 w 6359860"/>
              <a:gd name="connsiteY681" fmla="*/ 28374 h 1533837"/>
              <a:gd name="connsiteX682" fmla="*/ 954634 w 6359860"/>
              <a:gd name="connsiteY682" fmla="*/ 14194 h 1533837"/>
              <a:gd name="connsiteX683" fmla="*/ 968815 w 6359860"/>
              <a:gd name="connsiteY683" fmla="*/ 13 h 1533837"/>
              <a:gd name="connsiteX684" fmla="*/ 912206 w 6359860"/>
              <a:gd name="connsiteY684" fmla="*/ 13 h 1533837"/>
              <a:gd name="connsiteX685" fmla="*/ 926387 w 6359860"/>
              <a:gd name="connsiteY685" fmla="*/ 14194 h 1533837"/>
              <a:gd name="connsiteX686" fmla="*/ 912206 w 6359860"/>
              <a:gd name="connsiteY686" fmla="*/ 28374 h 1533837"/>
              <a:gd name="connsiteX687" fmla="*/ 898025 w 6359860"/>
              <a:gd name="connsiteY687" fmla="*/ 14194 h 1533837"/>
              <a:gd name="connsiteX688" fmla="*/ 912206 w 6359860"/>
              <a:gd name="connsiteY688" fmla="*/ 13 h 1533837"/>
              <a:gd name="connsiteX689" fmla="*/ 855597 w 6359860"/>
              <a:gd name="connsiteY689" fmla="*/ 13 h 1533837"/>
              <a:gd name="connsiteX690" fmla="*/ 869835 w 6359860"/>
              <a:gd name="connsiteY690" fmla="*/ 14194 h 1533837"/>
              <a:gd name="connsiteX691" fmla="*/ 855597 w 6359860"/>
              <a:gd name="connsiteY691" fmla="*/ 28374 h 1533837"/>
              <a:gd name="connsiteX692" fmla="*/ 841473 w 6359860"/>
              <a:gd name="connsiteY692" fmla="*/ 14194 h 1533837"/>
              <a:gd name="connsiteX693" fmla="*/ 855597 w 6359860"/>
              <a:gd name="connsiteY693" fmla="*/ 13 h 1533837"/>
              <a:gd name="connsiteX694" fmla="*/ 799045 w 6359860"/>
              <a:gd name="connsiteY694" fmla="*/ 13 h 1533837"/>
              <a:gd name="connsiteX695" fmla="*/ 813226 w 6359860"/>
              <a:gd name="connsiteY695" fmla="*/ 14194 h 1533837"/>
              <a:gd name="connsiteX696" fmla="*/ 799045 w 6359860"/>
              <a:gd name="connsiteY696" fmla="*/ 28374 h 1533837"/>
              <a:gd name="connsiteX697" fmla="*/ 784865 w 6359860"/>
              <a:gd name="connsiteY697" fmla="*/ 14194 h 1533837"/>
              <a:gd name="connsiteX698" fmla="*/ 799045 w 6359860"/>
              <a:gd name="connsiteY698" fmla="*/ 13 h 1533837"/>
              <a:gd name="connsiteX699" fmla="*/ 742436 w 6359860"/>
              <a:gd name="connsiteY699" fmla="*/ 13 h 1533837"/>
              <a:gd name="connsiteX700" fmla="*/ 756617 w 6359860"/>
              <a:gd name="connsiteY700" fmla="*/ 14194 h 1533837"/>
              <a:gd name="connsiteX701" fmla="*/ 742436 w 6359860"/>
              <a:gd name="connsiteY701" fmla="*/ 28374 h 1533837"/>
              <a:gd name="connsiteX702" fmla="*/ 728256 w 6359860"/>
              <a:gd name="connsiteY702" fmla="*/ 14194 h 1533837"/>
              <a:gd name="connsiteX703" fmla="*/ 742436 w 6359860"/>
              <a:gd name="connsiteY703" fmla="*/ 13 h 1533837"/>
              <a:gd name="connsiteX704" fmla="*/ 685828 w 6359860"/>
              <a:gd name="connsiteY704" fmla="*/ 13 h 1533837"/>
              <a:gd name="connsiteX705" fmla="*/ 700008 w 6359860"/>
              <a:gd name="connsiteY705" fmla="*/ 14194 h 1533837"/>
              <a:gd name="connsiteX706" fmla="*/ 685828 w 6359860"/>
              <a:gd name="connsiteY706" fmla="*/ 28374 h 1533837"/>
              <a:gd name="connsiteX707" fmla="*/ 671647 w 6359860"/>
              <a:gd name="connsiteY707" fmla="*/ 14194 h 1533837"/>
              <a:gd name="connsiteX708" fmla="*/ 685828 w 6359860"/>
              <a:gd name="connsiteY708" fmla="*/ 13 h 1533837"/>
              <a:gd name="connsiteX709" fmla="*/ 629219 w 6359860"/>
              <a:gd name="connsiteY709" fmla="*/ 13 h 1533837"/>
              <a:gd name="connsiteX710" fmla="*/ 643400 w 6359860"/>
              <a:gd name="connsiteY710" fmla="*/ 14194 h 1533837"/>
              <a:gd name="connsiteX711" fmla="*/ 629219 w 6359860"/>
              <a:gd name="connsiteY711" fmla="*/ 28374 h 1533837"/>
              <a:gd name="connsiteX712" fmla="*/ 615038 w 6359860"/>
              <a:gd name="connsiteY712" fmla="*/ 14194 h 1533837"/>
              <a:gd name="connsiteX713" fmla="*/ 629219 w 6359860"/>
              <a:gd name="connsiteY713" fmla="*/ 13 h 1533837"/>
              <a:gd name="connsiteX714" fmla="*/ 572610 w 6359860"/>
              <a:gd name="connsiteY714" fmla="*/ 13 h 1533837"/>
              <a:gd name="connsiteX715" fmla="*/ 586791 w 6359860"/>
              <a:gd name="connsiteY715" fmla="*/ 14194 h 1533837"/>
              <a:gd name="connsiteX716" fmla="*/ 572610 w 6359860"/>
              <a:gd name="connsiteY716" fmla="*/ 28374 h 1533837"/>
              <a:gd name="connsiteX717" fmla="*/ 558430 w 6359860"/>
              <a:gd name="connsiteY717" fmla="*/ 14194 h 1533837"/>
              <a:gd name="connsiteX718" fmla="*/ 572610 w 6359860"/>
              <a:gd name="connsiteY718" fmla="*/ 13 h 1533837"/>
              <a:gd name="connsiteX719" fmla="*/ 516002 w 6359860"/>
              <a:gd name="connsiteY719" fmla="*/ 13 h 1533837"/>
              <a:gd name="connsiteX720" fmla="*/ 530239 w 6359860"/>
              <a:gd name="connsiteY720" fmla="*/ 14194 h 1533837"/>
              <a:gd name="connsiteX721" fmla="*/ 516002 w 6359860"/>
              <a:gd name="connsiteY721" fmla="*/ 28374 h 1533837"/>
              <a:gd name="connsiteX722" fmla="*/ 501878 w 6359860"/>
              <a:gd name="connsiteY722" fmla="*/ 14194 h 1533837"/>
              <a:gd name="connsiteX723" fmla="*/ 516002 w 6359860"/>
              <a:gd name="connsiteY723" fmla="*/ 13 h 1533837"/>
              <a:gd name="connsiteX724" fmla="*/ 459450 w 6359860"/>
              <a:gd name="connsiteY724" fmla="*/ 13 h 1533837"/>
              <a:gd name="connsiteX725" fmla="*/ 473630 w 6359860"/>
              <a:gd name="connsiteY725" fmla="*/ 14194 h 1533837"/>
              <a:gd name="connsiteX726" fmla="*/ 459450 w 6359860"/>
              <a:gd name="connsiteY726" fmla="*/ 28374 h 1533837"/>
              <a:gd name="connsiteX727" fmla="*/ 445269 w 6359860"/>
              <a:gd name="connsiteY727" fmla="*/ 14194 h 1533837"/>
              <a:gd name="connsiteX728" fmla="*/ 459450 w 6359860"/>
              <a:gd name="connsiteY728" fmla="*/ 13 h 1533837"/>
              <a:gd name="connsiteX729" fmla="*/ 402841 w 6359860"/>
              <a:gd name="connsiteY729" fmla="*/ 13 h 1533837"/>
              <a:gd name="connsiteX730" fmla="*/ 417021 w 6359860"/>
              <a:gd name="connsiteY730" fmla="*/ 14194 h 1533837"/>
              <a:gd name="connsiteX731" fmla="*/ 402841 w 6359860"/>
              <a:gd name="connsiteY731" fmla="*/ 28374 h 1533837"/>
              <a:gd name="connsiteX732" fmla="*/ 388660 w 6359860"/>
              <a:gd name="connsiteY732" fmla="*/ 14194 h 1533837"/>
              <a:gd name="connsiteX733" fmla="*/ 402841 w 6359860"/>
              <a:gd name="connsiteY733" fmla="*/ 13 h 1533837"/>
              <a:gd name="connsiteX734" fmla="*/ 346232 w 6359860"/>
              <a:gd name="connsiteY734" fmla="*/ 13 h 1533837"/>
              <a:gd name="connsiteX735" fmla="*/ 360413 w 6359860"/>
              <a:gd name="connsiteY735" fmla="*/ 14194 h 1533837"/>
              <a:gd name="connsiteX736" fmla="*/ 346232 w 6359860"/>
              <a:gd name="connsiteY736" fmla="*/ 28374 h 1533837"/>
              <a:gd name="connsiteX737" fmla="*/ 332051 w 6359860"/>
              <a:gd name="connsiteY737" fmla="*/ 14194 h 1533837"/>
              <a:gd name="connsiteX738" fmla="*/ 346232 w 6359860"/>
              <a:gd name="connsiteY738" fmla="*/ 13 h 1533837"/>
              <a:gd name="connsiteX739" fmla="*/ 289623 w 6359860"/>
              <a:gd name="connsiteY739" fmla="*/ 13 h 1533837"/>
              <a:gd name="connsiteX740" fmla="*/ 303804 w 6359860"/>
              <a:gd name="connsiteY740" fmla="*/ 14194 h 1533837"/>
              <a:gd name="connsiteX741" fmla="*/ 289623 w 6359860"/>
              <a:gd name="connsiteY741" fmla="*/ 28374 h 1533837"/>
              <a:gd name="connsiteX742" fmla="*/ 275443 w 6359860"/>
              <a:gd name="connsiteY742" fmla="*/ 14194 h 1533837"/>
              <a:gd name="connsiteX743" fmla="*/ 289623 w 6359860"/>
              <a:gd name="connsiteY743" fmla="*/ 13 h 1533837"/>
              <a:gd name="connsiteX744" fmla="*/ 233015 w 6359860"/>
              <a:gd name="connsiteY744" fmla="*/ 13 h 1533837"/>
              <a:gd name="connsiteX745" fmla="*/ 247252 w 6359860"/>
              <a:gd name="connsiteY745" fmla="*/ 14194 h 1533837"/>
              <a:gd name="connsiteX746" fmla="*/ 233015 w 6359860"/>
              <a:gd name="connsiteY746" fmla="*/ 28374 h 1533837"/>
              <a:gd name="connsiteX747" fmla="*/ 218834 w 6359860"/>
              <a:gd name="connsiteY747" fmla="*/ 14194 h 1533837"/>
              <a:gd name="connsiteX748" fmla="*/ 233015 w 6359860"/>
              <a:gd name="connsiteY748" fmla="*/ 13 h 1533837"/>
              <a:gd name="connsiteX749" fmla="*/ 176463 w 6359860"/>
              <a:gd name="connsiteY749" fmla="*/ 13 h 1533837"/>
              <a:gd name="connsiteX750" fmla="*/ 190643 w 6359860"/>
              <a:gd name="connsiteY750" fmla="*/ 14194 h 1533837"/>
              <a:gd name="connsiteX751" fmla="*/ 176463 w 6359860"/>
              <a:gd name="connsiteY751" fmla="*/ 28374 h 1533837"/>
              <a:gd name="connsiteX752" fmla="*/ 162282 w 6359860"/>
              <a:gd name="connsiteY752" fmla="*/ 14194 h 1533837"/>
              <a:gd name="connsiteX753" fmla="*/ 176463 w 6359860"/>
              <a:gd name="connsiteY753" fmla="*/ 13 h 153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Lst>
            <a:rect l="l" t="t" r="r" b="b"/>
            <a:pathLst>
              <a:path w="6359860" h="1533837">
                <a:moveTo>
                  <a:pt x="16960" y="1505760"/>
                </a:moveTo>
                <a:cubicBezTo>
                  <a:pt x="17867" y="1505930"/>
                  <a:pt x="18775" y="1506214"/>
                  <a:pt x="19626" y="1506554"/>
                </a:cubicBezTo>
                <a:cubicBezTo>
                  <a:pt x="20477" y="1506951"/>
                  <a:pt x="21328" y="1507348"/>
                  <a:pt x="22065" y="1507859"/>
                </a:cubicBezTo>
                <a:cubicBezTo>
                  <a:pt x="22859" y="1508426"/>
                  <a:pt x="23596" y="1508993"/>
                  <a:pt x="24220" y="1509674"/>
                </a:cubicBezTo>
                <a:cubicBezTo>
                  <a:pt x="24901" y="1510298"/>
                  <a:pt x="25468" y="1511035"/>
                  <a:pt x="25979" y="1511829"/>
                </a:cubicBezTo>
                <a:cubicBezTo>
                  <a:pt x="26489" y="1512567"/>
                  <a:pt x="26943" y="1513417"/>
                  <a:pt x="27283" y="1514268"/>
                </a:cubicBezTo>
                <a:cubicBezTo>
                  <a:pt x="27624" y="1515119"/>
                  <a:pt x="27907" y="1515970"/>
                  <a:pt x="28077" y="1516877"/>
                </a:cubicBezTo>
                <a:cubicBezTo>
                  <a:pt x="28304" y="1517842"/>
                  <a:pt x="28361" y="1518749"/>
                  <a:pt x="28361" y="1519657"/>
                </a:cubicBezTo>
                <a:cubicBezTo>
                  <a:pt x="28361" y="1523400"/>
                  <a:pt x="26886" y="1527088"/>
                  <a:pt x="24220" y="1529697"/>
                </a:cubicBezTo>
                <a:cubicBezTo>
                  <a:pt x="23596" y="1530377"/>
                  <a:pt x="22859" y="1530945"/>
                  <a:pt x="22065" y="1531455"/>
                </a:cubicBezTo>
                <a:cubicBezTo>
                  <a:pt x="21328" y="1531966"/>
                  <a:pt x="20477" y="1532419"/>
                  <a:pt x="19626" y="1532760"/>
                </a:cubicBezTo>
                <a:cubicBezTo>
                  <a:pt x="18775" y="1533100"/>
                  <a:pt x="17867" y="1533384"/>
                  <a:pt x="16960" y="1533554"/>
                </a:cubicBezTo>
                <a:cubicBezTo>
                  <a:pt x="16052" y="1533781"/>
                  <a:pt x="15145" y="1533837"/>
                  <a:pt x="14181" y="1533837"/>
                </a:cubicBezTo>
                <a:cubicBezTo>
                  <a:pt x="10494" y="1533837"/>
                  <a:pt x="6807" y="1532363"/>
                  <a:pt x="4141" y="1529697"/>
                </a:cubicBezTo>
                <a:cubicBezTo>
                  <a:pt x="1531" y="1527088"/>
                  <a:pt x="0" y="1523400"/>
                  <a:pt x="0" y="1519657"/>
                </a:cubicBezTo>
                <a:cubicBezTo>
                  <a:pt x="0" y="1518749"/>
                  <a:pt x="113" y="1517842"/>
                  <a:pt x="284" y="1516877"/>
                </a:cubicBezTo>
                <a:cubicBezTo>
                  <a:pt x="454" y="1515970"/>
                  <a:pt x="737" y="1515119"/>
                  <a:pt x="1078" y="1514268"/>
                </a:cubicBezTo>
                <a:cubicBezTo>
                  <a:pt x="1475" y="1513417"/>
                  <a:pt x="1872" y="1512567"/>
                  <a:pt x="2382" y="1511829"/>
                </a:cubicBezTo>
                <a:cubicBezTo>
                  <a:pt x="2949" y="1511035"/>
                  <a:pt x="3517" y="1510298"/>
                  <a:pt x="4141" y="1509674"/>
                </a:cubicBezTo>
                <a:cubicBezTo>
                  <a:pt x="7487" y="1506384"/>
                  <a:pt x="12365" y="1504852"/>
                  <a:pt x="16960" y="1505760"/>
                </a:cubicBezTo>
                <a:close/>
                <a:moveTo>
                  <a:pt x="14181" y="1448130"/>
                </a:moveTo>
                <a:cubicBezTo>
                  <a:pt x="22008" y="1448130"/>
                  <a:pt x="28361" y="1454483"/>
                  <a:pt x="28361" y="1462311"/>
                </a:cubicBezTo>
                <a:cubicBezTo>
                  <a:pt x="28361" y="1470138"/>
                  <a:pt x="22008" y="1476491"/>
                  <a:pt x="14181" y="1476491"/>
                </a:cubicBezTo>
                <a:cubicBezTo>
                  <a:pt x="6353" y="1476491"/>
                  <a:pt x="0" y="1470138"/>
                  <a:pt x="0" y="1462311"/>
                </a:cubicBezTo>
                <a:cubicBezTo>
                  <a:pt x="0" y="1454483"/>
                  <a:pt x="6353" y="1448130"/>
                  <a:pt x="14181" y="1448130"/>
                </a:cubicBezTo>
                <a:close/>
                <a:moveTo>
                  <a:pt x="14181" y="1390727"/>
                </a:moveTo>
                <a:cubicBezTo>
                  <a:pt x="22008" y="1390727"/>
                  <a:pt x="28361" y="1397080"/>
                  <a:pt x="28361" y="1404908"/>
                </a:cubicBezTo>
                <a:cubicBezTo>
                  <a:pt x="28361" y="1412736"/>
                  <a:pt x="22008" y="1419089"/>
                  <a:pt x="14181" y="1419089"/>
                </a:cubicBezTo>
                <a:cubicBezTo>
                  <a:pt x="6353" y="1419089"/>
                  <a:pt x="0" y="1412736"/>
                  <a:pt x="0" y="1404908"/>
                </a:cubicBezTo>
                <a:cubicBezTo>
                  <a:pt x="0" y="1397080"/>
                  <a:pt x="6353" y="1390727"/>
                  <a:pt x="14181" y="1390727"/>
                </a:cubicBezTo>
                <a:close/>
                <a:moveTo>
                  <a:pt x="14181" y="1333325"/>
                </a:moveTo>
                <a:cubicBezTo>
                  <a:pt x="22008" y="1333325"/>
                  <a:pt x="28361" y="1339677"/>
                  <a:pt x="28361" y="1347562"/>
                </a:cubicBezTo>
                <a:cubicBezTo>
                  <a:pt x="28361" y="1355390"/>
                  <a:pt x="22008" y="1361742"/>
                  <a:pt x="14181" y="1361742"/>
                </a:cubicBezTo>
                <a:cubicBezTo>
                  <a:pt x="6353" y="1361742"/>
                  <a:pt x="0" y="1355390"/>
                  <a:pt x="0" y="1347562"/>
                </a:cubicBezTo>
                <a:cubicBezTo>
                  <a:pt x="0" y="1339677"/>
                  <a:pt x="6353" y="1333325"/>
                  <a:pt x="14181" y="1333325"/>
                </a:cubicBezTo>
                <a:close/>
                <a:moveTo>
                  <a:pt x="14181" y="1275979"/>
                </a:moveTo>
                <a:cubicBezTo>
                  <a:pt x="22008" y="1275979"/>
                  <a:pt x="28361" y="1282331"/>
                  <a:pt x="28361" y="1290159"/>
                </a:cubicBezTo>
                <a:cubicBezTo>
                  <a:pt x="28361" y="1297987"/>
                  <a:pt x="22008" y="1304340"/>
                  <a:pt x="14181" y="1304340"/>
                </a:cubicBezTo>
                <a:cubicBezTo>
                  <a:pt x="6353" y="1304340"/>
                  <a:pt x="0" y="1297987"/>
                  <a:pt x="0" y="1290159"/>
                </a:cubicBezTo>
                <a:cubicBezTo>
                  <a:pt x="0" y="1282331"/>
                  <a:pt x="6353" y="1275979"/>
                  <a:pt x="14181" y="1275979"/>
                </a:cubicBezTo>
                <a:close/>
                <a:moveTo>
                  <a:pt x="14181" y="1218576"/>
                </a:moveTo>
                <a:cubicBezTo>
                  <a:pt x="22008" y="1218576"/>
                  <a:pt x="28361" y="1224929"/>
                  <a:pt x="28361" y="1232813"/>
                </a:cubicBezTo>
                <a:cubicBezTo>
                  <a:pt x="28361" y="1240584"/>
                  <a:pt x="22008" y="1246937"/>
                  <a:pt x="14181" y="1246937"/>
                </a:cubicBezTo>
                <a:cubicBezTo>
                  <a:pt x="6353" y="1246937"/>
                  <a:pt x="0" y="1240584"/>
                  <a:pt x="0" y="1232813"/>
                </a:cubicBezTo>
                <a:cubicBezTo>
                  <a:pt x="0" y="1224929"/>
                  <a:pt x="6353" y="1218576"/>
                  <a:pt x="14181" y="1218576"/>
                </a:cubicBezTo>
                <a:close/>
                <a:moveTo>
                  <a:pt x="14181" y="1161230"/>
                </a:moveTo>
                <a:cubicBezTo>
                  <a:pt x="22008" y="1161230"/>
                  <a:pt x="28361" y="1167583"/>
                  <a:pt x="28361" y="1175410"/>
                </a:cubicBezTo>
                <a:cubicBezTo>
                  <a:pt x="28361" y="1183238"/>
                  <a:pt x="22008" y="1189591"/>
                  <a:pt x="14181" y="1189591"/>
                </a:cubicBezTo>
                <a:cubicBezTo>
                  <a:pt x="6353" y="1189591"/>
                  <a:pt x="0" y="1183238"/>
                  <a:pt x="0" y="1175410"/>
                </a:cubicBezTo>
                <a:cubicBezTo>
                  <a:pt x="0" y="1167583"/>
                  <a:pt x="6353" y="1161230"/>
                  <a:pt x="14181" y="1161230"/>
                </a:cubicBezTo>
                <a:close/>
                <a:moveTo>
                  <a:pt x="14181" y="1103827"/>
                </a:moveTo>
                <a:cubicBezTo>
                  <a:pt x="22008" y="1103827"/>
                  <a:pt x="28361" y="1110180"/>
                  <a:pt x="28361" y="1118007"/>
                </a:cubicBezTo>
                <a:cubicBezTo>
                  <a:pt x="28361" y="1125835"/>
                  <a:pt x="22008" y="1132188"/>
                  <a:pt x="14181" y="1132188"/>
                </a:cubicBezTo>
                <a:cubicBezTo>
                  <a:pt x="6353" y="1132188"/>
                  <a:pt x="0" y="1125835"/>
                  <a:pt x="0" y="1118007"/>
                </a:cubicBezTo>
                <a:cubicBezTo>
                  <a:pt x="0" y="1110180"/>
                  <a:pt x="6353" y="1103827"/>
                  <a:pt x="14181" y="1103827"/>
                </a:cubicBezTo>
                <a:close/>
                <a:moveTo>
                  <a:pt x="14181" y="1046481"/>
                </a:moveTo>
                <a:cubicBezTo>
                  <a:pt x="22008" y="1046481"/>
                  <a:pt x="28361" y="1052833"/>
                  <a:pt x="28361" y="1060661"/>
                </a:cubicBezTo>
                <a:cubicBezTo>
                  <a:pt x="28361" y="1068489"/>
                  <a:pt x="22008" y="1074842"/>
                  <a:pt x="14181" y="1074842"/>
                </a:cubicBezTo>
                <a:cubicBezTo>
                  <a:pt x="6353" y="1074842"/>
                  <a:pt x="0" y="1068489"/>
                  <a:pt x="0" y="1060661"/>
                </a:cubicBezTo>
                <a:cubicBezTo>
                  <a:pt x="0" y="1052833"/>
                  <a:pt x="6353" y="1046481"/>
                  <a:pt x="14181" y="1046481"/>
                </a:cubicBezTo>
                <a:close/>
                <a:moveTo>
                  <a:pt x="14181" y="989078"/>
                </a:moveTo>
                <a:cubicBezTo>
                  <a:pt x="22008" y="989078"/>
                  <a:pt x="28361" y="995431"/>
                  <a:pt x="28361" y="1003258"/>
                </a:cubicBezTo>
                <a:cubicBezTo>
                  <a:pt x="28361" y="1011086"/>
                  <a:pt x="22008" y="1017439"/>
                  <a:pt x="14181" y="1017439"/>
                </a:cubicBezTo>
                <a:cubicBezTo>
                  <a:pt x="6353" y="1017439"/>
                  <a:pt x="0" y="1011086"/>
                  <a:pt x="0" y="1003258"/>
                </a:cubicBezTo>
                <a:cubicBezTo>
                  <a:pt x="0" y="995431"/>
                  <a:pt x="6353" y="989078"/>
                  <a:pt x="14181" y="989078"/>
                </a:cubicBezTo>
                <a:close/>
                <a:moveTo>
                  <a:pt x="14181" y="931732"/>
                </a:moveTo>
                <a:cubicBezTo>
                  <a:pt x="22008" y="931732"/>
                  <a:pt x="28361" y="938028"/>
                  <a:pt x="28361" y="945912"/>
                </a:cubicBezTo>
                <a:cubicBezTo>
                  <a:pt x="28361" y="953740"/>
                  <a:pt x="22008" y="960093"/>
                  <a:pt x="14181" y="960093"/>
                </a:cubicBezTo>
                <a:cubicBezTo>
                  <a:pt x="6353" y="960093"/>
                  <a:pt x="0" y="953740"/>
                  <a:pt x="0" y="945912"/>
                </a:cubicBezTo>
                <a:cubicBezTo>
                  <a:pt x="0" y="938028"/>
                  <a:pt x="6353" y="931732"/>
                  <a:pt x="14181" y="931732"/>
                </a:cubicBezTo>
                <a:close/>
                <a:moveTo>
                  <a:pt x="14181" y="874329"/>
                </a:moveTo>
                <a:cubicBezTo>
                  <a:pt x="22008" y="874329"/>
                  <a:pt x="28361" y="880682"/>
                  <a:pt x="28361" y="888509"/>
                </a:cubicBezTo>
                <a:cubicBezTo>
                  <a:pt x="28361" y="896337"/>
                  <a:pt x="22008" y="902690"/>
                  <a:pt x="14181" y="902690"/>
                </a:cubicBezTo>
                <a:cubicBezTo>
                  <a:pt x="6353" y="902690"/>
                  <a:pt x="0" y="896337"/>
                  <a:pt x="0" y="888509"/>
                </a:cubicBezTo>
                <a:cubicBezTo>
                  <a:pt x="0" y="880682"/>
                  <a:pt x="6353" y="874329"/>
                  <a:pt x="14181" y="874329"/>
                </a:cubicBezTo>
                <a:close/>
                <a:moveTo>
                  <a:pt x="14181" y="816926"/>
                </a:moveTo>
                <a:cubicBezTo>
                  <a:pt x="22008" y="816926"/>
                  <a:pt x="28361" y="823279"/>
                  <a:pt x="28361" y="831107"/>
                </a:cubicBezTo>
                <a:cubicBezTo>
                  <a:pt x="28361" y="838991"/>
                  <a:pt x="22008" y="845287"/>
                  <a:pt x="14181" y="845287"/>
                </a:cubicBezTo>
                <a:cubicBezTo>
                  <a:pt x="6353" y="845287"/>
                  <a:pt x="0" y="838991"/>
                  <a:pt x="0" y="831107"/>
                </a:cubicBezTo>
                <a:cubicBezTo>
                  <a:pt x="0" y="823279"/>
                  <a:pt x="6353" y="816926"/>
                  <a:pt x="14181" y="816926"/>
                </a:cubicBezTo>
                <a:close/>
                <a:moveTo>
                  <a:pt x="14181" y="759580"/>
                </a:moveTo>
                <a:cubicBezTo>
                  <a:pt x="22008" y="759580"/>
                  <a:pt x="28361" y="765933"/>
                  <a:pt x="28361" y="773761"/>
                </a:cubicBezTo>
                <a:cubicBezTo>
                  <a:pt x="28361" y="781588"/>
                  <a:pt x="22008" y="787941"/>
                  <a:pt x="14181" y="787941"/>
                </a:cubicBezTo>
                <a:cubicBezTo>
                  <a:pt x="6353" y="787941"/>
                  <a:pt x="0" y="781588"/>
                  <a:pt x="0" y="773761"/>
                </a:cubicBezTo>
                <a:cubicBezTo>
                  <a:pt x="0" y="765933"/>
                  <a:pt x="6353" y="759580"/>
                  <a:pt x="14181" y="759580"/>
                </a:cubicBezTo>
                <a:close/>
                <a:moveTo>
                  <a:pt x="14181" y="702177"/>
                </a:moveTo>
                <a:cubicBezTo>
                  <a:pt x="22008" y="702177"/>
                  <a:pt x="28361" y="708530"/>
                  <a:pt x="28361" y="716358"/>
                </a:cubicBezTo>
                <a:cubicBezTo>
                  <a:pt x="28361" y="724185"/>
                  <a:pt x="22008" y="730538"/>
                  <a:pt x="14181" y="730538"/>
                </a:cubicBezTo>
                <a:cubicBezTo>
                  <a:pt x="6353" y="730538"/>
                  <a:pt x="0" y="724185"/>
                  <a:pt x="0" y="716358"/>
                </a:cubicBezTo>
                <a:cubicBezTo>
                  <a:pt x="0" y="708530"/>
                  <a:pt x="6353" y="702177"/>
                  <a:pt x="14181" y="702177"/>
                </a:cubicBezTo>
                <a:close/>
                <a:moveTo>
                  <a:pt x="14181" y="644831"/>
                </a:moveTo>
                <a:cubicBezTo>
                  <a:pt x="22008" y="644831"/>
                  <a:pt x="28361" y="651184"/>
                  <a:pt x="28361" y="659011"/>
                </a:cubicBezTo>
                <a:cubicBezTo>
                  <a:pt x="28361" y="666839"/>
                  <a:pt x="22008" y="673192"/>
                  <a:pt x="14181" y="673192"/>
                </a:cubicBezTo>
                <a:cubicBezTo>
                  <a:pt x="6353" y="673192"/>
                  <a:pt x="0" y="666839"/>
                  <a:pt x="0" y="659011"/>
                </a:cubicBezTo>
                <a:cubicBezTo>
                  <a:pt x="0" y="651184"/>
                  <a:pt x="6353" y="644831"/>
                  <a:pt x="14181" y="644831"/>
                </a:cubicBezTo>
                <a:close/>
                <a:moveTo>
                  <a:pt x="14181" y="587428"/>
                </a:moveTo>
                <a:cubicBezTo>
                  <a:pt x="22008" y="587428"/>
                  <a:pt x="28361" y="593781"/>
                  <a:pt x="28361" y="601609"/>
                </a:cubicBezTo>
                <a:cubicBezTo>
                  <a:pt x="28361" y="609436"/>
                  <a:pt x="22008" y="615789"/>
                  <a:pt x="14181" y="615789"/>
                </a:cubicBezTo>
                <a:cubicBezTo>
                  <a:pt x="6353" y="615789"/>
                  <a:pt x="0" y="609436"/>
                  <a:pt x="0" y="601609"/>
                </a:cubicBezTo>
                <a:cubicBezTo>
                  <a:pt x="0" y="593781"/>
                  <a:pt x="6353" y="587428"/>
                  <a:pt x="14181" y="587428"/>
                </a:cubicBezTo>
                <a:close/>
                <a:moveTo>
                  <a:pt x="14181" y="530025"/>
                </a:moveTo>
                <a:cubicBezTo>
                  <a:pt x="22008" y="530025"/>
                  <a:pt x="28361" y="536378"/>
                  <a:pt x="28361" y="544262"/>
                </a:cubicBezTo>
                <a:cubicBezTo>
                  <a:pt x="28361" y="552090"/>
                  <a:pt x="22008" y="558443"/>
                  <a:pt x="14181" y="558443"/>
                </a:cubicBezTo>
                <a:cubicBezTo>
                  <a:pt x="6353" y="558443"/>
                  <a:pt x="0" y="552090"/>
                  <a:pt x="0" y="544262"/>
                </a:cubicBezTo>
                <a:cubicBezTo>
                  <a:pt x="0" y="536378"/>
                  <a:pt x="6353" y="530025"/>
                  <a:pt x="14181" y="530025"/>
                </a:cubicBezTo>
                <a:close/>
                <a:moveTo>
                  <a:pt x="14181" y="472679"/>
                </a:moveTo>
                <a:cubicBezTo>
                  <a:pt x="22008" y="472679"/>
                  <a:pt x="28361" y="479032"/>
                  <a:pt x="28361" y="486860"/>
                </a:cubicBezTo>
                <a:cubicBezTo>
                  <a:pt x="28361" y="494687"/>
                  <a:pt x="22008" y="501040"/>
                  <a:pt x="14181" y="501040"/>
                </a:cubicBezTo>
                <a:cubicBezTo>
                  <a:pt x="6353" y="501040"/>
                  <a:pt x="0" y="494687"/>
                  <a:pt x="0" y="486860"/>
                </a:cubicBezTo>
                <a:cubicBezTo>
                  <a:pt x="0" y="479032"/>
                  <a:pt x="6353" y="472679"/>
                  <a:pt x="14181" y="472679"/>
                </a:cubicBezTo>
                <a:close/>
                <a:moveTo>
                  <a:pt x="14181" y="415276"/>
                </a:moveTo>
                <a:cubicBezTo>
                  <a:pt x="22008" y="415276"/>
                  <a:pt x="28361" y="421629"/>
                  <a:pt x="28361" y="429514"/>
                </a:cubicBezTo>
                <a:cubicBezTo>
                  <a:pt x="28361" y="437341"/>
                  <a:pt x="22008" y="443637"/>
                  <a:pt x="14181" y="443637"/>
                </a:cubicBezTo>
                <a:cubicBezTo>
                  <a:pt x="6353" y="443637"/>
                  <a:pt x="0" y="437341"/>
                  <a:pt x="0" y="429514"/>
                </a:cubicBezTo>
                <a:cubicBezTo>
                  <a:pt x="0" y="421629"/>
                  <a:pt x="6353" y="415276"/>
                  <a:pt x="14181" y="415276"/>
                </a:cubicBezTo>
                <a:close/>
                <a:moveTo>
                  <a:pt x="14181" y="357930"/>
                </a:moveTo>
                <a:cubicBezTo>
                  <a:pt x="22008" y="357930"/>
                  <a:pt x="28361" y="364283"/>
                  <a:pt x="28361" y="372111"/>
                </a:cubicBezTo>
                <a:cubicBezTo>
                  <a:pt x="28361" y="379939"/>
                  <a:pt x="22008" y="386291"/>
                  <a:pt x="14181" y="386291"/>
                </a:cubicBezTo>
                <a:cubicBezTo>
                  <a:pt x="6353" y="386291"/>
                  <a:pt x="0" y="379939"/>
                  <a:pt x="0" y="372111"/>
                </a:cubicBezTo>
                <a:cubicBezTo>
                  <a:pt x="0" y="364283"/>
                  <a:pt x="6353" y="357930"/>
                  <a:pt x="14181" y="357930"/>
                </a:cubicBezTo>
                <a:close/>
                <a:moveTo>
                  <a:pt x="14181" y="300527"/>
                </a:moveTo>
                <a:cubicBezTo>
                  <a:pt x="22008" y="300527"/>
                  <a:pt x="28361" y="306880"/>
                  <a:pt x="28361" y="314708"/>
                </a:cubicBezTo>
                <a:cubicBezTo>
                  <a:pt x="28361" y="322535"/>
                  <a:pt x="22008" y="328889"/>
                  <a:pt x="14181" y="328889"/>
                </a:cubicBezTo>
                <a:cubicBezTo>
                  <a:pt x="6353" y="328889"/>
                  <a:pt x="0" y="322535"/>
                  <a:pt x="0" y="314708"/>
                </a:cubicBezTo>
                <a:cubicBezTo>
                  <a:pt x="0" y="306880"/>
                  <a:pt x="6353" y="300527"/>
                  <a:pt x="14181" y="300527"/>
                </a:cubicBezTo>
                <a:close/>
                <a:moveTo>
                  <a:pt x="14181" y="243181"/>
                </a:moveTo>
                <a:cubicBezTo>
                  <a:pt x="22008" y="243181"/>
                  <a:pt x="28361" y="249477"/>
                  <a:pt x="28361" y="257362"/>
                </a:cubicBezTo>
                <a:cubicBezTo>
                  <a:pt x="28361" y="265189"/>
                  <a:pt x="22008" y="271542"/>
                  <a:pt x="14181" y="271542"/>
                </a:cubicBezTo>
                <a:cubicBezTo>
                  <a:pt x="6353" y="271542"/>
                  <a:pt x="0" y="265189"/>
                  <a:pt x="0" y="257362"/>
                </a:cubicBezTo>
                <a:cubicBezTo>
                  <a:pt x="0" y="249477"/>
                  <a:pt x="6353" y="243181"/>
                  <a:pt x="14181" y="243181"/>
                </a:cubicBezTo>
                <a:close/>
                <a:moveTo>
                  <a:pt x="14181" y="185778"/>
                </a:moveTo>
                <a:cubicBezTo>
                  <a:pt x="22008" y="185778"/>
                  <a:pt x="28361" y="192131"/>
                  <a:pt x="28361" y="199959"/>
                </a:cubicBezTo>
                <a:cubicBezTo>
                  <a:pt x="28361" y="207786"/>
                  <a:pt x="22008" y="214139"/>
                  <a:pt x="14181" y="214139"/>
                </a:cubicBezTo>
                <a:cubicBezTo>
                  <a:pt x="6353" y="214139"/>
                  <a:pt x="0" y="207786"/>
                  <a:pt x="0" y="199959"/>
                </a:cubicBezTo>
                <a:cubicBezTo>
                  <a:pt x="0" y="192131"/>
                  <a:pt x="6353" y="185778"/>
                  <a:pt x="14181" y="185778"/>
                </a:cubicBezTo>
                <a:close/>
                <a:moveTo>
                  <a:pt x="14181" y="128375"/>
                </a:moveTo>
                <a:cubicBezTo>
                  <a:pt x="22008" y="128375"/>
                  <a:pt x="28361" y="134728"/>
                  <a:pt x="28361" y="142613"/>
                </a:cubicBezTo>
                <a:cubicBezTo>
                  <a:pt x="28361" y="150440"/>
                  <a:pt x="22008" y="156737"/>
                  <a:pt x="14181" y="156737"/>
                </a:cubicBezTo>
                <a:cubicBezTo>
                  <a:pt x="6353" y="156737"/>
                  <a:pt x="0" y="150440"/>
                  <a:pt x="0" y="142613"/>
                </a:cubicBezTo>
                <a:cubicBezTo>
                  <a:pt x="0" y="134728"/>
                  <a:pt x="6353" y="128375"/>
                  <a:pt x="14181" y="128375"/>
                </a:cubicBezTo>
                <a:close/>
                <a:moveTo>
                  <a:pt x="38684" y="81154"/>
                </a:moveTo>
                <a:cubicBezTo>
                  <a:pt x="42314" y="81154"/>
                  <a:pt x="45944" y="82544"/>
                  <a:pt x="48724" y="85323"/>
                </a:cubicBezTo>
                <a:cubicBezTo>
                  <a:pt x="54283" y="90882"/>
                  <a:pt x="54283" y="99844"/>
                  <a:pt x="48724" y="105403"/>
                </a:cubicBezTo>
                <a:cubicBezTo>
                  <a:pt x="45945" y="108126"/>
                  <a:pt x="42315" y="109544"/>
                  <a:pt x="38684" y="109544"/>
                </a:cubicBezTo>
                <a:cubicBezTo>
                  <a:pt x="35054" y="109544"/>
                  <a:pt x="31424" y="108126"/>
                  <a:pt x="28645" y="105403"/>
                </a:cubicBezTo>
                <a:cubicBezTo>
                  <a:pt x="23143" y="99844"/>
                  <a:pt x="23143" y="90882"/>
                  <a:pt x="28645" y="85323"/>
                </a:cubicBezTo>
                <a:cubicBezTo>
                  <a:pt x="31424" y="82544"/>
                  <a:pt x="35054" y="81154"/>
                  <a:pt x="38684" y="81154"/>
                </a:cubicBezTo>
                <a:close/>
                <a:moveTo>
                  <a:pt x="79269" y="40598"/>
                </a:moveTo>
                <a:cubicBezTo>
                  <a:pt x="82900" y="40598"/>
                  <a:pt x="86530" y="41988"/>
                  <a:pt x="89281" y="44767"/>
                </a:cubicBezTo>
                <a:cubicBezTo>
                  <a:pt x="94839" y="50326"/>
                  <a:pt x="94839" y="59288"/>
                  <a:pt x="89281" y="64790"/>
                </a:cubicBezTo>
                <a:cubicBezTo>
                  <a:pt x="86558" y="67569"/>
                  <a:pt x="82928" y="68987"/>
                  <a:pt x="79298" y="68987"/>
                </a:cubicBezTo>
                <a:cubicBezTo>
                  <a:pt x="75667" y="68987"/>
                  <a:pt x="72037" y="67569"/>
                  <a:pt x="69258" y="64790"/>
                </a:cubicBezTo>
                <a:cubicBezTo>
                  <a:pt x="63699" y="59288"/>
                  <a:pt x="63699" y="50326"/>
                  <a:pt x="69258" y="44767"/>
                </a:cubicBezTo>
                <a:cubicBezTo>
                  <a:pt x="72009" y="41988"/>
                  <a:pt x="75639" y="40598"/>
                  <a:pt x="79269" y="40598"/>
                </a:cubicBezTo>
                <a:close/>
                <a:moveTo>
                  <a:pt x="117074" y="297"/>
                </a:moveTo>
                <a:cubicBezTo>
                  <a:pt x="118889" y="-100"/>
                  <a:pt x="120761" y="-100"/>
                  <a:pt x="122633" y="297"/>
                </a:cubicBezTo>
                <a:cubicBezTo>
                  <a:pt x="123540" y="467"/>
                  <a:pt x="124391" y="750"/>
                  <a:pt x="125242" y="1091"/>
                </a:cubicBezTo>
                <a:cubicBezTo>
                  <a:pt x="126150" y="1488"/>
                  <a:pt x="126944" y="1885"/>
                  <a:pt x="127738" y="2395"/>
                </a:cubicBezTo>
                <a:cubicBezTo>
                  <a:pt x="128475" y="2906"/>
                  <a:pt x="129213" y="3530"/>
                  <a:pt x="129893" y="4210"/>
                </a:cubicBezTo>
                <a:cubicBezTo>
                  <a:pt x="130517" y="4835"/>
                  <a:pt x="131141" y="5572"/>
                  <a:pt x="131652" y="6366"/>
                </a:cubicBezTo>
                <a:cubicBezTo>
                  <a:pt x="132162" y="7103"/>
                  <a:pt x="132559" y="7954"/>
                  <a:pt x="132956" y="8805"/>
                </a:cubicBezTo>
                <a:cubicBezTo>
                  <a:pt x="133297" y="9656"/>
                  <a:pt x="133580" y="10507"/>
                  <a:pt x="133750" y="11414"/>
                </a:cubicBezTo>
                <a:cubicBezTo>
                  <a:pt x="133921" y="12378"/>
                  <a:pt x="134034" y="13286"/>
                  <a:pt x="134034" y="14194"/>
                </a:cubicBezTo>
                <a:cubicBezTo>
                  <a:pt x="134034" y="17937"/>
                  <a:pt x="132502" y="21567"/>
                  <a:pt x="129893" y="24234"/>
                </a:cubicBezTo>
                <a:cubicBezTo>
                  <a:pt x="129213" y="24914"/>
                  <a:pt x="128475" y="25481"/>
                  <a:pt x="127738" y="25992"/>
                </a:cubicBezTo>
                <a:cubicBezTo>
                  <a:pt x="126944" y="26502"/>
                  <a:pt x="126150" y="26956"/>
                  <a:pt x="125242" y="27296"/>
                </a:cubicBezTo>
                <a:cubicBezTo>
                  <a:pt x="124391" y="27637"/>
                  <a:pt x="123540" y="27920"/>
                  <a:pt x="122633" y="28091"/>
                </a:cubicBezTo>
                <a:cubicBezTo>
                  <a:pt x="121725" y="28317"/>
                  <a:pt x="120761" y="28374"/>
                  <a:pt x="119854" y="28374"/>
                </a:cubicBezTo>
                <a:cubicBezTo>
                  <a:pt x="118946" y="28374"/>
                  <a:pt x="117982" y="28374"/>
                  <a:pt x="117074" y="28091"/>
                </a:cubicBezTo>
                <a:cubicBezTo>
                  <a:pt x="116166" y="27920"/>
                  <a:pt x="115259" y="27637"/>
                  <a:pt x="114408" y="27296"/>
                </a:cubicBezTo>
                <a:cubicBezTo>
                  <a:pt x="113557" y="26956"/>
                  <a:pt x="112763" y="26502"/>
                  <a:pt x="111969" y="25992"/>
                </a:cubicBezTo>
                <a:cubicBezTo>
                  <a:pt x="111175" y="25481"/>
                  <a:pt x="110494" y="24914"/>
                  <a:pt x="109814" y="24234"/>
                </a:cubicBezTo>
                <a:cubicBezTo>
                  <a:pt x="109133" y="23553"/>
                  <a:pt x="108566" y="22872"/>
                  <a:pt x="108055" y="22078"/>
                </a:cubicBezTo>
                <a:cubicBezTo>
                  <a:pt x="107545" y="21341"/>
                  <a:pt x="107091" y="20490"/>
                  <a:pt x="106751" y="19639"/>
                </a:cubicBezTo>
                <a:cubicBezTo>
                  <a:pt x="106410" y="18788"/>
                  <a:pt x="106127" y="17881"/>
                  <a:pt x="105957" y="16973"/>
                </a:cubicBezTo>
                <a:cubicBezTo>
                  <a:pt x="105786" y="16065"/>
                  <a:pt x="105673" y="15158"/>
                  <a:pt x="105673" y="14194"/>
                </a:cubicBezTo>
                <a:cubicBezTo>
                  <a:pt x="105673" y="13286"/>
                  <a:pt x="105786" y="12378"/>
                  <a:pt x="105957" y="11414"/>
                </a:cubicBezTo>
                <a:cubicBezTo>
                  <a:pt x="106127" y="10507"/>
                  <a:pt x="106410" y="9656"/>
                  <a:pt x="106751" y="8805"/>
                </a:cubicBezTo>
                <a:cubicBezTo>
                  <a:pt x="107091" y="7954"/>
                  <a:pt x="107545" y="7103"/>
                  <a:pt x="108055" y="6366"/>
                </a:cubicBezTo>
                <a:cubicBezTo>
                  <a:pt x="108566" y="5572"/>
                  <a:pt x="109133" y="4835"/>
                  <a:pt x="109814" y="4210"/>
                </a:cubicBezTo>
                <a:cubicBezTo>
                  <a:pt x="110494" y="3530"/>
                  <a:pt x="111175" y="2906"/>
                  <a:pt x="111969" y="2395"/>
                </a:cubicBezTo>
                <a:cubicBezTo>
                  <a:pt x="112763" y="1885"/>
                  <a:pt x="113557" y="1488"/>
                  <a:pt x="114408" y="1091"/>
                </a:cubicBezTo>
                <a:cubicBezTo>
                  <a:pt x="115259" y="750"/>
                  <a:pt x="116166" y="467"/>
                  <a:pt x="117074" y="297"/>
                </a:cubicBezTo>
                <a:close/>
                <a:moveTo>
                  <a:pt x="6348402" y="296"/>
                </a:moveTo>
                <a:cubicBezTo>
                  <a:pt x="6349309" y="467"/>
                  <a:pt x="6350217" y="750"/>
                  <a:pt x="6351068" y="1091"/>
                </a:cubicBezTo>
                <a:cubicBezTo>
                  <a:pt x="6351919" y="1488"/>
                  <a:pt x="6352770" y="1885"/>
                  <a:pt x="6353507" y="2395"/>
                </a:cubicBezTo>
                <a:cubicBezTo>
                  <a:pt x="6354301" y="2906"/>
                  <a:pt x="6355038" y="3530"/>
                  <a:pt x="6355663" y="4210"/>
                </a:cubicBezTo>
                <a:cubicBezTo>
                  <a:pt x="6356343" y="4835"/>
                  <a:pt x="6356910" y="5572"/>
                  <a:pt x="6357421" y="6366"/>
                </a:cubicBezTo>
                <a:cubicBezTo>
                  <a:pt x="6357931" y="7103"/>
                  <a:pt x="6358385" y="7954"/>
                  <a:pt x="6358725" y="8805"/>
                </a:cubicBezTo>
                <a:cubicBezTo>
                  <a:pt x="6359123" y="9656"/>
                  <a:pt x="6359349" y="10507"/>
                  <a:pt x="6359576" y="11414"/>
                </a:cubicBezTo>
                <a:cubicBezTo>
                  <a:pt x="6359747" y="12378"/>
                  <a:pt x="6359860" y="13286"/>
                  <a:pt x="6359860" y="14193"/>
                </a:cubicBezTo>
                <a:cubicBezTo>
                  <a:pt x="6359860" y="15158"/>
                  <a:pt x="6359747" y="16065"/>
                  <a:pt x="6359576" y="16973"/>
                </a:cubicBezTo>
                <a:cubicBezTo>
                  <a:pt x="6359349" y="17881"/>
                  <a:pt x="6359123" y="18788"/>
                  <a:pt x="6358725" y="19639"/>
                </a:cubicBezTo>
                <a:cubicBezTo>
                  <a:pt x="6358385" y="20490"/>
                  <a:pt x="6357931" y="21341"/>
                  <a:pt x="6357421" y="22078"/>
                </a:cubicBezTo>
                <a:cubicBezTo>
                  <a:pt x="6356910" y="22872"/>
                  <a:pt x="6356343" y="23610"/>
                  <a:pt x="6355663" y="24233"/>
                </a:cubicBezTo>
                <a:cubicBezTo>
                  <a:pt x="6355038" y="24914"/>
                  <a:pt x="6354301" y="25481"/>
                  <a:pt x="6353507" y="25992"/>
                </a:cubicBezTo>
                <a:cubicBezTo>
                  <a:pt x="6352770" y="26502"/>
                  <a:pt x="6351919" y="26956"/>
                  <a:pt x="6351068" y="27296"/>
                </a:cubicBezTo>
                <a:cubicBezTo>
                  <a:pt x="6350217" y="27693"/>
                  <a:pt x="6349309" y="27920"/>
                  <a:pt x="6348402" y="28147"/>
                </a:cubicBezTo>
                <a:cubicBezTo>
                  <a:pt x="6347494" y="28317"/>
                  <a:pt x="6346587" y="28431"/>
                  <a:pt x="6345680" y="28431"/>
                </a:cubicBezTo>
                <a:cubicBezTo>
                  <a:pt x="6341936" y="28431"/>
                  <a:pt x="6338249" y="26899"/>
                  <a:pt x="6335640" y="24233"/>
                </a:cubicBezTo>
                <a:cubicBezTo>
                  <a:pt x="6334959" y="23610"/>
                  <a:pt x="6334392" y="22872"/>
                  <a:pt x="6333881" y="22078"/>
                </a:cubicBezTo>
                <a:cubicBezTo>
                  <a:pt x="6333371" y="21341"/>
                  <a:pt x="6332917" y="20490"/>
                  <a:pt x="6332576" y="19639"/>
                </a:cubicBezTo>
                <a:cubicBezTo>
                  <a:pt x="6332180" y="18788"/>
                  <a:pt x="6331953" y="17881"/>
                  <a:pt x="6331725" y="16973"/>
                </a:cubicBezTo>
                <a:cubicBezTo>
                  <a:pt x="6331556" y="16065"/>
                  <a:pt x="6331499" y="15158"/>
                  <a:pt x="6331499" y="14193"/>
                </a:cubicBezTo>
                <a:cubicBezTo>
                  <a:pt x="6331499" y="13286"/>
                  <a:pt x="6331499" y="12378"/>
                  <a:pt x="6331725" y="11414"/>
                </a:cubicBezTo>
                <a:cubicBezTo>
                  <a:pt x="6331953" y="10507"/>
                  <a:pt x="6332180" y="9656"/>
                  <a:pt x="6332576" y="8805"/>
                </a:cubicBezTo>
                <a:cubicBezTo>
                  <a:pt x="6332917" y="7954"/>
                  <a:pt x="6333371" y="7103"/>
                  <a:pt x="6333881" y="6366"/>
                </a:cubicBezTo>
                <a:cubicBezTo>
                  <a:pt x="6334392" y="5572"/>
                  <a:pt x="6334959" y="4835"/>
                  <a:pt x="6335640" y="4210"/>
                </a:cubicBezTo>
                <a:cubicBezTo>
                  <a:pt x="6338929" y="864"/>
                  <a:pt x="6343864" y="-668"/>
                  <a:pt x="6348402" y="296"/>
                </a:cubicBezTo>
                <a:close/>
                <a:moveTo>
                  <a:pt x="6289071" y="13"/>
                </a:moveTo>
                <a:cubicBezTo>
                  <a:pt x="6296898" y="13"/>
                  <a:pt x="6303251" y="6366"/>
                  <a:pt x="6303251" y="14194"/>
                </a:cubicBezTo>
                <a:cubicBezTo>
                  <a:pt x="6303251" y="22021"/>
                  <a:pt x="6296898" y="28374"/>
                  <a:pt x="6289071" y="28374"/>
                </a:cubicBezTo>
                <a:cubicBezTo>
                  <a:pt x="6281243" y="28374"/>
                  <a:pt x="6274890" y="22021"/>
                  <a:pt x="6274890" y="14194"/>
                </a:cubicBezTo>
                <a:cubicBezTo>
                  <a:pt x="6274890" y="6366"/>
                  <a:pt x="6281243" y="13"/>
                  <a:pt x="6289071" y="13"/>
                </a:cubicBezTo>
                <a:close/>
                <a:moveTo>
                  <a:pt x="6232462" y="13"/>
                </a:moveTo>
                <a:cubicBezTo>
                  <a:pt x="6240290" y="13"/>
                  <a:pt x="6246643" y="6366"/>
                  <a:pt x="6246643" y="14194"/>
                </a:cubicBezTo>
                <a:cubicBezTo>
                  <a:pt x="6246643" y="22021"/>
                  <a:pt x="6240290" y="28374"/>
                  <a:pt x="6232462" y="28374"/>
                </a:cubicBezTo>
                <a:cubicBezTo>
                  <a:pt x="6224634" y="28374"/>
                  <a:pt x="6218282" y="22021"/>
                  <a:pt x="6218282" y="14194"/>
                </a:cubicBezTo>
                <a:cubicBezTo>
                  <a:pt x="6218282" y="6366"/>
                  <a:pt x="6224634" y="13"/>
                  <a:pt x="6232462" y="13"/>
                </a:cubicBezTo>
                <a:close/>
                <a:moveTo>
                  <a:pt x="6175853" y="13"/>
                </a:moveTo>
                <a:cubicBezTo>
                  <a:pt x="6183681" y="13"/>
                  <a:pt x="6190034" y="6366"/>
                  <a:pt x="6190034" y="14194"/>
                </a:cubicBezTo>
                <a:cubicBezTo>
                  <a:pt x="6190034" y="22021"/>
                  <a:pt x="6183681" y="28374"/>
                  <a:pt x="6175853" y="28374"/>
                </a:cubicBezTo>
                <a:cubicBezTo>
                  <a:pt x="6168026" y="28374"/>
                  <a:pt x="6161673" y="22021"/>
                  <a:pt x="6161673" y="14194"/>
                </a:cubicBezTo>
                <a:cubicBezTo>
                  <a:pt x="6161673" y="6366"/>
                  <a:pt x="6168026" y="13"/>
                  <a:pt x="6175853" y="13"/>
                </a:cubicBezTo>
                <a:close/>
                <a:moveTo>
                  <a:pt x="6119245" y="13"/>
                </a:moveTo>
                <a:cubicBezTo>
                  <a:pt x="6127072" y="13"/>
                  <a:pt x="6133425" y="6366"/>
                  <a:pt x="6133425" y="14194"/>
                </a:cubicBezTo>
                <a:cubicBezTo>
                  <a:pt x="6133425" y="22021"/>
                  <a:pt x="6127072" y="28374"/>
                  <a:pt x="6119245" y="28374"/>
                </a:cubicBezTo>
                <a:cubicBezTo>
                  <a:pt x="6111417" y="28374"/>
                  <a:pt x="6105064" y="22021"/>
                  <a:pt x="6105064" y="14194"/>
                </a:cubicBezTo>
                <a:cubicBezTo>
                  <a:pt x="6105064" y="6366"/>
                  <a:pt x="6111417" y="13"/>
                  <a:pt x="6119245" y="13"/>
                </a:cubicBezTo>
                <a:close/>
                <a:moveTo>
                  <a:pt x="6062636" y="13"/>
                </a:moveTo>
                <a:cubicBezTo>
                  <a:pt x="6070521" y="13"/>
                  <a:pt x="6076817" y="6366"/>
                  <a:pt x="6076817" y="14194"/>
                </a:cubicBezTo>
                <a:cubicBezTo>
                  <a:pt x="6076817" y="22021"/>
                  <a:pt x="6070521" y="28374"/>
                  <a:pt x="6062636" y="28374"/>
                </a:cubicBezTo>
                <a:cubicBezTo>
                  <a:pt x="6054809" y="28374"/>
                  <a:pt x="6048456" y="22021"/>
                  <a:pt x="6048456" y="14194"/>
                </a:cubicBezTo>
                <a:cubicBezTo>
                  <a:pt x="6048456" y="6366"/>
                  <a:pt x="6054809" y="13"/>
                  <a:pt x="6062636" y="13"/>
                </a:cubicBezTo>
                <a:close/>
                <a:moveTo>
                  <a:pt x="6006084" y="13"/>
                </a:moveTo>
                <a:cubicBezTo>
                  <a:pt x="6013912" y="13"/>
                  <a:pt x="6020265" y="6366"/>
                  <a:pt x="6020265" y="14194"/>
                </a:cubicBezTo>
                <a:cubicBezTo>
                  <a:pt x="6020265" y="22021"/>
                  <a:pt x="6013912" y="28374"/>
                  <a:pt x="6006084" y="28374"/>
                </a:cubicBezTo>
                <a:cubicBezTo>
                  <a:pt x="5998257" y="28374"/>
                  <a:pt x="5991904" y="22021"/>
                  <a:pt x="5991904" y="14194"/>
                </a:cubicBezTo>
                <a:cubicBezTo>
                  <a:pt x="5991904" y="6366"/>
                  <a:pt x="5998257" y="13"/>
                  <a:pt x="6006084" y="13"/>
                </a:cubicBezTo>
                <a:close/>
                <a:moveTo>
                  <a:pt x="5949475" y="13"/>
                </a:moveTo>
                <a:cubicBezTo>
                  <a:pt x="5957303" y="13"/>
                  <a:pt x="5963656" y="6366"/>
                  <a:pt x="5963656" y="14194"/>
                </a:cubicBezTo>
                <a:cubicBezTo>
                  <a:pt x="5963656" y="22021"/>
                  <a:pt x="5957303" y="28374"/>
                  <a:pt x="5949475" y="28374"/>
                </a:cubicBezTo>
                <a:cubicBezTo>
                  <a:pt x="5941647" y="28374"/>
                  <a:pt x="5935295" y="22021"/>
                  <a:pt x="5935295" y="14194"/>
                </a:cubicBezTo>
                <a:cubicBezTo>
                  <a:pt x="5935295" y="6366"/>
                  <a:pt x="5941647" y="13"/>
                  <a:pt x="5949475" y="13"/>
                </a:cubicBezTo>
                <a:close/>
                <a:moveTo>
                  <a:pt x="5892866" y="13"/>
                </a:moveTo>
                <a:cubicBezTo>
                  <a:pt x="5900694" y="13"/>
                  <a:pt x="5907047" y="6366"/>
                  <a:pt x="5907047" y="14194"/>
                </a:cubicBezTo>
                <a:cubicBezTo>
                  <a:pt x="5907047" y="22021"/>
                  <a:pt x="5900694" y="28374"/>
                  <a:pt x="5892866" y="28374"/>
                </a:cubicBezTo>
                <a:cubicBezTo>
                  <a:pt x="5885039" y="28374"/>
                  <a:pt x="5878686" y="22021"/>
                  <a:pt x="5878686" y="14194"/>
                </a:cubicBezTo>
                <a:cubicBezTo>
                  <a:pt x="5878686" y="6366"/>
                  <a:pt x="5885039" y="13"/>
                  <a:pt x="5892866" y="13"/>
                </a:cubicBezTo>
                <a:close/>
                <a:moveTo>
                  <a:pt x="5836258" y="13"/>
                </a:moveTo>
                <a:cubicBezTo>
                  <a:pt x="5844085" y="13"/>
                  <a:pt x="5850438" y="6366"/>
                  <a:pt x="5850438" y="14194"/>
                </a:cubicBezTo>
                <a:cubicBezTo>
                  <a:pt x="5850438" y="22021"/>
                  <a:pt x="5844085" y="28374"/>
                  <a:pt x="5836258" y="28374"/>
                </a:cubicBezTo>
                <a:cubicBezTo>
                  <a:pt x="5828430" y="28374"/>
                  <a:pt x="5822077" y="22021"/>
                  <a:pt x="5822077" y="14194"/>
                </a:cubicBezTo>
                <a:cubicBezTo>
                  <a:pt x="5822077" y="6366"/>
                  <a:pt x="5828430" y="13"/>
                  <a:pt x="5836258" y="13"/>
                </a:cubicBezTo>
                <a:close/>
                <a:moveTo>
                  <a:pt x="5779649" y="13"/>
                </a:moveTo>
                <a:cubicBezTo>
                  <a:pt x="5787477" y="13"/>
                  <a:pt x="5793830" y="6366"/>
                  <a:pt x="5793830" y="14194"/>
                </a:cubicBezTo>
                <a:cubicBezTo>
                  <a:pt x="5793830" y="22021"/>
                  <a:pt x="5787477" y="28374"/>
                  <a:pt x="5779649" y="28374"/>
                </a:cubicBezTo>
                <a:cubicBezTo>
                  <a:pt x="5771822" y="28374"/>
                  <a:pt x="5765469" y="22021"/>
                  <a:pt x="5765469" y="14194"/>
                </a:cubicBezTo>
                <a:cubicBezTo>
                  <a:pt x="5765469" y="6366"/>
                  <a:pt x="5771822" y="13"/>
                  <a:pt x="5779649" y="13"/>
                </a:cubicBezTo>
                <a:close/>
                <a:moveTo>
                  <a:pt x="5723041" y="13"/>
                </a:moveTo>
                <a:cubicBezTo>
                  <a:pt x="5730925" y="13"/>
                  <a:pt x="5737278" y="6366"/>
                  <a:pt x="5737278" y="14194"/>
                </a:cubicBezTo>
                <a:cubicBezTo>
                  <a:pt x="5737278" y="22021"/>
                  <a:pt x="5730925" y="28374"/>
                  <a:pt x="5723041" y="28374"/>
                </a:cubicBezTo>
                <a:cubicBezTo>
                  <a:pt x="5715213" y="28374"/>
                  <a:pt x="5708917" y="22021"/>
                  <a:pt x="5708917" y="14194"/>
                </a:cubicBezTo>
                <a:cubicBezTo>
                  <a:pt x="5708917" y="6366"/>
                  <a:pt x="5715213" y="13"/>
                  <a:pt x="5723041" y="13"/>
                </a:cubicBezTo>
                <a:close/>
                <a:moveTo>
                  <a:pt x="5666489" y="13"/>
                </a:moveTo>
                <a:cubicBezTo>
                  <a:pt x="5674316" y="13"/>
                  <a:pt x="5680669" y="6366"/>
                  <a:pt x="5680669" y="14194"/>
                </a:cubicBezTo>
                <a:cubicBezTo>
                  <a:pt x="5680669" y="22021"/>
                  <a:pt x="5674316" y="28374"/>
                  <a:pt x="5666489" y="28374"/>
                </a:cubicBezTo>
                <a:cubicBezTo>
                  <a:pt x="5658661" y="28374"/>
                  <a:pt x="5652308" y="22021"/>
                  <a:pt x="5652308" y="14194"/>
                </a:cubicBezTo>
                <a:cubicBezTo>
                  <a:pt x="5652308" y="6366"/>
                  <a:pt x="5658661" y="13"/>
                  <a:pt x="5666489" y="13"/>
                </a:cubicBezTo>
                <a:close/>
                <a:moveTo>
                  <a:pt x="5609879" y="13"/>
                </a:moveTo>
                <a:cubicBezTo>
                  <a:pt x="5617707" y="13"/>
                  <a:pt x="5624060" y="6366"/>
                  <a:pt x="5624060" y="14194"/>
                </a:cubicBezTo>
                <a:cubicBezTo>
                  <a:pt x="5624060" y="22021"/>
                  <a:pt x="5617707" y="28374"/>
                  <a:pt x="5609879" y="28374"/>
                </a:cubicBezTo>
                <a:cubicBezTo>
                  <a:pt x="5602052" y="28374"/>
                  <a:pt x="5595699" y="22021"/>
                  <a:pt x="5595699" y="14194"/>
                </a:cubicBezTo>
                <a:cubicBezTo>
                  <a:pt x="5595699" y="6366"/>
                  <a:pt x="5602052" y="13"/>
                  <a:pt x="5609879" y="13"/>
                </a:cubicBezTo>
                <a:close/>
                <a:moveTo>
                  <a:pt x="5553271" y="13"/>
                </a:moveTo>
                <a:cubicBezTo>
                  <a:pt x="5561098" y="13"/>
                  <a:pt x="5567451" y="6366"/>
                  <a:pt x="5567451" y="14194"/>
                </a:cubicBezTo>
                <a:cubicBezTo>
                  <a:pt x="5567451" y="22021"/>
                  <a:pt x="5561098" y="28374"/>
                  <a:pt x="5553271" y="28374"/>
                </a:cubicBezTo>
                <a:cubicBezTo>
                  <a:pt x="5545443" y="28374"/>
                  <a:pt x="5539090" y="22021"/>
                  <a:pt x="5539090" y="14194"/>
                </a:cubicBezTo>
                <a:cubicBezTo>
                  <a:pt x="5539090" y="6366"/>
                  <a:pt x="5545443" y="13"/>
                  <a:pt x="5553271" y="13"/>
                </a:cubicBezTo>
                <a:close/>
                <a:moveTo>
                  <a:pt x="5496662" y="13"/>
                </a:moveTo>
                <a:cubicBezTo>
                  <a:pt x="5504490" y="13"/>
                  <a:pt x="5510843" y="6366"/>
                  <a:pt x="5510843" y="14194"/>
                </a:cubicBezTo>
                <a:cubicBezTo>
                  <a:pt x="5510843" y="22021"/>
                  <a:pt x="5504490" y="28374"/>
                  <a:pt x="5496662" y="28374"/>
                </a:cubicBezTo>
                <a:cubicBezTo>
                  <a:pt x="5488835" y="28374"/>
                  <a:pt x="5482482" y="22021"/>
                  <a:pt x="5482482" y="14194"/>
                </a:cubicBezTo>
                <a:cubicBezTo>
                  <a:pt x="5482482" y="6366"/>
                  <a:pt x="5488835" y="13"/>
                  <a:pt x="5496662" y="13"/>
                </a:cubicBezTo>
                <a:close/>
                <a:moveTo>
                  <a:pt x="5440110" y="13"/>
                </a:moveTo>
                <a:cubicBezTo>
                  <a:pt x="5447938" y="13"/>
                  <a:pt x="5454234" y="6366"/>
                  <a:pt x="5454234" y="14194"/>
                </a:cubicBezTo>
                <a:cubicBezTo>
                  <a:pt x="5454234" y="22021"/>
                  <a:pt x="5447938" y="28374"/>
                  <a:pt x="5440110" y="28374"/>
                </a:cubicBezTo>
                <a:cubicBezTo>
                  <a:pt x="5432226" y="28374"/>
                  <a:pt x="5425873" y="22021"/>
                  <a:pt x="5425873" y="14194"/>
                </a:cubicBezTo>
                <a:cubicBezTo>
                  <a:pt x="5425873" y="6366"/>
                  <a:pt x="5432226" y="13"/>
                  <a:pt x="5440110" y="13"/>
                </a:cubicBezTo>
                <a:close/>
                <a:moveTo>
                  <a:pt x="5383502" y="13"/>
                </a:moveTo>
                <a:cubicBezTo>
                  <a:pt x="5391329" y="13"/>
                  <a:pt x="5397682" y="6366"/>
                  <a:pt x="5397682" y="14194"/>
                </a:cubicBezTo>
                <a:cubicBezTo>
                  <a:pt x="5397682" y="22021"/>
                  <a:pt x="5391329" y="28374"/>
                  <a:pt x="5383502" y="28374"/>
                </a:cubicBezTo>
                <a:cubicBezTo>
                  <a:pt x="5375674" y="28374"/>
                  <a:pt x="5369321" y="22021"/>
                  <a:pt x="5369321" y="14194"/>
                </a:cubicBezTo>
                <a:cubicBezTo>
                  <a:pt x="5369321" y="6366"/>
                  <a:pt x="5375674" y="13"/>
                  <a:pt x="5383502" y="13"/>
                </a:cubicBezTo>
                <a:close/>
                <a:moveTo>
                  <a:pt x="5326892" y="13"/>
                </a:moveTo>
                <a:cubicBezTo>
                  <a:pt x="5334720" y="13"/>
                  <a:pt x="5341073" y="6366"/>
                  <a:pt x="5341073" y="14194"/>
                </a:cubicBezTo>
                <a:cubicBezTo>
                  <a:pt x="5341073" y="22021"/>
                  <a:pt x="5334720" y="28374"/>
                  <a:pt x="5326892" y="28374"/>
                </a:cubicBezTo>
                <a:cubicBezTo>
                  <a:pt x="5319065" y="28374"/>
                  <a:pt x="5312712" y="22021"/>
                  <a:pt x="5312712" y="14194"/>
                </a:cubicBezTo>
                <a:cubicBezTo>
                  <a:pt x="5312712" y="6366"/>
                  <a:pt x="5319065" y="13"/>
                  <a:pt x="5326892" y="13"/>
                </a:cubicBezTo>
                <a:close/>
                <a:moveTo>
                  <a:pt x="5270284" y="13"/>
                </a:moveTo>
                <a:cubicBezTo>
                  <a:pt x="5278112" y="13"/>
                  <a:pt x="5284464" y="6366"/>
                  <a:pt x="5284464" y="14194"/>
                </a:cubicBezTo>
                <a:cubicBezTo>
                  <a:pt x="5284464" y="22021"/>
                  <a:pt x="5278112" y="28374"/>
                  <a:pt x="5270284" y="28374"/>
                </a:cubicBezTo>
                <a:cubicBezTo>
                  <a:pt x="5262456" y="28374"/>
                  <a:pt x="5256103" y="22021"/>
                  <a:pt x="5256103" y="14194"/>
                </a:cubicBezTo>
                <a:cubicBezTo>
                  <a:pt x="5256103" y="6366"/>
                  <a:pt x="5262456" y="13"/>
                  <a:pt x="5270284" y="13"/>
                </a:cubicBezTo>
                <a:close/>
                <a:moveTo>
                  <a:pt x="5213675" y="13"/>
                </a:moveTo>
                <a:cubicBezTo>
                  <a:pt x="5221503" y="13"/>
                  <a:pt x="5227856" y="6366"/>
                  <a:pt x="5227856" y="14194"/>
                </a:cubicBezTo>
                <a:cubicBezTo>
                  <a:pt x="5227856" y="22021"/>
                  <a:pt x="5221503" y="28374"/>
                  <a:pt x="5213675" y="28374"/>
                </a:cubicBezTo>
                <a:cubicBezTo>
                  <a:pt x="5205848" y="28374"/>
                  <a:pt x="5199495" y="22021"/>
                  <a:pt x="5199495" y="14194"/>
                </a:cubicBezTo>
                <a:cubicBezTo>
                  <a:pt x="5199495" y="6366"/>
                  <a:pt x="5205848" y="13"/>
                  <a:pt x="5213675" y="13"/>
                </a:cubicBezTo>
                <a:close/>
                <a:moveTo>
                  <a:pt x="5157067" y="13"/>
                </a:moveTo>
                <a:cubicBezTo>
                  <a:pt x="5164894" y="13"/>
                  <a:pt x="5171247" y="6366"/>
                  <a:pt x="5171247" y="14194"/>
                </a:cubicBezTo>
                <a:cubicBezTo>
                  <a:pt x="5171247" y="22021"/>
                  <a:pt x="5164894" y="28374"/>
                  <a:pt x="5157067" y="28374"/>
                </a:cubicBezTo>
                <a:cubicBezTo>
                  <a:pt x="5149239" y="28374"/>
                  <a:pt x="5142886" y="22021"/>
                  <a:pt x="5142886" y="14194"/>
                </a:cubicBezTo>
                <a:cubicBezTo>
                  <a:pt x="5142886" y="6366"/>
                  <a:pt x="5149239" y="13"/>
                  <a:pt x="5157067" y="13"/>
                </a:cubicBezTo>
                <a:close/>
                <a:moveTo>
                  <a:pt x="5100515" y="13"/>
                </a:moveTo>
                <a:cubicBezTo>
                  <a:pt x="5108342" y="13"/>
                  <a:pt x="5114695" y="6366"/>
                  <a:pt x="5114695" y="14194"/>
                </a:cubicBezTo>
                <a:cubicBezTo>
                  <a:pt x="5114695" y="22021"/>
                  <a:pt x="5108342" y="28374"/>
                  <a:pt x="5100515" y="28374"/>
                </a:cubicBezTo>
                <a:cubicBezTo>
                  <a:pt x="5092687" y="28374"/>
                  <a:pt x="5086334" y="22021"/>
                  <a:pt x="5086334" y="14194"/>
                </a:cubicBezTo>
                <a:cubicBezTo>
                  <a:pt x="5086334" y="6366"/>
                  <a:pt x="5092687" y="13"/>
                  <a:pt x="5100515" y="13"/>
                </a:cubicBezTo>
                <a:close/>
                <a:moveTo>
                  <a:pt x="5043906" y="13"/>
                </a:moveTo>
                <a:cubicBezTo>
                  <a:pt x="5051734" y="13"/>
                  <a:pt x="5058087" y="6366"/>
                  <a:pt x="5058087" y="14194"/>
                </a:cubicBezTo>
                <a:cubicBezTo>
                  <a:pt x="5058087" y="22021"/>
                  <a:pt x="5051734" y="28374"/>
                  <a:pt x="5043906" y="28374"/>
                </a:cubicBezTo>
                <a:cubicBezTo>
                  <a:pt x="5036078" y="28374"/>
                  <a:pt x="5029726" y="22021"/>
                  <a:pt x="5029726" y="14194"/>
                </a:cubicBezTo>
                <a:cubicBezTo>
                  <a:pt x="5029726" y="6366"/>
                  <a:pt x="5036078" y="13"/>
                  <a:pt x="5043906" y="13"/>
                </a:cubicBezTo>
                <a:close/>
                <a:moveTo>
                  <a:pt x="4987297" y="13"/>
                </a:moveTo>
                <a:cubicBezTo>
                  <a:pt x="4995125" y="13"/>
                  <a:pt x="5001477" y="6366"/>
                  <a:pt x="5001477" y="14194"/>
                </a:cubicBezTo>
                <a:cubicBezTo>
                  <a:pt x="5001477" y="22021"/>
                  <a:pt x="4995125" y="28374"/>
                  <a:pt x="4987297" y="28374"/>
                </a:cubicBezTo>
                <a:cubicBezTo>
                  <a:pt x="4979469" y="28374"/>
                  <a:pt x="4973116" y="22021"/>
                  <a:pt x="4973116" y="14194"/>
                </a:cubicBezTo>
                <a:cubicBezTo>
                  <a:pt x="4973116" y="6366"/>
                  <a:pt x="4979469" y="13"/>
                  <a:pt x="4987297" y="13"/>
                </a:cubicBezTo>
                <a:close/>
                <a:moveTo>
                  <a:pt x="4930688" y="13"/>
                </a:moveTo>
                <a:cubicBezTo>
                  <a:pt x="4938516" y="13"/>
                  <a:pt x="4944869" y="6366"/>
                  <a:pt x="4944869" y="14194"/>
                </a:cubicBezTo>
                <a:cubicBezTo>
                  <a:pt x="4944869" y="22021"/>
                  <a:pt x="4938516" y="28374"/>
                  <a:pt x="4930688" y="28374"/>
                </a:cubicBezTo>
                <a:cubicBezTo>
                  <a:pt x="4922861" y="28374"/>
                  <a:pt x="4916508" y="22021"/>
                  <a:pt x="4916508" y="14194"/>
                </a:cubicBezTo>
                <a:cubicBezTo>
                  <a:pt x="4916508" y="6366"/>
                  <a:pt x="4922861" y="13"/>
                  <a:pt x="4930688" y="13"/>
                </a:cubicBezTo>
                <a:close/>
                <a:moveTo>
                  <a:pt x="4874080" y="13"/>
                </a:moveTo>
                <a:cubicBezTo>
                  <a:pt x="4881907" y="13"/>
                  <a:pt x="4888260" y="6366"/>
                  <a:pt x="4888260" y="14194"/>
                </a:cubicBezTo>
                <a:cubicBezTo>
                  <a:pt x="4888260" y="22021"/>
                  <a:pt x="4881907" y="28374"/>
                  <a:pt x="4874080" y="28374"/>
                </a:cubicBezTo>
                <a:cubicBezTo>
                  <a:pt x="4866252" y="28374"/>
                  <a:pt x="4859899" y="22021"/>
                  <a:pt x="4859899" y="14194"/>
                </a:cubicBezTo>
                <a:cubicBezTo>
                  <a:pt x="4859899" y="6366"/>
                  <a:pt x="4866252" y="13"/>
                  <a:pt x="4874080" y="13"/>
                </a:cubicBezTo>
                <a:close/>
                <a:moveTo>
                  <a:pt x="4817528" y="13"/>
                </a:moveTo>
                <a:cubicBezTo>
                  <a:pt x="4825355" y="13"/>
                  <a:pt x="4831708" y="6366"/>
                  <a:pt x="4831708" y="14194"/>
                </a:cubicBezTo>
                <a:cubicBezTo>
                  <a:pt x="4831708" y="22021"/>
                  <a:pt x="4825355" y="28374"/>
                  <a:pt x="4817528" y="28374"/>
                </a:cubicBezTo>
                <a:cubicBezTo>
                  <a:pt x="4809700" y="28374"/>
                  <a:pt x="4803347" y="22021"/>
                  <a:pt x="4803347" y="14194"/>
                </a:cubicBezTo>
                <a:cubicBezTo>
                  <a:pt x="4803347" y="6366"/>
                  <a:pt x="4809700" y="13"/>
                  <a:pt x="4817528" y="13"/>
                </a:cubicBezTo>
                <a:close/>
                <a:moveTo>
                  <a:pt x="4760919" y="13"/>
                </a:moveTo>
                <a:cubicBezTo>
                  <a:pt x="4768747" y="13"/>
                  <a:pt x="4775100" y="6366"/>
                  <a:pt x="4775100" y="14194"/>
                </a:cubicBezTo>
                <a:cubicBezTo>
                  <a:pt x="4775100" y="22021"/>
                  <a:pt x="4768747" y="28374"/>
                  <a:pt x="4760919" y="28374"/>
                </a:cubicBezTo>
                <a:cubicBezTo>
                  <a:pt x="4753035" y="28374"/>
                  <a:pt x="4746739" y="22021"/>
                  <a:pt x="4746739" y="14194"/>
                </a:cubicBezTo>
                <a:cubicBezTo>
                  <a:pt x="4746739" y="6366"/>
                  <a:pt x="4753035" y="13"/>
                  <a:pt x="4760919" y="13"/>
                </a:cubicBezTo>
                <a:close/>
                <a:moveTo>
                  <a:pt x="4704311" y="13"/>
                </a:moveTo>
                <a:cubicBezTo>
                  <a:pt x="4712138" y="13"/>
                  <a:pt x="4718491" y="6366"/>
                  <a:pt x="4718491" y="14194"/>
                </a:cubicBezTo>
                <a:cubicBezTo>
                  <a:pt x="4718491" y="22021"/>
                  <a:pt x="4712138" y="28374"/>
                  <a:pt x="4704311" y="28374"/>
                </a:cubicBezTo>
                <a:cubicBezTo>
                  <a:pt x="4696483" y="28374"/>
                  <a:pt x="4690130" y="22021"/>
                  <a:pt x="4690130" y="14194"/>
                </a:cubicBezTo>
                <a:cubicBezTo>
                  <a:pt x="4690130" y="6366"/>
                  <a:pt x="4696483" y="13"/>
                  <a:pt x="4704311" y="13"/>
                </a:cubicBezTo>
                <a:close/>
                <a:moveTo>
                  <a:pt x="4647701" y="13"/>
                </a:moveTo>
                <a:cubicBezTo>
                  <a:pt x="4655529" y="13"/>
                  <a:pt x="4661882" y="6366"/>
                  <a:pt x="4661882" y="14194"/>
                </a:cubicBezTo>
                <a:cubicBezTo>
                  <a:pt x="4661882" y="22021"/>
                  <a:pt x="4655529" y="28374"/>
                  <a:pt x="4647701" y="28374"/>
                </a:cubicBezTo>
                <a:cubicBezTo>
                  <a:pt x="4639874" y="28374"/>
                  <a:pt x="4633521" y="22021"/>
                  <a:pt x="4633521" y="14194"/>
                </a:cubicBezTo>
                <a:cubicBezTo>
                  <a:pt x="4633521" y="6366"/>
                  <a:pt x="4639874" y="13"/>
                  <a:pt x="4647701" y="13"/>
                </a:cubicBezTo>
                <a:close/>
                <a:moveTo>
                  <a:pt x="4591093" y="13"/>
                </a:moveTo>
                <a:cubicBezTo>
                  <a:pt x="4598920" y="13"/>
                  <a:pt x="4605273" y="6366"/>
                  <a:pt x="4605273" y="14194"/>
                </a:cubicBezTo>
                <a:cubicBezTo>
                  <a:pt x="4605273" y="22021"/>
                  <a:pt x="4598920" y="28374"/>
                  <a:pt x="4591093" y="28374"/>
                </a:cubicBezTo>
                <a:cubicBezTo>
                  <a:pt x="4583265" y="28374"/>
                  <a:pt x="4576912" y="22021"/>
                  <a:pt x="4576912" y="14194"/>
                </a:cubicBezTo>
                <a:cubicBezTo>
                  <a:pt x="4576912" y="6366"/>
                  <a:pt x="4583265" y="13"/>
                  <a:pt x="4591093" y="13"/>
                </a:cubicBezTo>
                <a:close/>
                <a:moveTo>
                  <a:pt x="4534484" y="13"/>
                </a:moveTo>
                <a:cubicBezTo>
                  <a:pt x="4542368" y="13"/>
                  <a:pt x="4548721" y="6366"/>
                  <a:pt x="4548721" y="14194"/>
                </a:cubicBezTo>
                <a:cubicBezTo>
                  <a:pt x="4548721" y="22021"/>
                  <a:pt x="4542368" y="28374"/>
                  <a:pt x="4534484" y="28374"/>
                </a:cubicBezTo>
                <a:cubicBezTo>
                  <a:pt x="4526656" y="28374"/>
                  <a:pt x="4520360" y="22021"/>
                  <a:pt x="4520360" y="14194"/>
                </a:cubicBezTo>
                <a:cubicBezTo>
                  <a:pt x="4520360" y="6366"/>
                  <a:pt x="4526656" y="13"/>
                  <a:pt x="4534484" y="13"/>
                </a:cubicBezTo>
                <a:close/>
                <a:moveTo>
                  <a:pt x="4477932" y="13"/>
                </a:moveTo>
                <a:cubicBezTo>
                  <a:pt x="4485760" y="13"/>
                  <a:pt x="4492113" y="6366"/>
                  <a:pt x="4492113" y="14194"/>
                </a:cubicBezTo>
                <a:cubicBezTo>
                  <a:pt x="4492113" y="22021"/>
                  <a:pt x="4485760" y="28374"/>
                  <a:pt x="4477932" y="28374"/>
                </a:cubicBezTo>
                <a:cubicBezTo>
                  <a:pt x="4470104" y="28374"/>
                  <a:pt x="4463752" y="22021"/>
                  <a:pt x="4463752" y="14194"/>
                </a:cubicBezTo>
                <a:cubicBezTo>
                  <a:pt x="4463752" y="6366"/>
                  <a:pt x="4470104" y="13"/>
                  <a:pt x="4477932" y="13"/>
                </a:cubicBezTo>
                <a:close/>
                <a:moveTo>
                  <a:pt x="4421323" y="13"/>
                </a:moveTo>
                <a:cubicBezTo>
                  <a:pt x="4429151" y="13"/>
                  <a:pt x="4435504" y="6366"/>
                  <a:pt x="4435504" y="14194"/>
                </a:cubicBezTo>
                <a:cubicBezTo>
                  <a:pt x="4435504" y="22021"/>
                  <a:pt x="4429151" y="28374"/>
                  <a:pt x="4421323" y="28374"/>
                </a:cubicBezTo>
                <a:cubicBezTo>
                  <a:pt x="4413495" y="28374"/>
                  <a:pt x="4407143" y="22021"/>
                  <a:pt x="4407143" y="14194"/>
                </a:cubicBezTo>
                <a:cubicBezTo>
                  <a:pt x="4407143" y="6366"/>
                  <a:pt x="4413495" y="13"/>
                  <a:pt x="4421323" y="13"/>
                </a:cubicBezTo>
                <a:close/>
                <a:moveTo>
                  <a:pt x="4364715" y="13"/>
                </a:moveTo>
                <a:cubicBezTo>
                  <a:pt x="4372542" y="13"/>
                  <a:pt x="4378895" y="6366"/>
                  <a:pt x="4378895" y="14194"/>
                </a:cubicBezTo>
                <a:cubicBezTo>
                  <a:pt x="4378895" y="22021"/>
                  <a:pt x="4372542" y="28374"/>
                  <a:pt x="4364715" y="28374"/>
                </a:cubicBezTo>
                <a:cubicBezTo>
                  <a:pt x="4356887" y="28374"/>
                  <a:pt x="4350534" y="22021"/>
                  <a:pt x="4350534" y="14194"/>
                </a:cubicBezTo>
                <a:cubicBezTo>
                  <a:pt x="4350534" y="6366"/>
                  <a:pt x="4356887" y="13"/>
                  <a:pt x="4364715" y="13"/>
                </a:cubicBezTo>
                <a:close/>
                <a:moveTo>
                  <a:pt x="4308106" y="13"/>
                </a:moveTo>
                <a:cubicBezTo>
                  <a:pt x="4315933" y="13"/>
                  <a:pt x="4322286" y="6366"/>
                  <a:pt x="4322286" y="14194"/>
                </a:cubicBezTo>
                <a:cubicBezTo>
                  <a:pt x="4322286" y="22021"/>
                  <a:pt x="4315933" y="28374"/>
                  <a:pt x="4308106" y="28374"/>
                </a:cubicBezTo>
                <a:cubicBezTo>
                  <a:pt x="4300278" y="28374"/>
                  <a:pt x="4293925" y="22021"/>
                  <a:pt x="4293925" y="14194"/>
                </a:cubicBezTo>
                <a:cubicBezTo>
                  <a:pt x="4293925" y="6366"/>
                  <a:pt x="4300278" y="13"/>
                  <a:pt x="4308106" y="13"/>
                </a:cubicBezTo>
                <a:close/>
                <a:moveTo>
                  <a:pt x="4251497" y="13"/>
                </a:moveTo>
                <a:cubicBezTo>
                  <a:pt x="4259325" y="13"/>
                  <a:pt x="4265677" y="6366"/>
                  <a:pt x="4265677" y="14194"/>
                </a:cubicBezTo>
                <a:cubicBezTo>
                  <a:pt x="4265677" y="22021"/>
                  <a:pt x="4259325" y="28374"/>
                  <a:pt x="4251497" y="28374"/>
                </a:cubicBezTo>
                <a:cubicBezTo>
                  <a:pt x="4243669" y="28374"/>
                  <a:pt x="4237316" y="22021"/>
                  <a:pt x="4237316" y="14194"/>
                </a:cubicBezTo>
                <a:cubicBezTo>
                  <a:pt x="4237316" y="6366"/>
                  <a:pt x="4243669" y="13"/>
                  <a:pt x="4251497" y="13"/>
                </a:cubicBezTo>
                <a:close/>
                <a:moveTo>
                  <a:pt x="4194888" y="13"/>
                </a:moveTo>
                <a:cubicBezTo>
                  <a:pt x="4202773" y="13"/>
                  <a:pt x="4209126" y="6366"/>
                  <a:pt x="4209126" y="14194"/>
                </a:cubicBezTo>
                <a:cubicBezTo>
                  <a:pt x="4209126" y="22021"/>
                  <a:pt x="4202773" y="28374"/>
                  <a:pt x="4194888" y="28374"/>
                </a:cubicBezTo>
                <a:cubicBezTo>
                  <a:pt x="4187061" y="28374"/>
                  <a:pt x="4180764" y="22021"/>
                  <a:pt x="4180764" y="14194"/>
                </a:cubicBezTo>
                <a:cubicBezTo>
                  <a:pt x="4180764" y="6366"/>
                  <a:pt x="4187061" y="13"/>
                  <a:pt x="4194888" y="13"/>
                </a:cubicBezTo>
                <a:close/>
                <a:moveTo>
                  <a:pt x="4138336" y="13"/>
                </a:moveTo>
                <a:cubicBezTo>
                  <a:pt x="4146164" y="13"/>
                  <a:pt x="4152517" y="6366"/>
                  <a:pt x="4152517" y="14194"/>
                </a:cubicBezTo>
                <a:cubicBezTo>
                  <a:pt x="4152517" y="22021"/>
                  <a:pt x="4146164" y="28374"/>
                  <a:pt x="4138336" y="28374"/>
                </a:cubicBezTo>
                <a:cubicBezTo>
                  <a:pt x="4130509" y="28374"/>
                  <a:pt x="4124156" y="22021"/>
                  <a:pt x="4124156" y="14194"/>
                </a:cubicBezTo>
                <a:cubicBezTo>
                  <a:pt x="4124156" y="6366"/>
                  <a:pt x="4130509" y="13"/>
                  <a:pt x="4138336" y="13"/>
                </a:cubicBezTo>
                <a:close/>
                <a:moveTo>
                  <a:pt x="4081727" y="13"/>
                </a:moveTo>
                <a:cubicBezTo>
                  <a:pt x="4089555" y="13"/>
                  <a:pt x="4095908" y="6366"/>
                  <a:pt x="4095908" y="14194"/>
                </a:cubicBezTo>
                <a:cubicBezTo>
                  <a:pt x="4095908" y="22021"/>
                  <a:pt x="4089555" y="28374"/>
                  <a:pt x="4081727" y="28374"/>
                </a:cubicBezTo>
                <a:cubicBezTo>
                  <a:pt x="4073900" y="28374"/>
                  <a:pt x="4067547" y="22021"/>
                  <a:pt x="4067547" y="14194"/>
                </a:cubicBezTo>
                <a:cubicBezTo>
                  <a:pt x="4067547" y="6366"/>
                  <a:pt x="4073900" y="13"/>
                  <a:pt x="4081727" y="13"/>
                </a:cubicBezTo>
                <a:close/>
                <a:moveTo>
                  <a:pt x="4025119" y="13"/>
                </a:moveTo>
                <a:cubicBezTo>
                  <a:pt x="4032946" y="13"/>
                  <a:pt x="4039299" y="6366"/>
                  <a:pt x="4039299" y="14194"/>
                </a:cubicBezTo>
                <a:cubicBezTo>
                  <a:pt x="4039299" y="22021"/>
                  <a:pt x="4032946" y="28374"/>
                  <a:pt x="4025119" y="28374"/>
                </a:cubicBezTo>
                <a:cubicBezTo>
                  <a:pt x="4017291" y="28374"/>
                  <a:pt x="4010938" y="22021"/>
                  <a:pt x="4010938" y="14194"/>
                </a:cubicBezTo>
                <a:cubicBezTo>
                  <a:pt x="4010938" y="6366"/>
                  <a:pt x="4017291" y="13"/>
                  <a:pt x="4025119" y="13"/>
                </a:cubicBezTo>
                <a:close/>
                <a:moveTo>
                  <a:pt x="3968510" y="13"/>
                </a:moveTo>
                <a:cubicBezTo>
                  <a:pt x="3976338" y="13"/>
                  <a:pt x="3982691" y="6366"/>
                  <a:pt x="3982691" y="14194"/>
                </a:cubicBezTo>
                <a:cubicBezTo>
                  <a:pt x="3982691" y="22021"/>
                  <a:pt x="3976338" y="28374"/>
                  <a:pt x="3968510" y="28374"/>
                </a:cubicBezTo>
                <a:cubicBezTo>
                  <a:pt x="3960683" y="28374"/>
                  <a:pt x="3954330" y="22021"/>
                  <a:pt x="3954330" y="14194"/>
                </a:cubicBezTo>
                <a:cubicBezTo>
                  <a:pt x="3954330" y="6366"/>
                  <a:pt x="3960683" y="13"/>
                  <a:pt x="3968510" y="13"/>
                </a:cubicBezTo>
                <a:close/>
                <a:moveTo>
                  <a:pt x="3911901" y="13"/>
                </a:moveTo>
                <a:cubicBezTo>
                  <a:pt x="3919786" y="13"/>
                  <a:pt x="3926082" y="6366"/>
                  <a:pt x="3926082" y="14194"/>
                </a:cubicBezTo>
                <a:cubicBezTo>
                  <a:pt x="3926082" y="22021"/>
                  <a:pt x="3919786" y="28374"/>
                  <a:pt x="3911901" y="28374"/>
                </a:cubicBezTo>
                <a:cubicBezTo>
                  <a:pt x="3904074" y="28374"/>
                  <a:pt x="3897721" y="22021"/>
                  <a:pt x="3897721" y="14194"/>
                </a:cubicBezTo>
                <a:cubicBezTo>
                  <a:pt x="3897721" y="6366"/>
                  <a:pt x="3904074" y="13"/>
                  <a:pt x="3911901" y="13"/>
                </a:cubicBezTo>
                <a:close/>
                <a:moveTo>
                  <a:pt x="3855349" y="13"/>
                </a:moveTo>
                <a:cubicBezTo>
                  <a:pt x="3863177" y="13"/>
                  <a:pt x="3869530" y="6366"/>
                  <a:pt x="3869530" y="14194"/>
                </a:cubicBezTo>
                <a:cubicBezTo>
                  <a:pt x="3869530" y="22021"/>
                  <a:pt x="3863177" y="28374"/>
                  <a:pt x="3855349" y="28374"/>
                </a:cubicBezTo>
                <a:cubicBezTo>
                  <a:pt x="3847522" y="28374"/>
                  <a:pt x="3841169" y="22021"/>
                  <a:pt x="3841169" y="14194"/>
                </a:cubicBezTo>
                <a:cubicBezTo>
                  <a:pt x="3841169" y="6366"/>
                  <a:pt x="3847522" y="13"/>
                  <a:pt x="3855349" y="13"/>
                </a:cubicBezTo>
                <a:close/>
                <a:moveTo>
                  <a:pt x="3798741" y="13"/>
                </a:moveTo>
                <a:cubicBezTo>
                  <a:pt x="3806568" y="13"/>
                  <a:pt x="3812921" y="6366"/>
                  <a:pt x="3812921" y="14194"/>
                </a:cubicBezTo>
                <a:cubicBezTo>
                  <a:pt x="3812921" y="22021"/>
                  <a:pt x="3806568" y="28374"/>
                  <a:pt x="3798741" y="28374"/>
                </a:cubicBezTo>
                <a:cubicBezTo>
                  <a:pt x="3790913" y="28374"/>
                  <a:pt x="3784560" y="22021"/>
                  <a:pt x="3784560" y="14194"/>
                </a:cubicBezTo>
                <a:cubicBezTo>
                  <a:pt x="3784560" y="6366"/>
                  <a:pt x="3790913" y="13"/>
                  <a:pt x="3798741" y="13"/>
                </a:cubicBezTo>
                <a:close/>
                <a:moveTo>
                  <a:pt x="3742132" y="13"/>
                </a:moveTo>
                <a:cubicBezTo>
                  <a:pt x="3749959" y="13"/>
                  <a:pt x="3756312" y="6366"/>
                  <a:pt x="3756312" y="14194"/>
                </a:cubicBezTo>
                <a:cubicBezTo>
                  <a:pt x="3756312" y="22021"/>
                  <a:pt x="3749959" y="28374"/>
                  <a:pt x="3742132" y="28374"/>
                </a:cubicBezTo>
                <a:cubicBezTo>
                  <a:pt x="3734304" y="28374"/>
                  <a:pt x="3727951" y="22021"/>
                  <a:pt x="3727951" y="14194"/>
                </a:cubicBezTo>
                <a:cubicBezTo>
                  <a:pt x="3727951" y="6366"/>
                  <a:pt x="3734304" y="13"/>
                  <a:pt x="3742132" y="13"/>
                </a:cubicBezTo>
                <a:close/>
                <a:moveTo>
                  <a:pt x="3685523" y="13"/>
                </a:moveTo>
                <a:cubicBezTo>
                  <a:pt x="3693351" y="13"/>
                  <a:pt x="3699704" y="6366"/>
                  <a:pt x="3699704" y="14194"/>
                </a:cubicBezTo>
                <a:cubicBezTo>
                  <a:pt x="3699704" y="22021"/>
                  <a:pt x="3693351" y="28374"/>
                  <a:pt x="3685523" y="28374"/>
                </a:cubicBezTo>
                <a:cubicBezTo>
                  <a:pt x="3677696" y="28374"/>
                  <a:pt x="3671343" y="22021"/>
                  <a:pt x="3671343" y="14194"/>
                </a:cubicBezTo>
                <a:cubicBezTo>
                  <a:pt x="3671343" y="6366"/>
                  <a:pt x="3677696" y="13"/>
                  <a:pt x="3685523" y="13"/>
                </a:cubicBezTo>
                <a:close/>
                <a:moveTo>
                  <a:pt x="3628915" y="13"/>
                </a:moveTo>
                <a:cubicBezTo>
                  <a:pt x="3636742" y="13"/>
                  <a:pt x="3643095" y="6366"/>
                  <a:pt x="3643095" y="14194"/>
                </a:cubicBezTo>
                <a:cubicBezTo>
                  <a:pt x="3643095" y="22021"/>
                  <a:pt x="3636742" y="28374"/>
                  <a:pt x="3628915" y="28374"/>
                </a:cubicBezTo>
                <a:cubicBezTo>
                  <a:pt x="3621087" y="28374"/>
                  <a:pt x="3614734" y="22021"/>
                  <a:pt x="3614734" y="14194"/>
                </a:cubicBezTo>
                <a:cubicBezTo>
                  <a:pt x="3614734" y="6366"/>
                  <a:pt x="3621087" y="13"/>
                  <a:pt x="3628915" y="13"/>
                </a:cubicBezTo>
                <a:close/>
                <a:moveTo>
                  <a:pt x="3572362" y="13"/>
                </a:moveTo>
                <a:cubicBezTo>
                  <a:pt x="3580190" y="13"/>
                  <a:pt x="3586543" y="6366"/>
                  <a:pt x="3586543" y="14194"/>
                </a:cubicBezTo>
                <a:cubicBezTo>
                  <a:pt x="3586543" y="22021"/>
                  <a:pt x="3580190" y="28374"/>
                  <a:pt x="3572362" y="28374"/>
                </a:cubicBezTo>
                <a:cubicBezTo>
                  <a:pt x="3564478" y="28374"/>
                  <a:pt x="3558182" y="22021"/>
                  <a:pt x="3558182" y="14194"/>
                </a:cubicBezTo>
                <a:cubicBezTo>
                  <a:pt x="3558182" y="6366"/>
                  <a:pt x="3564478" y="13"/>
                  <a:pt x="3572362" y="13"/>
                </a:cubicBezTo>
                <a:close/>
                <a:moveTo>
                  <a:pt x="3515754" y="13"/>
                </a:moveTo>
                <a:cubicBezTo>
                  <a:pt x="3523581" y="13"/>
                  <a:pt x="3529934" y="6366"/>
                  <a:pt x="3529934" y="14194"/>
                </a:cubicBezTo>
                <a:cubicBezTo>
                  <a:pt x="3529934" y="22021"/>
                  <a:pt x="3523581" y="28374"/>
                  <a:pt x="3515754" y="28374"/>
                </a:cubicBezTo>
                <a:cubicBezTo>
                  <a:pt x="3507926" y="28374"/>
                  <a:pt x="3501573" y="22021"/>
                  <a:pt x="3501573" y="14194"/>
                </a:cubicBezTo>
                <a:cubicBezTo>
                  <a:pt x="3501573" y="6366"/>
                  <a:pt x="3507926" y="13"/>
                  <a:pt x="3515754" y="13"/>
                </a:cubicBezTo>
                <a:close/>
                <a:moveTo>
                  <a:pt x="3459145" y="13"/>
                </a:moveTo>
                <a:cubicBezTo>
                  <a:pt x="3466972" y="13"/>
                  <a:pt x="3473325" y="6366"/>
                  <a:pt x="3473325" y="14194"/>
                </a:cubicBezTo>
                <a:cubicBezTo>
                  <a:pt x="3473325" y="22021"/>
                  <a:pt x="3466972" y="28374"/>
                  <a:pt x="3459145" y="28374"/>
                </a:cubicBezTo>
                <a:cubicBezTo>
                  <a:pt x="3451317" y="28374"/>
                  <a:pt x="3444964" y="22021"/>
                  <a:pt x="3444964" y="14194"/>
                </a:cubicBezTo>
                <a:cubicBezTo>
                  <a:pt x="3444964" y="6366"/>
                  <a:pt x="3451317" y="13"/>
                  <a:pt x="3459145" y="13"/>
                </a:cubicBezTo>
                <a:close/>
                <a:moveTo>
                  <a:pt x="3402536" y="13"/>
                </a:moveTo>
                <a:cubicBezTo>
                  <a:pt x="3410364" y="13"/>
                  <a:pt x="3416717" y="6366"/>
                  <a:pt x="3416717" y="14194"/>
                </a:cubicBezTo>
                <a:cubicBezTo>
                  <a:pt x="3416717" y="22021"/>
                  <a:pt x="3410364" y="28374"/>
                  <a:pt x="3402536" y="28374"/>
                </a:cubicBezTo>
                <a:cubicBezTo>
                  <a:pt x="3394709" y="28374"/>
                  <a:pt x="3388356" y="22021"/>
                  <a:pt x="3388356" y="14194"/>
                </a:cubicBezTo>
                <a:cubicBezTo>
                  <a:pt x="3388356" y="6366"/>
                  <a:pt x="3394709" y="13"/>
                  <a:pt x="3402536" y="13"/>
                </a:cubicBezTo>
                <a:close/>
                <a:moveTo>
                  <a:pt x="3345928" y="13"/>
                </a:moveTo>
                <a:cubicBezTo>
                  <a:pt x="3353755" y="13"/>
                  <a:pt x="3360108" y="6366"/>
                  <a:pt x="3360108" y="14194"/>
                </a:cubicBezTo>
                <a:cubicBezTo>
                  <a:pt x="3360108" y="22021"/>
                  <a:pt x="3353755" y="28374"/>
                  <a:pt x="3345928" y="28374"/>
                </a:cubicBezTo>
                <a:cubicBezTo>
                  <a:pt x="3338100" y="28374"/>
                  <a:pt x="3331747" y="22021"/>
                  <a:pt x="3331747" y="14194"/>
                </a:cubicBezTo>
                <a:cubicBezTo>
                  <a:pt x="3331747" y="6366"/>
                  <a:pt x="3338100" y="13"/>
                  <a:pt x="3345928" y="13"/>
                </a:cubicBezTo>
                <a:close/>
                <a:moveTo>
                  <a:pt x="3289375" y="13"/>
                </a:moveTo>
                <a:cubicBezTo>
                  <a:pt x="3297203" y="13"/>
                  <a:pt x="3303499" y="6366"/>
                  <a:pt x="3303499" y="14194"/>
                </a:cubicBezTo>
                <a:cubicBezTo>
                  <a:pt x="3303499" y="22021"/>
                  <a:pt x="3297203" y="28374"/>
                  <a:pt x="3289375" y="28374"/>
                </a:cubicBezTo>
                <a:cubicBezTo>
                  <a:pt x="3281491" y="28374"/>
                  <a:pt x="3275138" y="22021"/>
                  <a:pt x="3275138" y="14194"/>
                </a:cubicBezTo>
                <a:cubicBezTo>
                  <a:pt x="3275138" y="6366"/>
                  <a:pt x="3281491" y="13"/>
                  <a:pt x="3289375" y="13"/>
                </a:cubicBezTo>
                <a:close/>
                <a:moveTo>
                  <a:pt x="3232767" y="13"/>
                </a:moveTo>
                <a:cubicBezTo>
                  <a:pt x="3240594" y="13"/>
                  <a:pt x="3246947" y="6366"/>
                  <a:pt x="3246947" y="14194"/>
                </a:cubicBezTo>
                <a:cubicBezTo>
                  <a:pt x="3246947" y="22021"/>
                  <a:pt x="3240594" y="28374"/>
                  <a:pt x="3232767" y="28374"/>
                </a:cubicBezTo>
                <a:cubicBezTo>
                  <a:pt x="3224882" y="28374"/>
                  <a:pt x="3218586" y="22021"/>
                  <a:pt x="3218586" y="14194"/>
                </a:cubicBezTo>
                <a:cubicBezTo>
                  <a:pt x="3218586" y="6366"/>
                  <a:pt x="3224882" y="13"/>
                  <a:pt x="3232767" y="13"/>
                </a:cubicBezTo>
                <a:close/>
                <a:moveTo>
                  <a:pt x="3176158" y="13"/>
                </a:moveTo>
                <a:cubicBezTo>
                  <a:pt x="3183986" y="13"/>
                  <a:pt x="3190339" y="6366"/>
                  <a:pt x="3190339" y="14194"/>
                </a:cubicBezTo>
                <a:cubicBezTo>
                  <a:pt x="3190339" y="22021"/>
                  <a:pt x="3183986" y="28374"/>
                  <a:pt x="3176158" y="28374"/>
                </a:cubicBezTo>
                <a:cubicBezTo>
                  <a:pt x="3168330" y="28374"/>
                  <a:pt x="3161978" y="22021"/>
                  <a:pt x="3161978" y="14194"/>
                </a:cubicBezTo>
                <a:cubicBezTo>
                  <a:pt x="3161978" y="6366"/>
                  <a:pt x="3168330" y="13"/>
                  <a:pt x="3176158" y="13"/>
                </a:cubicBezTo>
                <a:close/>
                <a:moveTo>
                  <a:pt x="3119549" y="13"/>
                </a:moveTo>
                <a:cubicBezTo>
                  <a:pt x="3127377" y="13"/>
                  <a:pt x="3133730" y="6366"/>
                  <a:pt x="3133730" y="14194"/>
                </a:cubicBezTo>
                <a:cubicBezTo>
                  <a:pt x="3133730" y="22021"/>
                  <a:pt x="3127377" y="28374"/>
                  <a:pt x="3119549" y="28374"/>
                </a:cubicBezTo>
                <a:cubicBezTo>
                  <a:pt x="3111722" y="28374"/>
                  <a:pt x="3105369" y="22021"/>
                  <a:pt x="3105369" y="14194"/>
                </a:cubicBezTo>
                <a:cubicBezTo>
                  <a:pt x="3105369" y="6366"/>
                  <a:pt x="3111722" y="13"/>
                  <a:pt x="3119549" y="13"/>
                </a:cubicBezTo>
                <a:close/>
                <a:moveTo>
                  <a:pt x="3062941" y="13"/>
                </a:moveTo>
                <a:cubicBezTo>
                  <a:pt x="3070768" y="13"/>
                  <a:pt x="3077121" y="6366"/>
                  <a:pt x="3077121" y="14194"/>
                </a:cubicBezTo>
                <a:cubicBezTo>
                  <a:pt x="3077121" y="22021"/>
                  <a:pt x="3070768" y="28374"/>
                  <a:pt x="3062941" y="28374"/>
                </a:cubicBezTo>
                <a:cubicBezTo>
                  <a:pt x="3055113" y="28374"/>
                  <a:pt x="3048760" y="22021"/>
                  <a:pt x="3048760" y="14194"/>
                </a:cubicBezTo>
                <a:cubicBezTo>
                  <a:pt x="3048760" y="6366"/>
                  <a:pt x="3055113" y="13"/>
                  <a:pt x="3062941" y="13"/>
                </a:cubicBezTo>
                <a:close/>
                <a:moveTo>
                  <a:pt x="3006332" y="13"/>
                </a:moveTo>
                <a:cubicBezTo>
                  <a:pt x="3014160" y="13"/>
                  <a:pt x="3020513" y="6366"/>
                  <a:pt x="3020513" y="14194"/>
                </a:cubicBezTo>
                <a:cubicBezTo>
                  <a:pt x="3020513" y="22021"/>
                  <a:pt x="3014160" y="28374"/>
                  <a:pt x="3006332" y="28374"/>
                </a:cubicBezTo>
                <a:cubicBezTo>
                  <a:pt x="2998504" y="28374"/>
                  <a:pt x="2992151" y="22021"/>
                  <a:pt x="2992151" y="14194"/>
                </a:cubicBezTo>
                <a:cubicBezTo>
                  <a:pt x="2992151" y="6366"/>
                  <a:pt x="2998504" y="13"/>
                  <a:pt x="3006332" y="13"/>
                </a:cubicBezTo>
                <a:close/>
                <a:moveTo>
                  <a:pt x="2949780" y="13"/>
                </a:moveTo>
                <a:cubicBezTo>
                  <a:pt x="2957607" y="13"/>
                  <a:pt x="2963960" y="6366"/>
                  <a:pt x="2963960" y="14194"/>
                </a:cubicBezTo>
                <a:cubicBezTo>
                  <a:pt x="2963960" y="22021"/>
                  <a:pt x="2957607" y="28374"/>
                  <a:pt x="2949780" y="28374"/>
                </a:cubicBezTo>
                <a:cubicBezTo>
                  <a:pt x="2941952" y="28374"/>
                  <a:pt x="2935542" y="22021"/>
                  <a:pt x="2935542" y="14194"/>
                </a:cubicBezTo>
                <a:cubicBezTo>
                  <a:pt x="2935542" y="6366"/>
                  <a:pt x="2941952" y="13"/>
                  <a:pt x="2949780" y="13"/>
                </a:cubicBezTo>
                <a:close/>
                <a:moveTo>
                  <a:pt x="2893171" y="13"/>
                </a:moveTo>
                <a:cubicBezTo>
                  <a:pt x="2900999" y="13"/>
                  <a:pt x="2907352" y="6366"/>
                  <a:pt x="2907352" y="14194"/>
                </a:cubicBezTo>
                <a:cubicBezTo>
                  <a:pt x="2907352" y="22021"/>
                  <a:pt x="2900999" y="28374"/>
                  <a:pt x="2893171" y="28374"/>
                </a:cubicBezTo>
                <a:cubicBezTo>
                  <a:pt x="2885343" y="28374"/>
                  <a:pt x="2878991" y="22021"/>
                  <a:pt x="2878991" y="14194"/>
                </a:cubicBezTo>
                <a:cubicBezTo>
                  <a:pt x="2878991" y="6366"/>
                  <a:pt x="2885343" y="13"/>
                  <a:pt x="2893171" y="13"/>
                </a:cubicBezTo>
                <a:close/>
                <a:moveTo>
                  <a:pt x="2836563" y="13"/>
                </a:moveTo>
                <a:cubicBezTo>
                  <a:pt x="2844390" y="13"/>
                  <a:pt x="2850743" y="6366"/>
                  <a:pt x="2850743" y="14194"/>
                </a:cubicBezTo>
                <a:cubicBezTo>
                  <a:pt x="2850743" y="22021"/>
                  <a:pt x="2844390" y="28374"/>
                  <a:pt x="2836563" y="28374"/>
                </a:cubicBezTo>
                <a:cubicBezTo>
                  <a:pt x="2828735" y="28374"/>
                  <a:pt x="2822382" y="22021"/>
                  <a:pt x="2822382" y="14194"/>
                </a:cubicBezTo>
                <a:cubicBezTo>
                  <a:pt x="2822382" y="6366"/>
                  <a:pt x="2828735" y="13"/>
                  <a:pt x="2836563" y="13"/>
                </a:cubicBezTo>
                <a:close/>
                <a:moveTo>
                  <a:pt x="2779954" y="13"/>
                </a:moveTo>
                <a:cubicBezTo>
                  <a:pt x="2787781" y="13"/>
                  <a:pt x="2794134" y="6366"/>
                  <a:pt x="2794134" y="14194"/>
                </a:cubicBezTo>
                <a:cubicBezTo>
                  <a:pt x="2794134" y="22021"/>
                  <a:pt x="2787781" y="28374"/>
                  <a:pt x="2779954" y="28374"/>
                </a:cubicBezTo>
                <a:cubicBezTo>
                  <a:pt x="2772126" y="28374"/>
                  <a:pt x="2765773" y="22021"/>
                  <a:pt x="2765773" y="14194"/>
                </a:cubicBezTo>
                <a:cubicBezTo>
                  <a:pt x="2765773" y="6366"/>
                  <a:pt x="2772126" y="13"/>
                  <a:pt x="2779954" y="13"/>
                </a:cubicBezTo>
                <a:close/>
                <a:moveTo>
                  <a:pt x="2723345" y="13"/>
                </a:moveTo>
                <a:cubicBezTo>
                  <a:pt x="2731229" y="13"/>
                  <a:pt x="2737526" y="6366"/>
                  <a:pt x="2737526" y="14194"/>
                </a:cubicBezTo>
                <a:cubicBezTo>
                  <a:pt x="2737526" y="22021"/>
                  <a:pt x="2731229" y="28374"/>
                  <a:pt x="2723345" y="28374"/>
                </a:cubicBezTo>
                <a:cubicBezTo>
                  <a:pt x="2715517" y="28374"/>
                  <a:pt x="2709164" y="22021"/>
                  <a:pt x="2709164" y="14194"/>
                </a:cubicBezTo>
                <a:cubicBezTo>
                  <a:pt x="2709164" y="6366"/>
                  <a:pt x="2715517" y="13"/>
                  <a:pt x="2723345" y="13"/>
                </a:cubicBezTo>
                <a:close/>
                <a:moveTo>
                  <a:pt x="2666793" y="13"/>
                </a:moveTo>
                <a:cubicBezTo>
                  <a:pt x="2674620" y="13"/>
                  <a:pt x="2680917" y="6366"/>
                  <a:pt x="2680917" y="14194"/>
                </a:cubicBezTo>
                <a:cubicBezTo>
                  <a:pt x="2680917" y="22021"/>
                  <a:pt x="2674620" y="28374"/>
                  <a:pt x="2666793" y="28374"/>
                </a:cubicBezTo>
                <a:cubicBezTo>
                  <a:pt x="2658965" y="28374"/>
                  <a:pt x="2652612" y="22021"/>
                  <a:pt x="2652612" y="14194"/>
                </a:cubicBezTo>
                <a:cubicBezTo>
                  <a:pt x="2652612" y="6366"/>
                  <a:pt x="2658965" y="13"/>
                  <a:pt x="2666793" y="13"/>
                </a:cubicBezTo>
                <a:close/>
                <a:moveTo>
                  <a:pt x="2610184" y="13"/>
                </a:moveTo>
                <a:cubicBezTo>
                  <a:pt x="2618012" y="13"/>
                  <a:pt x="2624365" y="6366"/>
                  <a:pt x="2624365" y="14194"/>
                </a:cubicBezTo>
                <a:cubicBezTo>
                  <a:pt x="2624365" y="22021"/>
                  <a:pt x="2618012" y="28374"/>
                  <a:pt x="2610184" y="28374"/>
                </a:cubicBezTo>
                <a:cubicBezTo>
                  <a:pt x="2602356" y="28374"/>
                  <a:pt x="2596004" y="22021"/>
                  <a:pt x="2596004" y="14194"/>
                </a:cubicBezTo>
                <a:cubicBezTo>
                  <a:pt x="2596004" y="6366"/>
                  <a:pt x="2602356" y="13"/>
                  <a:pt x="2610184" y="13"/>
                </a:cubicBezTo>
                <a:close/>
                <a:moveTo>
                  <a:pt x="2553576" y="13"/>
                </a:moveTo>
                <a:cubicBezTo>
                  <a:pt x="2561403" y="13"/>
                  <a:pt x="2567756" y="6366"/>
                  <a:pt x="2567756" y="14194"/>
                </a:cubicBezTo>
                <a:cubicBezTo>
                  <a:pt x="2567756" y="22021"/>
                  <a:pt x="2561403" y="28374"/>
                  <a:pt x="2553576" y="28374"/>
                </a:cubicBezTo>
                <a:cubicBezTo>
                  <a:pt x="2545748" y="28374"/>
                  <a:pt x="2539395" y="22021"/>
                  <a:pt x="2539395" y="14194"/>
                </a:cubicBezTo>
                <a:cubicBezTo>
                  <a:pt x="2539395" y="6366"/>
                  <a:pt x="2545748" y="13"/>
                  <a:pt x="2553576" y="13"/>
                </a:cubicBezTo>
                <a:close/>
                <a:moveTo>
                  <a:pt x="2496967" y="13"/>
                </a:moveTo>
                <a:cubicBezTo>
                  <a:pt x="2504794" y="13"/>
                  <a:pt x="2511147" y="6366"/>
                  <a:pt x="2511147" y="14194"/>
                </a:cubicBezTo>
                <a:cubicBezTo>
                  <a:pt x="2511147" y="22021"/>
                  <a:pt x="2504794" y="28374"/>
                  <a:pt x="2496967" y="28374"/>
                </a:cubicBezTo>
                <a:cubicBezTo>
                  <a:pt x="2489139" y="28374"/>
                  <a:pt x="2482786" y="22021"/>
                  <a:pt x="2482786" y="14194"/>
                </a:cubicBezTo>
                <a:cubicBezTo>
                  <a:pt x="2482786" y="6366"/>
                  <a:pt x="2489139" y="13"/>
                  <a:pt x="2496967" y="13"/>
                </a:cubicBezTo>
                <a:close/>
                <a:moveTo>
                  <a:pt x="2440358" y="13"/>
                </a:moveTo>
                <a:cubicBezTo>
                  <a:pt x="2448186" y="13"/>
                  <a:pt x="2454539" y="6366"/>
                  <a:pt x="2454539" y="14194"/>
                </a:cubicBezTo>
                <a:cubicBezTo>
                  <a:pt x="2454539" y="22021"/>
                  <a:pt x="2448186" y="28374"/>
                  <a:pt x="2440358" y="28374"/>
                </a:cubicBezTo>
                <a:cubicBezTo>
                  <a:pt x="2432530" y="28374"/>
                  <a:pt x="2426177" y="22021"/>
                  <a:pt x="2426177" y="14194"/>
                </a:cubicBezTo>
                <a:cubicBezTo>
                  <a:pt x="2426177" y="6366"/>
                  <a:pt x="2432530" y="13"/>
                  <a:pt x="2440358" y="13"/>
                </a:cubicBezTo>
                <a:close/>
                <a:moveTo>
                  <a:pt x="2383749" y="13"/>
                </a:moveTo>
                <a:cubicBezTo>
                  <a:pt x="2391634" y="13"/>
                  <a:pt x="2397987" y="6366"/>
                  <a:pt x="2397987" y="14194"/>
                </a:cubicBezTo>
                <a:cubicBezTo>
                  <a:pt x="2397987" y="22021"/>
                  <a:pt x="2391634" y="28374"/>
                  <a:pt x="2383749" y="28374"/>
                </a:cubicBezTo>
                <a:cubicBezTo>
                  <a:pt x="2375922" y="28374"/>
                  <a:pt x="2369626" y="22021"/>
                  <a:pt x="2369626" y="14194"/>
                </a:cubicBezTo>
                <a:cubicBezTo>
                  <a:pt x="2369626" y="6366"/>
                  <a:pt x="2375922" y="13"/>
                  <a:pt x="2383749" y="13"/>
                </a:cubicBezTo>
                <a:close/>
                <a:moveTo>
                  <a:pt x="2327197" y="13"/>
                </a:moveTo>
                <a:cubicBezTo>
                  <a:pt x="2335025" y="13"/>
                  <a:pt x="2341378" y="6366"/>
                  <a:pt x="2341378" y="14194"/>
                </a:cubicBezTo>
                <a:cubicBezTo>
                  <a:pt x="2341378" y="22021"/>
                  <a:pt x="2335025" y="28374"/>
                  <a:pt x="2327197" y="28374"/>
                </a:cubicBezTo>
                <a:cubicBezTo>
                  <a:pt x="2319369" y="28374"/>
                  <a:pt x="2313017" y="22021"/>
                  <a:pt x="2313017" y="14194"/>
                </a:cubicBezTo>
                <a:cubicBezTo>
                  <a:pt x="2313017" y="6366"/>
                  <a:pt x="2319369" y="13"/>
                  <a:pt x="2327197" y="13"/>
                </a:cubicBezTo>
                <a:close/>
                <a:moveTo>
                  <a:pt x="2270589" y="13"/>
                </a:moveTo>
                <a:cubicBezTo>
                  <a:pt x="2278416" y="13"/>
                  <a:pt x="2284769" y="6366"/>
                  <a:pt x="2284769" y="14194"/>
                </a:cubicBezTo>
                <a:cubicBezTo>
                  <a:pt x="2284769" y="22021"/>
                  <a:pt x="2278416" y="28374"/>
                  <a:pt x="2270589" y="28374"/>
                </a:cubicBezTo>
                <a:cubicBezTo>
                  <a:pt x="2262761" y="28374"/>
                  <a:pt x="2256408" y="22021"/>
                  <a:pt x="2256408" y="14194"/>
                </a:cubicBezTo>
                <a:cubicBezTo>
                  <a:pt x="2256408" y="6366"/>
                  <a:pt x="2262761" y="13"/>
                  <a:pt x="2270589" y="13"/>
                </a:cubicBezTo>
                <a:close/>
                <a:moveTo>
                  <a:pt x="2213980" y="13"/>
                </a:moveTo>
                <a:cubicBezTo>
                  <a:pt x="2221808" y="13"/>
                  <a:pt x="2228160" y="6366"/>
                  <a:pt x="2228160" y="14194"/>
                </a:cubicBezTo>
                <a:cubicBezTo>
                  <a:pt x="2228160" y="22021"/>
                  <a:pt x="2221808" y="28374"/>
                  <a:pt x="2213980" y="28374"/>
                </a:cubicBezTo>
                <a:cubicBezTo>
                  <a:pt x="2206152" y="28374"/>
                  <a:pt x="2199799" y="22021"/>
                  <a:pt x="2199799" y="14194"/>
                </a:cubicBezTo>
                <a:cubicBezTo>
                  <a:pt x="2199799" y="6366"/>
                  <a:pt x="2206152" y="13"/>
                  <a:pt x="2213980" y="13"/>
                </a:cubicBezTo>
                <a:close/>
                <a:moveTo>
                  <a:pt x="2157371" y="13"/>
                </a:moveTo>
                <a:cubicBezTo>
                  <a:pt x="2165199" y="13"/>
                  <a:pt x="2171551" y="6366"/>
                  <a:pt x="2171551" y="14194"/>
                </a:cubicBezTo>
                <a:cubicBezTo>
                  <a:pt x="2171551" y="22021"/>
                  <a:pt x="2165199" y="28374"/>
                  <a:pt x="2157371" y="28374"/>
                </a:cubicBezTo>
                <a:cubicBezTo>
                  <a:pt x="2149544" y="28374"/>
                  <a:pt x="2143190" y="22021"/>
                  <a:pt x="2143190" y="14194"/>
                </a:cubicBezTo>
                <a:cubicBezTo>
                  <a:pt x="2143190" y="6366"/>
                  <a:pt x="2149544" y="13"/>
                  <a:pt x="2157371" y="13"/>
                </a:cubicBezTo>
                <a:close/>
                <a:moveTo>
                  <a:pt x="2100762" y="13"/>
                </a:moveTo>
                <a:cubicBezTo>
                  <a:pt x="2108590" y="13"/>
                  <a:pt x="2114943" y="6366"/>
                  <a:pt x="2114943" y="14194"/>
                </a:cubicBezTo>
                <a:cubicBezTo>
                  <a:pt x="2114943" y="22021"/>
                  <a:pt x="2108590" y="28374"/>
                  <a:pt x="2100762" y="28374"/>
                </a:cubicBezTo>
                <a:cubicBezTo>
                  <a:pt x="2092935" y="28374"/>
                  <a:pt x="2086582" y="22021"/>
                  <a:pt x="2086582" y="14194"/>
                </a:cubicBezTo>
                <a:cubicBezTo>
                  <a:pt x="2086582" y="6366"/>
                  <a:pt x="2092935" y="13"/>
                  <a:pt x="2100762" y="13"/>
                </a:cubicBezTo>
                <a:close/>
                <a:moveTo>
                  <a:pt x="2044154" y="13"/>
                </a:moveTo>
                <a:cubicBezTo>
                  <a:pt x="2052038" y="13"/>
                  <a:pt x="2058391" y="6366"/>
                  <a:pt x="2058391" y="14194"/>
                </a:cubicBezTo>
                <a:cubicBezTo>
                  <a:pt x="2058391" y="22021"/>
                  <a:pt x="2052038" y="28374"/>
                  <a:pt x="2044154" y="28374"/>
                </a:cubicBezTo>
                <a:cubicBezTo>
                  <a:pt x="2036326" y="28374"/>
                  <a:pt x="2030030" y="22021"/>
                  <a:pt x="2030030" y="14194"/>
                </a:cubicBezTo>
                <a:cubicBezTo>
                  <a:pt x="2030030" y="6366"/>
                  <a:pt x="2036326" y="13"/>
                  <a:pt x="2044154" y="13"/>
                </a:cubicBezTo>
                <a:close/>
                <a:moveTo>
                  <a:pt x="1987601" y="13"/>
                </a:moveTo>
                <a:cubicBezTo>
                  <a:pt x="1995429" y="13"/>
                  <a:pt x="2001782" y="6366"/>
                  <a:pt x="2001782" y="14194"/>
                </a:cubicBezTo>
                <a:cubicBezTo>
                  <a:pt x="2001782" y="22021"/>
                  <a:pt x="1995429" y="28374"/>
                  <a:pt x="1987601" y="28374"/>
                </a:cubicBezTo>
                <a:cubicBezTo>
                  <a:pt x="1979774" y="28374"/>
                  <a:pt x="1973421" y="22021"/>
                  <a:pt x="1973421" y="14194"/>
                </a:cubicBezTo>
                <a:cubicBezTo>
                  <a:pt x="1973421" y="6366"/>
                  <a:pt x="1979774" y="13"/>
                  <a:pt x="1987601" y="13"/>
                </a:cubicBezTo>
                <a:close/>
                <a:moveTo>
                  <a:pt x="1930993" y="13"/>
                </a:moveTo>
                <a:cubicBezTo>
                  <a:pt x="1938821" y="13"/>
                  <a:pt x="1945173" y="6366"/>
                  <a:pt x="1945173" y="14194"/>
                </a:cubicBezTo>
                <a:cubicBezTo>
                  <a:pt x="1945173" y="22021"/>
                  <a:pt x="1938821" y="28374"/>
                  <a:pt x="1930993" y="28374"/>
                </a:cubicBezTo>
                <a:cubicBezTo>
                  <a:pt x="1923165" y="28374"/>
                  <a:pt x="1916812" y="22021"/>
                  <a:pt x="1916812" y="14194"/>
                </a:cubicBezTo>
                <a:cubicBezTo>
                  <a:pt x="1916812" y="6366"/>
                  <a:pt x="1923165" y="13"/>
                  <a:pt x="1930993" y="13"/>
                </a:cubicBezTo>
                <a:close/>
                <a:moveTo>
                  <a:pt x="1874384" y="13"/>
                </a:moveTo>
                <a:cubicBezTo>
                  <a:pt x="1882212" y="13"/>
                  <a:pt x="1888565" y="6366"/>
                  <a:pt x="1888565" y="14194"/>
                </a:cubicBezTo>
                <a:cubicBezTo>
                  <a:pt x="1888565" y="22021"/>
                  <a:pt x="1882212" y="28374"/>
                  <a:pt x="1874384" y="28374"/>
                </a:cubicBezTo>
                <a:cubicBezTo>
                  <a:pt x="1866557" y="28374"/>
                  <a:pt x="1860204" y="22021"/>
                  <a:pt x="1860204" y="14194"/>
                </a:cubicBezTo>
                <a:cubicBezTo>
                  <a:pt x="1860204" y="6366"/>
                  <a:pt x="1866557" y="13"/>
                  <a:pt x="1874384" y="13"/>
                </a:cubicBezTo>
                <a:close/>
                <a:moveTo>
                  <a:pt x="1817775" y="13"/>
                </a:moveTo>
                <a:cubicBezTo>
                  <a:pt x="1825603" y="13"/>
                  <a:pt x="1831956" y="6366"/>
                  <a:pt x="1831956" y="14194"/>
                </a:cubicBezTo>
                <a:cubicBezTo>
                  <a:pt x="1831956" y="22021"/>
                  <a:pt x="1825603" y="28374"/>
                  <a:pt x="1817775" y="28374"/>
                </a:cubicBezTo>
                <a:cubicBezTo>
                  <a:pt x="1809948" y="28374"/>
                  <a:pt x="1803595" y="22021"/>
                  <a:pt x="1803595" y="14194"/>
                </a:cubicBezTo>
                <a:cubicBezTo>
                  <a:pt x="1803595" y="6366"/>
                  <a:pt x="1809948" y="13"/>
                  <a:pt x="1817775" y="13"/>
                </a:cubicBezTo>
                <a:close/>
                <a:moveTo>
                  <a:pt x="1761167" y="13"/>
                </a:moveTo>
                <a:cubicBezTo>
                  <a:pt x="1769051" y="13"/>
                  <a:pt x="1775347" y="6366"/>
                  <a:pt x="1775347" y="14194"/>
                </a:cubicBezTo>
                <a:cubicBezTo>
                  <a:pt x="1775347" y="22021"/>
                  <a:pt x="1769051" y="28374"/>
                  <a:pt x="1761167" y="28374"/>
                </a:cubicBezTo>
                <a:cubicBezTo>
                  <a:pt x="1753339" y="28374"/>
                  <a:pt x="1746986" y="22021"/>
                  <a:pt x="1746986" y="14194"/>
                </a:cubicBezTo>
                <a:cubicBezTo>
                  <a:pt x="1746986" y="6366"/>
                  <a:pt x="1753339" y="13"/>
                  <a:pt x="1761167" y="13"/>
                </a:cubicBezTo>
                <a:close/>
                <a:moveTo>
                  <a:pt x="1704615" y="13"/>
                </a:moveTo>
                <a:cubicBezTo>
                  <a:pt x="1712442" y="13"/>
                  <a:pt x="1718795" y="6366"/>
                  <a:pt x="1718795" y="14194"/>
                </a:cubicBezTo>
                <a:cubicBezTo>
                  <a:pt x="1718795" y="22021"/>
                  <a:pt x="1712442" y="28374"/>
                  <a:pt x="1704615" y="28374"/>
                </a:cubicBezTo>
                <a:cubicBezTo>
                  <a:pt x="1696787" y="28374"/>
                  <a:pt x="1690434" y="22021"/>
                  <a:pt x="1690434" y="14194"/>
                </a:cubicBezTo>
                <a:cubicBezTo>
                  <a:pt x="1690434" y="6366"/>
                  <a:pt x="1696787" y="13"/>
                  <a:pt x="1704615" y="13"/>
                </a:cubicBezTo>
                <a:close/>
                <a:moveTo>
                  <a:pt x="1648006" y="13"/>
                </a:moveTo>
                <a:cubicBezTo>
                  <a:pt x="1655834" y="13"/>
                  <a:pt x="1662186" y="6366"/>
                  <a:pt x="1662186" y="14194"/>
                </a:cubicBezTo>
                <a:cubicBezTo>
                  <a:pt x="1662186" y="22021"/>
                  <a:pt x="1655834" y="28374"/>
                  <a:pt x="1648006" y="28374"/>
                </a:cubicBezTo>
                <a:cubicBezTo>
                  <a:pt x="1640178" y="28374"/>
                  <a:pt x="1633825" y="22021"/>
                  <a:pt x="1633825" y="14194"/>
                </a:cubicBezTo>
                <a:cubicBezTo>
                  <a:pt x="1633825" y="6366"/>
                  <a:pt x="1640178" y="13"/>
                  <a:pt x="1648006" y="13"/>
                </a:cubicBezTo>
                <a:close/>
                <a:moveTo>
                  <a:pt x="1591397" y="13"/>
                </a:moveTo>
                <a:cubicBezTo>
                  <a:pt x="1599225" y="13"/>
                  <a:pt x="1605578" y="6366"/>
                  <a:pt x="1605578" y="14194"/>
                </a:cubicBezTo>
                <a:cubicBezTo>
                  <a:pt x="1605578" y="22021"/>
                  <a:pt x="1599225" y="28374"/>
                  <a:pt x="1591397" y="28374"/>
                </a:cubicBezTo>
                <a:cubicBezTo>
                  <a:pt x="1583570" y="28374"/>
                  <a:pt x="1577217" y="22021"/>
                  <a:pt x="1577217" y="14194"/>
                </a:cubicBezTo>
                <a:cubicBezTo>
                  <a:pt x="1577217" y="6366"/>
                  <a:pt x="1583570" y="13"/>
                  <a:pt x="1591397" y="13"/>
                </a:cubicBezTo>
                <a:close/>
                <a:moveTo>
                  <a:pt x="1534788" y="13"/>
                </a:moveTo>
                <a:cubicBezTo>
                  <a:pt x="1542616" y="13"/>
                  <a:pt x="1548969" y="6366"/>
                  <a:pt x="1548969" y="14194"/>
                </a:cubicBezTo>
                <a:cubicBezTo>
                  <a:pt x="1548969" y="22021"/>
                  <a:pt x="1542616" y="28374"/>
                  <a:pt x="1534788" y="28374"/>
                </a:cubicBezTo>
                <a:cubicBezTo>
                  <a:pt x="1526961" y="28374"/>
                  <a:pt x="1520608" y="22021"/>
                  <a:pt x="1520608" y="14194"/>
                </a:cubicBezTo>
                <a:cubicBezTo>
                  <a:pt x="1520608" y="6366"/>
                  <a:pt x="1526961" y="13"/>
                  <a:pt x="1534788" y="13"/>
                </a:cubicBezTo>
                <a:close/>
                <a:moveTo>
                  <a:pt x="1478180" y="13"/>
                </a:moveTo>
                <a:cubicBezTo>
                  <a:pt x="1486007" y="13"/>
                  <a:pt x="1492360" y="6366"/>
                  <a:pt x="1492360" y="14194"/>
                </a:cubicBezTo>
                <a:cubicBezTo>
                  <a:pt x="1492360" y="22021"/>
                  <a:pt x="1486007" y="28374"/>
                  <a:pt x="1478180" y="28374"/>
                </a:cubicBezTo>
                <a:cubicBezTo>
                  <a:pt x="1470352" y="28374"/>
                  <a:pt x="1463999" y="22021"/>
                  <a:pt x="1463999" y="14194"/>
                </a:cubicBezTo>
                <a:cubicBezTo>
                  <a:pt x="1463999" y="6366"/>
                  <a:pt x="1470352" y="13"/>
                  <a:pt x="1478180" y="13"/>
                </a:cubicBezTo>
                <a:close/>
                <a:moveTo>
                  <a:pt x="1421628" y="13"/>
                </a:moveTo>
                <a:cubicBezTo>
                  <a:pt x="1429455" y="13"/>
                  <a:pt x="1435808" y="6366"/>
                  <a:pt x="1435808" y="14194"/>
                </a:cubicBezTo>
                <a:cubicBezTo>
                  <a:pt x="1435808" y="22021"/>
                  <a:pt x="1429455" y="28374"/>
                  <a:pt x="1421628" y="28374"/>
                </a:cubicBezTo>
                <a:cubicBezTo>
                  <a:pt x="1413743" y="28374"/>
                  <a:pt x="1407447" y="22021"/>
                  <a:pt x="1407447" y="14194"/>
                </a:cubicBezTo>
                <a:cubicBezTo>
                  <a:pt x="1407447" y="6366"/>
                  <a:pt x="1413743" y="13"/>
                  <a:pt x="1421628" y="13"/>
                </a:cubicBezTo>
                <a:close/>
                <a:moveTo>
                  <a:pt x="1365019" y="13"/>
                </a:moveTo>
                <a:cubicBezTo>
                  <a:pt x="1372847" y="13"/>
                  <a:pt x="1379200" y="6366"/>
                  <a:pt x="1379200" y="14194"/>
                </a:cubicBezTo>
                <a:cubicBezTo>
                  <a:pt x="1379200" y="22021"/>
                  <a:pt x="1372847" y="28374"/>
                  <a:pt x="1365019" y="28374"/>
                </a:cubicBezTo>
                <a:cubicBezTo>
                  <a:pt x="1357191" y="28374"/>
                  <a:pt x="1350839" y="22021"/>
                  <a:pt x="1350839" y="14194"/>
                </a:cubicBezTo>
                <a:cubicBezTo>
                  <a:pt x="1350839" y="6366"/>
                  <a:pt x="1357191" y="13"/>
                  <a:pt x="1365019" y="13"/>
                </a:cubicBezTo>
                <a:close/>
                <a:moveTo>
                  <a:pt x="1308410" y="13"/>
                </a:moveTo>
                <a:cubicBezTo>
                  <a:pt x="1316238" y="13"/>
                  <a:pt x="1322591" y="6366"/>
                  <a:pt x="1322591" y="14194"/>
                </a:cubicBezTo>
                <a:cubicBezTo>
                  <a:pt x="1322591" y="22021"/>
                  <a:pt x="1316238" y="28374"/>
                  <a:pt x="1308410" y="28374"/>
                </a:cubicBezTo>
                <a:cubicBezTo>
                  <a:pt x="1300583" y="28374"/>
                  <a:pt x="1294230" y="22021"/>
                  <a:pt x="1294230" y="14194"/>
                </a:cubicBezTo>
                <a:cubicBezTo>
                  <a:pt x="1294230" y="6366"/>
                  <a:pt x="1300583" y="13"/>
                  <a:pt x="1308410" y="13"/>
                </a:cubicBezTo>
                <a:close/>
                <a:moveTo>
                  <a:pt x="1251802" y="13"/>
                </a:moveTo>
                <a:cubicBezTo>
                  <a:pt x="1259629" y="13"/>
                  <a:pt x="1265982" y="6366"/>
                  <a:pt x="1265982" y="14194"/>
                </a:cubicBezTo>
                <a:cubicBezTo>
                  <a:pt x="1265982" y="22021"/>
                  <a:pt x="1259629" y="28374"/>
                  <a:pt x="1251802" y="28374"/>
                </a:cubicBezTo>
                <a:cubicBezTo>
                  <a:pt x="1243974" y="28374"/>
                  <a:pt x="1237621" y="22021"/>
                  <a:pt x="1237621" y="14194"/>
                </a:cubicBezTo>
                <a:cubicBezTo>
                  <a:pt x="1237621" y="6366"/>
                  <a:pt x="1243974" y="13"/>
                  <a:pt x="1251802" y="13"/>
                </a:cubicBezTo>
                <a:close/>
                <a:moveTo>
                  <a:pt x="1195193" y="13"/>
                </a:moveTo>
                <a:cubicBezTo>
                  <a:pt x="1203021" y="13"/>
                  <a:pt x="1209373" y="6366"/>
                  <a:pt x="1209373" y="14194"/>
                </a:cubicBezTo>
                <a:cubicBezTo>
                  <a:pt x="1209373" y="22021"/>
                  <a:pt x="1203021" y="28374"/>
                  <a:pt x="1195193" y="28374"/>
                </a:cubicBezTo>
                <a:cubicBezTo>
                  <a:pt x="1187365" y="28374"/>
                  <a:pt x="1181012" y="22021"/>
                  <a:pt x="1181012" y="14194"/>
                </a:cubicBezTo>
                <a:cubicBezTo>
                  <a:pt x="1181012" y="6366"/>
                  <a:pt x="1187365" y="13"/>
                  <a:pt x="1195193" y="13"/>
                </a:cubicBezTo>
                <a:close/>
                <a:moveTo>
                  <a:pt x="1138641" y="13"/>
                </a:moveTo>
                <a:cubicBezTo>
                  <a:pt x="1146468" y="13"/>
                  <a:pt x="1152765" y="6366"/>
                  <a:pt x="1152765" y="14194"/>
                </a:cubicBezTo>
                <a:cubicBezTo>
                  <a:pt x="1152765" y="22021"/>
                  <a:pt x="1146468" y="28374"/>
                  <a:pt x="1138641" y="28374"/>
                </a:cubicBezTo>
                <a:cubicBezTo>
                  <a:pt x="1130757" y="28374"/>
                  <a:pt x="1124403" y="22021"/>
                  <a:pt x="1124403" y="14194"/>
                </a:cubicBezTo>
                <a:cubicBezTo>
                  <a:pt x="1124403" y="6366"/>
                  <a:pt x="1130757" y="13"/>
                  <a:pt x="1138641" y="13"/>
                </a:cubicBezTo>
                <a:close/>
                <a:moveTo>
                  <a:pt x="1082032" y="13"/>
                </a:moveTo>
                <a:cubicBezTo>
                  <a:pt x="1089860" y="13"/>
                  <a:pt x="1096213" y="6366"/>
                  <a:pt x="1096213" y="14194"/>
                </a:cubicBezTo>
                <a:cubicBezTo>
                  <a:pt x="1096213" y="22021"/>
                  <a:pt x="1089860" y="28374"/>
                  <a:pt x="1082032" y="28374"/>
                </a:cubicBezTo>
                <a:cubicBezTo>
                  <a:pt x="1074204" y="28374"/>
                  <a:pt x="1067851" y="22021"/>
                  <a:pt x="1067851" y="14194"/>
                </a:cubicBezTo>
                <a:cubicBezTo>
                  <a:pt x="1067851" y="6366"/>
                  <a:pt x="1074204" y="13"/>
                  <a:pt x="1082032" y="13"/>
                </a:cubicBezTo>
                <a:close/>
                <a:moveTo>
                  <a:pt x="1025423" y="13"/>
                </a:moveTo>
                <a:cubicBezTo>
                  <a:pt x="1033251" y="13"/>
                  <a:pt x="1039604" y="6366"/>
                  <a:pt x="1039604" y="14194"/>
                </a:cubicBezTo>
                <a:cubicBezTo>
                  <a:pt x="1039604" y="22021"/>
                  <a:pt x="1033251" y="28374"/>
                  <a:pt x="1025423" y="28374"/>
                </a:cubicBezTo>
                <a:cubicBezTo>
                  <a:pt x="1017596" y="28374"/>
                  <a:pt x="1011243" y="22021"/>
                  <a:pt x="1011243" y="14194"/>
                </a:cubicBezTo>
                <a:cubicBezTo>
                  <a:pt x="1011243" y="6366"/>
                  <a:pt x="1017596" y="13"/>
                  <a:pt x="1025423" y="13"/>
                </a:cubicBezTo>
                <a:close/>
                <a:moveTo>
                  <a:pt x="968815" y="13"/>
                </a:moveTo>
                <a:cubicBezTo>
                  <a:pt x="976642" y="13"/>
                  <a:pt x="982995" y="6366"/>
                  <a:pt x="982995" y="14194"/>
                </a:cubicBezTo>
                <a:cubicBezTo>
                  <a:pt x="982995" y="22021"/>
                  <a:pt x="976642" y="28374"/>
                  <a:pt x="968815" y="28374"/>
                </a:cubicBezTo>
                <a:cubicBezTo>
                  <a:pt x="960987" y="28374"/>
                  <a:pt x="954634" y="22021"/>
                  <a:pt x="954634" y="14194"/>
                </a:cubicBezTo>
                <a:cubicBezTo>
                  <a:pt x="954634" y="6366"/>
                  <a:pt x="960987" y="13"/>
                  <a:pt x="968815" y="13"/>
                </a:cubicBezTo>
                <a:close/>
                <a:moveTo>
                  <a:pt x="912206" y="13"/>
                </a:moveTo>
                <a:cubicBezTo>
                  <a:pt x="920034" y="13"/>
                  <a:pt x="926387" y="6366"/>
                  <a:pt x="926387" y="14194"/>
                </a:cubicBezTo>
                <a:cubicBezTo>
                  <a:pt x="926387" y="22021"/>
                  <a:pt x="920034" y="28374"/>
                  <a:pt x="912206" y="28374"/>
                </a:cubicBezTo>
                <a:cubicBezTo>
                  <a:pt x="904378" y="28374"/>
                  <a:pt x="898025" y="22021"/>
                  <a:pt x="898025" y="14194"/>
                </a:cubicBezTo>
                <a:cubicBezTo>
                  <a:pt x="898025" y="6366"/>
                  <a:pt x="904378" y="13"/>
                  <a:pt x="912206" y="13"/>
                </a:cubicBezTo>
                <a:close/>
                <a:moveTo>
                  <a:pt x="855597" y="13"/>
                </a:moveTo>
                <a:cubicBezTo>
                  <a:pt x="863425" y="13"/>
                  <a:pt x="869835" y="6366"/>
                  <a:pt x="869835" y="14194"/>
                </a:cubicBezTo>
                <a:cubicBezTo>
                  <a:pt x="869835" y="22021"/>
                  <a:pt x="863425" y="28374"/>
                  <a:pt x="855597" y="28374"/>
                </a:cubicBezTo>
                <a:cubicBezTo>
                  <a:pt x="847770" y="28374"/>
                  <a:pt x="841473" y="22021"/>
                  <a:pt x="841473" y="14194"/>
                </a:cubicBezTo>
                <a:cubicBezTo>
                  <a:pt x="841473" y="6366"/>
                  <a:pt x="847770" y="13"/>
                  <a:pt x="855597" y="13"/>
                </a:cubicBezTo>
                <a:close/>
                <a:moveTo>
                  <a:pt x="799045" y="13"/>
                </a:moveTo>
                <a:cubicBezTo>
                  <a:pt x="806873" y="13"/>
                  <a:pt x="813226" y="6366"/>
                  <a:pt x="813226" y="14194"/>
                </a:cubicBezTo>
                <a:cubicBezTo>
                  <a:pt x="813226" y="22021"/>
                  <a:pt x="806873" y="28374"/>
                  <a:pt x="799045" y="28374"/>
                </a:cubicBezTo>
                <a:cubicBezTo>
                  <a:pt x="791218" y="28374"/>
                  <a:pt x="784865" y="22021"/>
                  <a:pt x="784865" y="14194"/>
                </a:cubicBezTo>
                <a:cubicBezTo>
                  <a:pt x="784865" y="6366"/>
                  <a:pt x="791218" y="13"/>
                  <a:pt x="799045" y="13"/>
                </a:cubicBezTo>
                <a:close/>
                <a:moveTo>
                  <a:pt x="742436" y="13"/>
                </a:moveTo>
                <a:cubicBezTo>
                  <a:pt x="750264" y="13"/>
                  <a:pt x="756617" y="6366"/>
                  <a:pt x="756617" y="14194"/>
                </a:cubicBezTo>
                <a:cubicBezTo>
                  <a:pt x="756617" y="22021"/>
                  <a:pt x="750264" y="28374"/>
                  <a:pt x="742436" y="28374"/>
                </a:cubicBezTo>
                <a:cubicBezTo>
                  <a:pt x="734609" y="28374"/>
                  <a:pt x="728256" y="22021"/>
                  <a:pt x="728256" y="14194"/>
                </a:cubicBezTo>
                <a:cubicBezTo>
                  <a:pt x="728256" y="6366"/>
                  <a:pt x="734609" y="13"/>
                  <a:pt x="742436" y="13"/>
                </a:cubicBezTo>
                <a:close/>
                <a:moveTo>
                  <a:pt x="685828" y="13"/>
                </a:moveTo>
                <a:cubicBezTo>
                  <a:pt x="693655" y="13"/>
                  <a:pt x="700008" y="6366"/>
                  <a:pt x="700008" y="14194"/>
                </a:cubicBezTo>
                <a:cubicBezTo>
                  <a:pt x="700008" y="22021"/>
                  <a:pt x="693655" y="28374"/>
                  <a:pt x="685828" y="28374"/>
                </a:cubicBezTo>
                <a:cubicBezTo>
                  <a:pt x="678000" y="28374"/>
                  <a:pt x="671647" y="22021"/>
                  <a:pt x="671647" y="14194"/>
                </a:cubicBezTo>
                <a:cubicBezTo>
                  <a:pt x="671647" y="6366"/>
                  <a:pt x="678000" y="13"/>
                  <a:pt x="685828" y="13"/>
                </a:cubicBezTo>
                <a:close/>
                <a:moveTo>
                  <a:pt x="629219" y="13"/>
                </a:moveTo>
                <a:cubicBezTo>
                  <a:pt x="637047" y="13"/>
                  <a:pt x="643400" y="6366"/>
                  <a:pt x="643400" y="14194"/>
                </a:cubicBezTo>
                <a:cubicBezTo>
                  <a:pt x="643400" y="22021"/>
                  <a:pt x="637047" y="28374"/>
                  <a:pt x="629219" y="28374"/>
                </a:cubicBezTo>
                <a:cubicBezTo>
                  <a:pt x="621391" y="28374"/>
                  <a:pt x="615038" y="22021"/>
                  <a:pt x="615038" y="14194"/>
                </a:cubicBezTo>
                <a:cubicBezTo>
                  <a:pt x="615038" y="6366"/>
                  <a:pt x="621391" y="13"/>
                  <a:pt x="629219" y="13"/>
                </a:cubicBezTo>
                <a:close/>
                <a:moveTo>
                  <a:pt x="572610" y="13"/>
                </a:moveTo>
                <a:cubicBezTo>
                  <a:pt x="580495" y="13"/>
                  <a:pt x="586791" y="6366"/>
                  <a:pt x="586791" y="14194"/>
                </a:cubicBezTo>
                <a:cubicBezTo>
                  <a:pt x="586791" y="22021"/>
                  <a:pt x="580495" y="28374"/>
                  <a:pt x="572610" y="28374"/>
                </a:cubicBezTo>
                <a:cubicBezTo>
                  <a:pt x="564783" y="28374"/>
                  <a:pt x="558430" y="22021"/>
                  <a:pt x="558430" y="14194"/>
                </a:cubicBezTo>
                <a:cubicBezTo>
                  <a:pt x="558430" y="6366"/>
                  <a:pt x="564783" y="13"/>
                  <a:pt x="572610" y="13"/>
                </a:cubicBezTo>
                <a:close/>
                <a:moveTo>
                  <a:pt x="516002" y="13"/>
                </a:moveTo>
                <a:cubicBezTo>
                  <a:pt x="523886" y="13"/>
                  <a:pt x="530239" y="6366"/>
                  <a:pt x="530239" y="14194"/>
                </a:cubicBezTo>
                <a:cubicBezTo>
                  <a:pt x="530239" y="22021"/>
                  <a:pt x="523886" y="28374"/>
                  <a:pt x="516002" y="28374"/>
                </a:cubicBezTo>
                <a:cubicBezTo>
                  <a:pt x="508174" y="28374"/>
                  <a:pt x="501878" y="22021"/>
                  <a:pt x="501878" y="14194"/>
                </a:cubicBezTo>
                <a:cubicBezTo>
                  <a:pt x="501878" y="6366"/>
                  <a:pt x="508174" y="13"/>
                  <a:pt x="516002" y="13"/>
                </a:cubicBezTo>
                <a:close/>
                <a:moveTo>
                  <a:pt x="459450" y="13"/>
                </a:moveTo>
                <a:cubicBezTo>
                  <a:pt x="467277" y="13"/>
                  <a:pt x="473630" y="6366"/>
                  <a:pt x="473630" y="14194"/>
                </a:cubicBezTo>
                <a:cubicBezTo>
                  <a:pt x="473630" y="22021"/>
                  <a:pt x="467277" y="28374"/>
                  <a:pt x="459450" y="28374"/>
                </a:cubicBezTo>
                <a:cubicBezTo>
                  <a:pt x="451622" y="28374"/>
                  <a:pt x="445269" y="22021"/>
                  <a:pt x="445269" y="14194"/>
                </a:cubicBezTo>
                <a:cubicBezTo>
                  <a:pt x="445269" y="6366"/>
                  <a:pt x="451622" y="13"/>
                  <a:pt x="459450" y="13"/>
                </a:cubicBezTo>
                <a:close/>
                <a:moveTo>
                  <a:pt x="402841" y="13"/>
                </a:moveTo>
                <a:cubicBezTo>
                  <a:pt x="410668" y="13"/>
                  <a:pt x="417021" y="6366"/>
                  <a:pt x="417021" y="14194"/>
                </a:cubicBezTo>
                <a:cubicBezTo>
                  <a:pt x="417021" y="22021"/>
                  <a:pt x="410668" y="28374"/>
                  <a:pt x="402841" y="28374"/>
                </a:cubicBezTo>
                <a:cubicBezTo>
                  <a:pt x="395013" y="28374"/>
                  <a:pt x="388660" y="22021"/>
                  <a:pt x="388660" y="14194"/>
                </a:cubicBezTo>
                <a:cubicBezTo>
                  <a:pt x="388660" y="6366"/>
                  <a:pt x="395013" y="13"/>
                  <a:pt x="402841" y="13"/>
                </a:cubicBezTo>
                <a:close/>
                <a:moveTo>
                  <a:pt x="346232" y="13"/>
                </a:moveTo>
                <a:cubicBezTo>
                  <a:pt x="354060" y="13"/>
                  <a:pt x="360413" y="6366"/>
                  <a:pt x="360413" y="14194"/>
                </a:cubicBezTo>
                <a:cubicBezTo>
                  <a:pt x="360413" y="22021"/>
                  <a:pt x="354060" y="28374"/>
                  <a:pt x="346232" y="28374"/>
                </a:cubicBezTo>
                <a:cubicBezTo>
                  <a:pt x="338404" y="28374"/>
                  <a:pt x="332051" y="22021"/>
                  <a:pt x="332051" y="14194"/>
                </a:cubicBezTo>
                <a:cubicBezTo>
                  <a:pt x="332051" y="6366"/>
                  <a:pt x="338404" y="13"/>
                  <a:pt x="346232" y="13"/>
                </a:cubicBezTo>
                <a:close/>
                <a:moveTo>
                  <a:pt x="289623" y="13"/>
                </a:moveTo>
                <a:cubicBezTo>
                  <a:pt x="297451" y="13"/>
                  <a:pt x="303804" y="6366"/>
                  <a:pt x="303804" y="14194"/>
                </a:cubicBezTo>
                <a:cubicBezTo>
                  <a:pt x="303804" y="22021"/>
                  <a:pt x="297451" y="28374"/>
                  <a:pt x="289623" y="28374"/>
                </a:cubicBezTo>
                <a:cubicBezTo>
                  <a:pt x="281796" y="28374"/>
                  <a:pt x="275443" y="22021"/>
                  <a:pt x="275443" y="14194"/>
                </a:cubicBezTo>
                <a:cubicBezTo>
                  <a:pt x="275443" y="6366"/>
                  <a:pt x="281796" y="13"/>
                  <a:pt x="289623" y="13"/>
                </a:cubicBezTo>
                <a:close/>
                <a:moveTo>
                  <a:pt x="233015" y="13"/>
                </a:moveTo>
                <a:cubicBezTo>
                  <a:pt x="240899" y="13"/>
                  <a:pt x="247252" y="6366"/>
                  <a:pt x="247252" y="14194"/>
                </a:cubicBezTo>
                <a:cubicBezTo>
                  <a:pt x="247252" y="22021"/>
                  <a:pt x="240899" y="28374"/>
                  <a:pt x="233015" y="28374"/>
                </a:cubicBezTo>
                <a:cubicBezTo>
                  <a:pt x="225187" y="28374"/>
                  <a:pt x="218834" y="22021"/>
                  <a:pt x="218834" y="14194"/>
                </a:cubicBezTo>
                <a:cubicBezTo>
                  <a:pt x="218834" y="6366"/>
                  <a:pt x="225187" y="13"/>
                  <a:pt x="233015" y="13"/>
                </a:cubicBezTo>
                <a:close/>
                <a:moveTo>
                  <a:pt x="176463" y="13"/>
                </a:moveTo>
                <a:cubicBezTo>
                  <a:pt x="184290" y="13"/>
                  <a:pt x="190643" y="6366"/>
                  <a:pt x="190643" y="14194"/>
                </a:cubicBezTo>
                <a:cubicBezTo>
                  <a:pt x="190643" y="22021"/>
                  <a:pt x="184290" y="28374"/>
                  <a:pt x="176463" y="28374"/>
                </a:cubicBezTo>
                <a:cubicBezTo>
                  <a:pt x="168635" y="28374"/>
                  <a:pt x="162282" y="22021"/>
                  <a:pt x="162282" y="14194"/>
                </a:cubicBezTo>
                <a:cubicBezTo>
                  <a:pt x="162282" y="6366"/>
                  <a:pt x="168635" y="13"/>
                  <a:pt x="176463" y="13"/>
                </a:cubicBezTo>
                <a:close/>
              </a:path>
            </a:pathLst>
          </a:custGeom>
          <a:solidFill>
            <a:srgbClr val="F27B21"/>
          </a:solidFill>
          <a:ln w="0" cap="flat">
            <a:noFill/>
            <a:prstDash val="solid"/>
            <a:miter/>
          </a:ln>
        </p:spPr>
        <p:txBody>
          <a:bodyPr rtlCol="0" anchor="ctr"/>
          <a:lstStyle/>
          <a:p>
            <a:endParaRPr lang="sv-SE"/>
          </a:p>
        </p:txBody>
      </p:sp>
      <p:sp>
        <p:nvSpPr>
          <p:cNvPr id="270" name="Freeform 269">
            <a:extLst>
              <a:ext uri="{FF2B5EF4-FFF2-40B4-BE49-F238E27FC236}">
                <a16:creationId xmlns:a16="http://schemas.microsoft.com/office/drawing/2014/main" id="{66256A81-1EF0-539D-1882-22A7D9258B0C}"/>
              </a:ext>
            </a:extLst>
          </p:cNvPr>
          <p:cNvSpPr/>
          <p:nvPr/>
        </p:nvSpPr>
        <p:spPr>
          <a:xfrm>
            <a:off x="934575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71" name="Freeform 270">
            <a:extLst>
              <a:ext uri="{FF2B5EF4-FFF2-40B4-BE49-F238E27FC236}">
                <a16:creationId xmlns:a16="http://schemas.microsoft.com/office/drawing/2014/main" id="{E9046A5C-690E-B2D7-0275-69D2A75A9756}"/>
              </a:ext>
            </a:extLst>
          </p:cNvPr>
          <p:cNvSpPr/>
          <p:nvPr/>
        </p:nvSpPr>
        <p:spPr>
          <a:xfrm>
            <a:off x="929436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451" name="Freeform 450">
            <a:extLst>
              <a:ext uri="{FF2B5EF4-FFF2-40B4-BE49-F238E27FC236}">
                <a16:creationId xmlns:a16="http://schemas.microsoft.com/office/drawing/2014/main" id="{584F8651-EA55-9167-A88F-5CAB6DF4551E}"/>
              </a:ext>
            </a:extLst>
          </p:cNvPr>
          <p:cNvSpPr/>
          <p:nvPr/>
        </p:nvSpPr>
        <p:spPr>
          <a:xfrm>
            <a:off x="3266560" y="3570477"/>
            <a:ext cx="617137" cy="516739"/>
          </a:xfrm>
          <a:custGeom>
            <a:avLst/>
            <a:gdLst>
              <a:gd name="connsiteX0" fmla="*/ 190076 w 617137"/>
              <a:gd name="connsiteY0" fmla="*/ 0 h 516739"/>
              <a:gd name="connsiteX1" fmla="*/ 427061 w 617137"/>
              <a:gd name="connsiteY1" fmla="*/ 0 h 516739"/>
              <a:gd name="connsiteX2" fmla="*/ 427061 w 617137"/>
              <a:gd name="connsiteY2" fmla="*/ 31878 h 516739"/>
              <a:gd name="connsiteX3" fmla="*/ 508911 w 617137"/>
              <a:gd name="connsiteY3" fmla="*/ 31878 h 516739"/>
              <a:gd name="connsiteX4" fmla="*/ 617137 w 617137"/>
              <a:gd name="connsiteY4" fmla="*/ 127342 h 516739"/>
              <a:gd name="connsiteX5" fmla="*/ 617137 w 617137"/>
              <a:gd name="connsiteY5" fmla="*/ 516739 h 516739"/>
              <a:gd name="connsiteX6" fmla="*/ 0 w 617137"/>
              <a:gd name="connsiteY6" fmla="*/ 516739 h 516739"/>
              <a:gd name="connsiteX7" fmla="*/ 0 w 617137"/>
              <a:gd name="connsiteY7" fmla="*/ 127342 h 516739"/>
              <a:gd name="connsiteX8" fmla="*/ 113217 w 617137"/>
              <a:gd name="connsiteY8" fmla="*/ 31878 h 516739"/>
              <a:gd name="connsiteX9" fmla="*/ 190076 w 617137"/>
              <a:gd name="connsiteY9" fmla="*/ 31878 h 51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37" h="516739">
                <a:moveTo>
                  <a:pt x="190076" y="0"/>
                </a:moveTo>
                <a:lnTo>
                  <a:pt x="427061" y="0"/>
                </a:lnTo>
                <a:lnTo>
                  <a:pt x="427061" y="31878"/>
                </a:lnTo>
                <a:lnTo>
                  <a:pt x="508911" y="31878"/>
                </a:lnTo>
                <a:lnTo>
                  <a:pt x="617137" y="127342"/>
                </a:lnTo>
                <a:lnTo>
                  <a:pt x="617137" y="516739"/>
                </a:lnTo>
                <a:lnTo>
                  <a:pt x="0" y="516739"/>
                </a:lnTo>
                <a:lnTo>
                  <a:pt x="0" y="127342"/>
                </a:lnTo>
                <a:lnTo>
                  <a:pt x="113217" y="31878"/>
                </a:lnTo>
                <a:lnTo>
                  <a:pt x="190076" y="31878"/>
                </a:lnTo>
                <a:close/>
              </a:path>
            </a:pathLst>
          </a:custGeom>
          <a:solidFill>
            <a:srgbClr val="FFFFFF"/>
          </a:solidFill>
          <a:ln w="0" cap="flat">
            <a:noFill/>
            <a:prstDash val="solid"/>
            <a:miter/>
          </a:ln>
        </p:spPr>
        <p:txBody>
          <a:bodyPr rtlCol="0" anchor="ctr"/>
          <a:lstStyle/>
          <a:p>
            <a:endParaRPr lang="sv-SE"/>
          </a:p>
        </p:txBody>
      </p:sp>
      <p:sp>
        <p:nvSpPr>
          <p:cNvPr id="320" name="Freeform 319">
            <a:extLst>
              <a:ext uri="{FF2B5EF4-FFF2-40B4-BE49-F238E27FC236}">
                <a16:creationId xmlns:a16="http://schemas.microsoft.com/office/drawing/2014/main" id="{A962E1F4-788C-3F4A-A8F4-6C2BA87AEB4E}"/>
              </a:ext>
            </a:extLst>
          </p:cNvPr>
          <p:cNvSpPr/>
          <p:nvPr/>
        </p:nvSpPr>
        <p:spPr>
          <a:xfrm>
            <a:off x="3311938" y="3846771"/>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22" name="Freeform 321">
            <a:extLst>
              <a:ext uri="{FF2B5EF4-FFF2-40B4-BE49-F238E27FC236}">
                <a16:creationId xmlns:a16="http://schemas.microsoft.com/office/drawing/2014/main" id="{9298E4CC-7C27-B4E7-FAC0-676BBF68F5D7}"/>
              </a:ext>
            </a:extLst>
          </p:cNvPr>
          <p:cNvSpPr/>
          <p:nvPr/>
        </p:nvSpPr>
        <p:spPr>
          <a:xfrm>
            <a:off x="3311938" y="3907634"/>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2" name="Freeform 371">
            <a:extLst>
              <a:ext uri="{FF2B5EF4-FFF2-40B4-BE49-F238E27FC236}">
                <a16:creationId xmlns:a16="http://schemas.microsoft.com/office/drawing/2014/main" id="{8B9C9344-CF37-CAF1-45C5-4ACA75BEE745}"/>
              </a:ext>
            </a:extLst>
          </p:cNvPr>
          <p:cNvSpPr/>
          <p:nvPr/>
        </p:nvSpPr>
        <p:spPr>
          <a:xfrm>
            <a:off x="3311938" y="3968496"/>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3" name="Freeform 372">
            <a:extLst>
              <a:ext uri="{FF2B5EF4-FFF2-40B4-BE49-F238E27FC236}">
                <a16:creationId xmlns:a16="http://schemas.microsoft.com/office/drawing/2014/main" id="{E467D626-4F7F-D588-308E-D3843609D1EC}"/>
              </a:ext>
            </a:extLst>
          </p:cNvPr>
          <p:cNvSpPr/>
          <p:nvPr/>
        </p:nvSpPr>
        <p:spPr>
          <a:xfrm>
            <a:off x="3311938" y="4029359"/>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7" name="Freeform 376">
            <a:extLst>
              <a:ext uri="{FF2B5EF4-FFF2-40B4-BE49-F238E27FC236}">
                <a16:creationId xmlns:a16="http://schemas.microsoft.com/office/drawing/2014/main" id="{DD87C9CA-7B09-715C-421F-BCDE2FCF61E4}"/>
              </a:ext>
            </a:extLst>
          </p:cNvPr>
          <p:cNvSpPr/>
          <p:nvPr/>
        </p:nvSpPr>
        <p:spPr>
          <a:xfrm>
            <a:off x="5410658" y="2557589"/>
            <a:ext cx="670796" cy="645611"/>
          </a:xfrm>
          <a:custGeom>
            <a:avLst/>
            <a:gdLst>
              <a:gd name="connsiteX0" fmla="*/ 670796 w 670796"/>
              <a:gd name="connsiteY0" fmla="*/ 645612 h 645611"/>
              <a:gd name="connsiteX1" fmla="*/ 670796 w 670796"/>
              <a:gd name="connsiteY1" fmla="*/ 109361 h 645611"/>
              <a:gd name="connsiteX2" fmla="*/ 561493 w 670796"/>
              <a:gd name="connsiteY2" fmla="*/ 0 h 645611"/>
              <a:gd name="connsiteX3" fmla="*/ 0 w 670796"/>
              <a:gd name="connsiteY3" fmla="*/ 0 h 645611"/>
            </a:gdLst>
            <a:ahLst/>
            <a:cxnLst>
              <a:cxn ang="0">
                <a:pos x="connsiteX0" y="connsiteY0"/>
              </a:cxn>
              <a:cxn ang="0">
                <a:pos x="connsiteX1" y="connsiteY1"/>
              </a:cxn>
              <a:cxn ang="0">
                <a:pos x="connsiteX2" y="connsiteY2"/>
              </a:cxn>
              <a:cxn ang="0">
                <a:pos x="connsiteX3" y="connsiteY3"/>
              </a:cxn>
            </a:cxnLst>
            <a:rect l="l" t="t" r="r" b="b"/>
            <a:pathLst>
              <a:path w="670796" h="645611">
                <a:moveTo>
                  <a:pt x="670796" y="645612"/>
                </a:moveTo>
                <a:lnTo>
                  <a:pt x="670796" y="109361"/>
                </a:lnTo>
                <a:lnTo>
                  <a:pt x="561493" y="0"/>
                </a:lnTo>
                <a:lnTo>
                  <a:pt x="0" y="0"/>
                </a:lnTo>
              </a:path>
            </a:pathLst>
          </a:custGeom>
          <a:noFill/>
          <a:ln w="9525" cap="flat">
            <a:solidFill>
              <a:schemeClr val="accent4"/>
            </a:solidFill>
            <a:prstDash val="solid"/>
            <a:miter/>
          </a:ln>
        </p:spPr>
        <p:txBody>
          <a:bodyPr rtlCol="0" anchor="ctr"/>
          <a:lstStyle/>
          <a:p>
            <a:endParaRPr lang="sv-SE"/>
          </a:p>
        </p:txBody>
      </p:sp>
      <p:sp>
        <p:nvSpPr>
          <p:cNvPr id="386" name="Freeform 385">
            <a:extLst>
              <a:ext uri="{FF2B5EF4-FFF2-40B4-BE49-F238E27FC236}">
                <a16:creationId xmlns:a16="http://schemas.microsoft.com/office/drawing/2014/main" id="{C9F22D5B-CEC7-573A-2116-42BC8726C7FC}"/>
              </a:ext>
            </a:extLst>
          </p:cNvPr>
          <p:cNvSpPr/>
          <p:nvPr/>
        </p:nvSpPr>
        <p:spPr>
          <a:xfrm>
            <a:off x="5410658" y="2444145"/>
            <a:ext cx="784240" cy="759056"/>
          </a:xfrm>
          <a:custGeom>
            <a:avLst/>
            <a:gdLst>
              <a:gd name="connsiteX0" fmla="*/ 0 w 784240"/>
              <a:gd name="connsiteY0" fmla="*/ 0 h 759056"/>
              <a:gd name="connsiteX1" fmla="*/ 608459 w 784240"/>
              <a:gd name="connsiteY1" fmla="*/ 0 h 759056"/>
              <a:gd name="connsiteX2" fmla="*/ 784241 w 784240"/>
              <a:gd name="connsiteY2" fmla="*/ 175782 h 759056"/>
              <a:gd name="connsiteX3" fmla="*/ 784241 w 784240"/>
              <a:gd name="connsiteY3" fmla="*/ 759056 h 759056"/>
            </a:gdLst>
            <a:ahLst/>
            <a:cxnLst>
              <a:cxn ang="0">
                <a:pos x="connsiteX0" y="connsiteY0"/>
              </a:cxn>
              <a:cxn ang="0">
                <a:pos x="connsiteX1" y="connsiteY1"/>
              </a:cxn>
              <a:cxn ang="0">
                <a:pos x="connsiteX2" y="connsiteY2"/>
              </a:cxn>
              <a:cxn ang="0">
                <a:pos x="connsiteX3" y="connsiteY3"/>
              </a:cxn>
            </a:cxnLst>
            <a:rect l="l" t="t" r="r" b="b"/>
            <a:pathLst>
              <a:path w="784240" h="759056">
                <a:moveTo>
                  <a:pt x="0" y="0"/>
                </a:moveTo>
                <a:lnTo>
                  <a:pt x="608459" y="0"/>
                </a:lnTo>
                <a:lnTo>
                  <a:pt x="784241" y="175782"/>
                </a:lnTo>
                <a:lnTo>
                  <a:pt x="784241" y="759056"/>
                </a:lnTo>
              </a:path>
            </a:pathLst>
          </a:custGeom>
          <a:noFill/>
          <a:ln w="9525" cap="flat">
            <a:solidFill>
              <a:schemeClr val="accent4"/>
            </a:solidFill>
            <a:prstDash val="solid"/>
            <a:miter/>
          </a:ln>
        </p:spPr>
        <p:txBody>
          <a:bodyPr rtlCol="0" anchor="ctr"/>
          <a:lstStyle/>
          <a:p>
            <a:endParaRPr lang="sv-SE"/>
          </a:p>
        </p:txBody>
      </p:sp>
      <p:sp>
        <p:nvSpPr>
          <p:cNvPr id="421" name="Freeform 420">
            <a:extLst>
              <a:ext uri="{FF2B5EF4-FFF2-40B4-BE49-F238E27FC236}">
                <a16:creationId xmlns:a16="http://schemas.microsoft.com/office/drawing/2014/main" id="{B5CCC5AC-DB9C-B65E-26BF-D9B9C7D17663}"/>
              </a:ext>
            </a:extLst>
          </p:cNvPr>
          <p:cNvSpPr/>
          <p:nvPr/>
        </p:nvSpPr>
        <p:spPr>
          <a:xfrm>
            <a:off x="10415653"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2" name="Freeform 421">
            <a:extLst>
              <a:ext uri="{FF2B5EF4-FFF2-40B4-BE49-F238E27FC236}">
                <a16:creationId xmlns:a16="http://schemas.microsoft.com/office/drawing/2014/main" id="{16858365-38AF-6FF1-B8E7-825FE082AF60}"/>
              </a:ext>
            </a:extLst>
          </p:cNvPr>
          <p:cNvSpPr/>
          <p:nvPr/>
        </p:nvSpPr>
        <p:spPr>
          <a:xfrm>
            <a:off x="10665230"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3" name="Freeform 422">
            <a:extLst>
              <a:ext uri="{FF2B5EF4-FFF2-40B4-BE49-F238E27FC236}">
                <a16:creationId xmlns:a16="http://schemas.microsoft.com/office/drawing/2014/main" id="{263C2027-425D-C007-BC5E-04B1A666F88B}"/>
              </a:ext>
            </a:extLst>
          </p:cNvPr>
          <p:cNvSpPr/>
          <p:nvPr/>
        </p:nvSpPr>
        <p:spPr>
          <a:xfrm>
            <a:off x="10415653"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4" name="Freeform 423">
            <a:extLst>
              <a:ext uri="{FF2B5EF4-FFF2-40B4-BE49-F238E27FC236}">
                <a16:creationId xmlns:a16="http://schemas.microsoft.com/office/drawing/2014/main" id="{60285681-71B7-B55A-2485-8DF764EA67D0}"/>
              </a:ext>
            </a:extLst>
          </p:cNvPr>
          <p:cNvSpPr/>
          <p:nvPr/>
        </p:nvSpPr>
        <p:spPr>
          <a:xfrm>
            <a:off x="10665230"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grpSp>
        <p:nvGrpSpPr>
          <p:cNvPr id="448" name="Group 447">
            <a:extLst>
              <a:ext uri="{FF2B5EF4-FFF2-40B4-BE49-F238E27FC236}">
                <a16:creationId xmlns:a16="http://schemas.microsoft.com/office/drawing/2014/main" id="{882CF991-4C45-B9C7-4981-F437AB56D7A4}"/>
              </a:ext>
            </a:extLst>
          </p:cNvPr>
          <p:cNvGrpSpPr/>
          <p:nvPr/>
        </p:nvGrpSpPr>
        <p:grpSpPr>
          <a:xfrm flipH="1">
            <a:off x="7828575" y="3680821"/>
            <a:ext cx="346253" cy="80711"/>
            <a:chOff x="4571685" y="3680821"/>
            <a:chExt cx="346253" cy="80711"/>
          </a:xfrm>
        </p:grpSpPr>
        <p:sp>
          <p:nvSpPr>
            <p:cNvPr id="449" name="Freeform 448">
              <a:extLst>
                <a:ext uri="{FF2B5EF4-FFF2-40B4-BE49-F238E27FC236}">
                  <a16:creationId xmlns:a16="http://schemas.microsoft.com/office/drawing/2014/main" id="{1C180C8C-08EA-5D4C-3675-DC03493AADB8}"/>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27B21"/>
              </a:solidFill>
              <a:prstDash val="solid"/>
              <a:miter/>
            </a:ln>
          </p:spPr>
          <p:txBody>
            <a:bodyPr rtlCol="0" anchor="ctr"/>
            <a:lstStyle/>
            <a:p>
              <a:endParaRPr lang="sv-SE"/>
            </a:p>
          </p:txBody>
        </p:sp>
        <p:sp>
          <p:nvSpPr>
            <p:cNvPr id="450" name="Freeform 449">
              <a:extLst>
                <a:ext uri="{FF2B5EF4-FFF2-40B4-BE49-F238E27FC236}">
                  <a16:creationId xmlns:a16="http://schemas.microsoft.com/office/drawing/2014/main" id="{DEEEB06C-8A98-ED1E-37E8-E219A4D2E003}"/>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27B21"/>
              </a:solidFill>
              <a:prstDash val="solid"/>
              <a:miter/>
            </a:ln>
          </p:spPr>
          <p:txBody>
            <a:bodyPr rtlCol="0" anchor="ctr"/>
            <a:lstStyle/>
            <a:p>
              <a:endParaRPr lang="sv-SE"/>
            </a:p>
          </p:txBody>
        </p:sp>
      </p:grpSp>
      <p:sp>
        <p:nvSpPr>
          <p:cNvPr id="387" name="Freeform 386">
            <a:extLst>
              <a:ext uri="{FF2B5EF4-FFF2-40B4-BE49-F238E27FC236}">
                <a16:creationId xmlns:a16="http://schemas.microsoft.com/office/drawing/2014/main" id="{6EF90EBC-D20B-EEEC-CB11-069304167828}"/>
              </a:ext>
            </a:extLst>
          </p:cNvPr>
          <p:cNvSpPr/>
          <p:nvPr/>
        </p:nvSpPr>
        <p:spPr>
          <a:xfrm>
            <a:off x="6468981" y="3206831"/>
            <a:ext cx="554232" cy="484861"/>
          </a:xfrm>
          <a:custGeom>
            <a:avLst/>
            <a:gdLst>
              <a:gd name="connsiteX0" fmla="*/ 441015 w 554232"/>
              <a:gd name="connsiteY0" fmla="*/ 0 h 484861"/>
              <a:gd name="connsiteX1" fmla="*/ 554232 w 554232"/>
              <a:gd name="connsiteY1" fmla="*/ 95463 h 484861"/>
              <a:gd name="connsiteX2" fmla="*/ 554232 w 554232"/>
              <a:gd name="connsiteY2" fmla="*/ 484861 h 484861"/>
              <a:gd name="connsiteX3" fmla="*/ 0 w 554232"/>
              <a:gd name="connsiteY3" fmla="*/ 484861 h 484861"/>
              <a:gd name="connsiteX4" fmla="*/ 0 w 554232"/>
              <a:gd name="connsiteY4" fmla="*/ 0 h 484861"/>
              <a:gd name="connsiteX5" fmla="*/ 441015 w 554232"/>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32" h="484861">
                <a:moveTo>
                  <a:pt x="441015" y="0"/>
                </a:moveTo>
                <a:lnTo>
                  <a:pt x="554232" y="95463"/>
                </a:lnTo>
                <a:lnTo>
                  <a:pt x="554232" y="484861"/>
                </a:lnTo>
                <a:lnTo>
                  <a:pt x="0" y="484861"/>
                </a:lnTo>
                <a:lnTo>
                  <a:pt x="0" y="0"/>
                </a:lnTo>
                <a:lnTo>
                  <a:pt x="441015" y="0"/>
                </a:lnTo>
                <a:close/>
              </a:path>
            </a:pathLst>
          </a:custGeom>
          <a:solidFill>
            <a:schemeClr val="accent5"/>
          </a:solidFill>
          <a:ln w="11341" cap="flat">
            <a:solidFill>
              <a:srgbClr val="FFFFFF"/>
            </a:solidFill>
            <a:prstDash val="solid"/>
            <a:miter/>
          </a:ln>
        </p:spPr>
        <p:txBody>
          <a:bodyPr rtlCol="0" anchor="ctr"/>
          <a:lstStyle/>
          <a:p>
            <a:endParaRPr lang="sv-SE"/>
          </a:p>
        </p:txBody>
      </p:sp>
      <p:grpSp>
        <p:nvGrpSpPr>
          <p:cNvPr id="447" name="Group 446">
            <a:extLst>
              <a:ext uri="{FF2B5EF4-FFF2-40B4-BE49-F238E27FC236}">
                <a16:creationId xmlns:a16="http://schemas.microsoft.com/office/drawing/2014/main" id="{A459E7CC-C006-A773-B4A6-77AB13E5FCE7}"/>
              </a:ext>
            </a:extLst>
          </p:cNvPr>
          <p:cNvGrpSpPr/>
          <p:nvPr/>
        </p:nvGrpSpPr>
        <p:grpSpPr>
          <a:xfrm>
            <a:off x="6125584" y="3335590"/>
            <a:ext cx="804547" cy="253775"/>
            <a:chOff x="6125584" y="3335590"/>
            <a:chExt cx="804547" cy="253775"/>
          </a:xfrm>
        </p:grpSpPr>
        <p:sp>
          <p:nvSpPr>
            <p:cNvPr id="388" name="Freeform 387">
              <a:extLst>
                <a:ext uri="{FF2B5EF4-FFF2-40B4-BE49-F238E27FC236}">
                  <a16:creationId xmlns:a16="http://schemas.microsoft.com/office/drawing/2014/main" id="{3F155BFA-B060-675A-B11F-31F73185D4BC}"/>
                </a:ext>
              </a:extLst>
            </p:cNvPr>
            <p:cNvSpPr/>
            <p:nvPr/>
          </p:nvSpPr>
          <p:spPr>
            <a:xfrm>
              <a:off x="6179187" y="3335590"/>
              <a:ext cx="76915" cy="253775"/>
            </a:xfrm>
            <a:custGeom>
              <a:avLst/>
              <a:gdLst>
                <a:gd name="connsiteX0" fmla="*/ 76915 w 76915"/>
                <a:gd name="connsiteY0" fmla="*/ 232107 h 253775"/>
                <a:gd name="connsiteX1" fmla="*/ 49292 w 76915"/>
                <a:gd name="connsiteY1" fmla="*/ 253775 h 253775"/>
                <a:gd name="connsiteX2" fmla="*/ 0 w 76915"/>
                <a:gd name="connsiteY2" fmla="*/ 126888 h 253775"/>
                <a:gd name="connsiteX3" fmla="*/ 39422 w 76915"/>
                <a:gd name="connsiteY3" fmla="*/ 2553 h 253775"/>
                <a:gd name="connsiteX4" fmla="*/ 46229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76915" y="232107"/>
                  </a:moveTo>
                  <a:cubicBezTo>
                    <a:pt x="69031" y="245777"/>
                    <a:pt x="59558" y="253775"/>
                    <a:pt x="49292" y="253775"/>
                  </a:cubicBezTo>
                  <a:cubicBezTo>
                    <a:pt x="22065" y="253775"/>
                    <a:pt x="0" y="196996"/>
                    <a:pt x="0" y="126888"/>
                  </a:cubicBezTo>
                  <a:cubicBezTo>
                    <a:pt x="0" y="65571"/>
                    <a:pt x="16903" y="14464"/>
                    <a:pt x="39422" y="2553"/>
                  </a:cubicBezTo>
                  <a:cubicBezTo>
                    <a:pt x="39422" y="2553"/>
                    <a:pt x="44073" y="0"/>
                    <a:pt x="46229" y="0"/>
                  </a:cubicBezTo>
                </a:path>
              </a:pathLst>
            </a:custGeom>
            <a:noFill/>
            <a:ln w="9525" cap="flat">
              <a:solidFill>
                <a:schemeClr val="accent4"/>
              </a:solidFill>
              <a:prstDash val="solid"/>
              <a:round/>
            </a:ln>
          </p:spPr>
          <p:txBody>
            <a:bodyPr rtlCol="0" anchor="ctr"/>
            <a:lstStyle/>
            <a:p>
              <a:endParaRPr lang="sv-SE"/>
            </a:p>
          </p:txBody>
        </p:sp>
        <p:sp>
          <p:nvSpPr>
            <p:cNvPr id="389" name="Freeform 388">
              <a:extLst>
                <a:ext uri="{FF2B5EF4-FFF2-40B4-BE49-F238E27FC236}">
                  <a16:creationId xmlns:a16="http://schemas.microsoft.com/office/drawing/2014/main" id="{001C1557-BDEA-CC9B-F38C-8D925330657B}"/>
                </a:ext>
              </a:extLst>
            </p:cNvPr>
            <p:cNvSpPr/>
            <p:nvPr/>
          </p:nvSpPr>
          <p:spPr>
            <a:xfrm>
              <a:off x="6161319" y="3335590"/>
              <a:ext cx="94215" cy="253775"/>
            </a:xfrm>
            <a:custGeom>
              <a:avLst/>
              <a:gdLst>
                <a:gd name="connsiteX0" fmla="*/ 94216 w 94215"/>
                <a:gd name="connsiteY0" fmla="*/ 20704 h 253775"/>
                <a:gd name="connsiteX1" fmla="*/ 67159 w 94215"/>
                <a:gd name="connsiteY1" fmla="*/ 0 h 253775"/>
                <a:gd name="connsiteX2" fmla="*/ 49292 w 94215"/>
                <a:gd name="connsiteY2" fmla="*/ 0 h 253775"/>
                <a:gd name="connsiteX3" fmla="*/ 0 w 94215"/>
                <a:gd name="connsiteY3" fmla="*/ 126888 h 253775"/>
                <a:gd name="connsiteX4" fmla="*/ 49292 w 94215"/>
                <a:gd name="connsiteY4" fmla="*/ 253775 h 253775"/>
                <a:gd name="connsiteX5" fmla="*/ 67159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94216" y="20704"/>
                  </a:moveTo>
                  <a:cubicBezTo>
                    <a:pt x="86445" y="7601"/>
                    <a:pt x="77199" y="0"/>
                    <a:pt x="67159" y="0"/>
                  </a:cubicBezTo>
                  <a:lnTo>
                    <a:pt x="49292" y="0"/>
                  </a:lnTo>
                  <a:cubicBezTo>
                    <a:pt x="22065" y="0"/>
                    <a:pt x="0" y="56779"/>
                    <a:pt x="0" y="126888"/>
                  </a:cubicBezTo>
                  <a:cubicBezTo>
                    <a:pt x="0" y="196996"/>
                    <a:pt x="22122" y="253775"/>
                    <a:pt x="49292" y="253775"/>
                  </a:cubicBezTo>
                  <a:lnTo>
                    <a:pt x="67159" y="253775"/>
                  </a:lnTo>
                </a:path>
              </a:pathLst>
            </a:custGeom>
            <a:noFill/>
            <a:ln w="9525" cap="flat">
              <a:solidFill>
                <a:schemeClr val="accent4"/>
              </a:solidFill>
              <a:prstDash val="solid"/>
              <a:round/>
            </a:ln>
          </p:spPr>
          <p:txBody>
            <a:bodyPr rtlCol="0" anchor="ctr"/>
            <a:lstStyle/>
            <a:p>
              <a:endParaRPr lang="sv-SE"/>
            </a:p>
          </p:txBody>
        </p:sp>
        <p:sp>
          <p:nvSpPr>
            <p:cNvPr id="390" name="Freeform 389">
              <a:extLst>
                <a:ext uri="{FF2B5EF4-FFF2-40B4-BE49-F238E27FC236}">
                  <a16:creationId xmlns:a16="http://schemas.microsoft.com/office/drawing/2014/main" id="{A6FD8B90-6B29-C38B-6B1C-BFB5A6668227}"/>
                </a:ext>
              </a:extLst>
            </p:cNvPr>
            <p:cNvSpPr/>
            <p:nvPr/>
          </p:nvSpPr>
          <p:spPr>
            <a:xfrm>
              <a:off x="6799331" y="3335590"/>
              <a:ext cx="76915" cy="253775"/>
            </a:xfrm>
            <a:custGeom>
              <a:avLst/>
              <a:gdLst>
                <a:gd name="connsiteX0" fmla="*/ 0 w 76915"/>
                <a:gd name="connsiteY0" fmla="*/ 232107 h 253775"/>
                <a:gd name="connsiteX1" fmla="*/ 27624 w 76915"/>
                <a:gd name="connsiteY1" fmla="*/ 253775 h 253775"/>
                <a:gd name="connsiteX2" fmla="*/ 76915 w 76915"/>
                <a:gd name="connsiteY2" fmla="*/ 126888 h 253775"/>
                <a:gd name="connsiteX3" fmla="*/ 37493 w 76915"/>
                <a:gd name="connsiteY3" fmla="*/ 2553 h 253775"/>
                <a:gd name="connsiteX4" fmla="*/ 30687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0" y="232107"/>
                  </a:moveTo>
                  <a:cubicBezTo>
                    <a:pt x="7884" y="245777"/>
                    <a:pt x="17357" y="253775"/>
                    <a:pt x="27624" y="253775"/>
                  </a:cubicBezTo>
                  <a:cubicBezTo>
                    <a:pt x="54850" y="253775"/>
                    <a:pt x="76915" y="196996"/>
                    <a:pt x="76915" y="126888"/>
                  </a:cubicBezTo>
                  <a:cubicBezTo>
                    <a:pt x="76915" y="65571"/>
                    <a:pt x="60012" y="14464"/>
                    <a:pt x="37493" y="2553"/>
                  </a:cubicBezTo>
                  <a:cubicBezTo>
                    <a:pt x="37493" y="2553"/>
                    <a:pt x="32842" y="0"/>
                    <a:pt x="30687" y="0"/>
                  </a:cubicBezTo>
                </a:path>
              </a:pathLst>
            </a:custGeom>
            <a:noFill/>
            <a:ln w="9525" cap="flat">
              <a:solidFill>
                <a:schemeClr val="accent4"/>
              </a:solidFill>
              <a:prstDash val="solid"/>
              <a:round/>
            </a:ln>
          </p:spPr>
          <p:txBody>
            <a:bodyPr rtlCol="0" anchor="ctr"/>
            <a:lstStyle/>
            <a:p>
              <a:endParaRPr lang="sv-SE"/>
            </a:p>
          </p:txBody>
        </p:sp>
        <p:sp>
          <p:nvSpPr>
            <p:cNvPr id="391" name="Freeform 390">
              <a:extLst>
                <a:ext uri="{FF2B5EF4-FFF2-40B4-BE49-F238E27FC236}">
                  <a16:creationId xmlns:a16="http://schemas.microsoft.com/office/drawing/2014/main" id="{C178E090-9551-CE14-3888-C76A40929FEF}"/>
                </a:ext>
              </a:extLst>
            </p:cNvPr>
            <p:cNvSpPr/>
            <p:nvPr/>
          </p:nvSpPr>
          <p:spPr>
            <a:xfrm>
              <a:off x="6799898" y="3335590"/>
              <a:ext cx="94215" cy="253775"/>
            </a:xfrm>
            <a:custGeom>
              <a:avLst/>
              <a:gdLst>
                <a:gd name="connsiteX0" fmla="*/ 0 w 94215"/>
                <a:gd name="connsiteY0" fmla="*/ 20704 h 253775"/>
                <a:gd name="connsiteX1" fmla="*/ 27057 w 94215"/>
                <a:gd name="connsiteY1" fmla="*/ 0 h 253775"/>
                <a:gd name="connsiteX2" fmla="*/ 44924 w 94215"/>
                <a:gd name="connsiteY2" fmla="*/ 0 h 253775"/>
                <a:gd name="connsiteX3" fmla="*/ 94215 w 94215"/>
                <a:gd name="connsiteY3" fmla="*/ 126888 h 253775"/>
                <a:gd name="connsiteX4" fmla="*/ 44924 w 94215"/>
                <a:gd name="connsiteY4" fmla="*/ 253775 h 253775"/>
                <a:gd name="connsiteX5" fmla="*/ 27057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0" y="20704"/>
                  </a:moveTo>
                  <a:cubicBezTo>
                    <a:pt x="7771" y="7601"/>
                    <a:pt x="17017" y="0"/>
                    <a:pt x="27057" y="0"/>
                  </a:cubicBezTo>
                  <a:lnTo>
                    <a:pt x="44924" y="0"/>
                  </a:lnTo>
                  <a:cubicBezTo>
                    <a:pt x="72151" y="0"/>
                    <a:pt x="94215" y="56779"/>
                    <a:pt x="94215" y="126888"/>
                  </a:cubicBezTo>
                  <a:cubicBezTo>
                    <a:pt x="94215" y="196996"/>
                    <a:pt x="72094" y="253775"/>
                    <a:pt x="44924" y="253775"/>
                  </a:cubicBezTo>
                  <a:lnTo>
                    <a:pt x="27057" y="253775"/>
                  </a:lnTo>
                </a:path>
              </a:pathLst>
            </a:custGeom>
            <a:noFill/>
            <a:ln w="9525" cap="flat">
              <a:solidFill>
                <a:schemeClr val="accent4"/>
              </a:solidFill>
              <a:prstDash val="solid"/>
              <a:round/>
            </a:ln>
          </p:spPr>
          <p:txBody>
            <a:bodyPr rtlCol="0" anchor="ctr"/>
            <a:lstStyle/>
            <a:p>
              <a:endParaRPr lang="sv-SE"/>
            </a:p>
          </p:txBody>
        </p:sp>
        <p:sp>
          <p:nvSpPr>
            <p:cNvPr id="392" name="Freeform 391">
              <a:extLst>
                <a:ext uri="{FF2B5EF4-FFF2-40B4-BE49-F238E27FC236}">
                  <a16:creationId xmlns:a16="http://schemas.microsoft.com/office/drawing/2014/main" id="{B1B750AC-3E74-C861-526E-F32CAF152132}"/>
                </a:ext>
              </a:extLst>
            </p:cNvPr>
            <p:cNvSpPr/>
            <p:nvPr/>
          </p:nvSpPr>
          <p:spPr>
            <a:xfrm>
              <a:off x="6144927" y="3384428"/>
              <a:ext cx="25808" cy="16449"/>
            </a:xfrm>
            <a:custGeom>
              <a:avLst/>
              <a:gdLst>
                <a:gd name="connsiteX0" fmla="*/ 23142 w 25808"/>
                <a:gd name="connsiteY0" fmla="*/ 16449 h 16449"/>
                <a:gd name="connsiteX1" fmla="*/ 0 w 25808"/>
                <a:gd name="connsiteY1" fmla="*/ 16449 h 16449"/>
                <a:gd name="connsiteX2" fmla="*/ 0 w 25808"/>
                <a:gd name="connsiteY2" fmla="*/ 0 h 16449"/>
                <a:gd name="connsiteX3" fmla="*/ 25809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3142" y="16449"/>
                  </a:moveTo>
                  <a:lnTo>
                    <a:pt x="0" y="16449"/>
                  </a:lnTo>
                  <a:lnTo>
                    <a:pt x="0" y="0"/>
                  </a:lnTo>
                  <a:lnTo>
                    <a:pt x="25809" y="0"/>
                  </a:lnTo>
                </a:path>
              </a:pathLst>
            </a:custGeom>
            <a:noFill/>
            <a:ln w="9525" cap="flat">
              <a:solidFill>
                <a:schemeClr val="accent4"/>
              </a:solidFill>
              <a:prstDash val="solid"/>
              <a:round/>
            </a:ln>
          </p:spPr>
          <p:txBody>
            <a:bodyPr rtlCol="0" anchor="ctr"/>
            <a:lstStyle/>
            <a:p>
              <a:endParaRPr lang="sv-SE"/>
            </a:p>
          </p:txBody>
        </p:sp>
        <p:sp>
          <p:nvSpPr>
            <p:cNvPr id="393" name="Freeform 392">
              <a:extLst>
                <a:ext uri="{FF2B5EF4-FFF2-40B4-BE49-F238E27FC236}">
                  <a16:creationId xmlns:a16="http://schemas.microsoft.com/office/drawing/2014/main" id="{643C6293-F771-D848-8EA2-BB9D8A093190}"/>
                </a:ext>
              </a:extLst>
            </p:cNvPr>
            <p:cNvSpPr/>
            <p:nvPr/>
          </p:nvSpPr>
          <p:spPr>
            <a:xfrm>
              <a:off x="6136702" y="343139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chemeClr val="accent4"/>
              </a:solidFill>
              <a:prstDash val="solid"/>
              <a:round/>
            </a:ln>
          </p:spPr>
          <p:txBody>
            <a:bodyPr rtlCol="0" anchor="ctr"/>
            <a:lstStyle/>
            <a:p>
              <a:endParaRPr lang="sv-SE"/>
            </a:p>
          </p:txBody>
        </p:sp>
        <p:sp>
          <p:nvSpPr>
            <p:cNvPr id="394" name="Freeform 393">
              <a:extLst>
                <a:ext uri="{FF2B5EF4-FFF2-40B4-BE49-F238E27FC236}">
                  <a16:creationId xmlns:a16="http://schemas.microsoft.com/office/drawing/2014/main" id="{09A6EC26-39FD-D059-40FC-00BBD4575053}"/>
                </a:ext>
              </a:extLst>
            </p:cNvPr>
            <p:cNvSpPr/>
            <p:nvPr/>
          </p:nvSpPr>
          <p:spPr>
            <a:xfrm>
              <a:off x="6136702" y="3477055"/>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chemeClr val="accent4"/>
              </a:solidFill>
              <a:prstDash val="solid"/>
              <a:round/>
            </a:ln>
          </p:spPr>
          <p:txBody>
            <a:bodyPr rtlCol="0" anchor="ctr"/>
            <a:lstStyle/>
            <a:p>
              <a:endParaRPr lang="sv-SE"/>
            </a:p>
          </p:txBody>
        </p:sp>
        <p:sp>
          <p:nvSpPr>
            <p:cNvPr id="395" name="Freeform 394">
              <a:extLst>
                <a:ext uri="{FF2B5EF4-FFF2-40B4-BE49-F238E27FC236}">
                  <a16:creationId xmlns:a16="http://schemas.microsoft.com/office/drawing/2014/main" id="{FB633EB6-8E0D-83C2-B6BE-D721DE23E1B5}"/>
                </a:ext>
              </a:extLst>
            </p:cNvPr>
            <p:cNvSpPr/>
            <p:nvPr/>
          </p:nvSpPr>
          <p:spPr>
            <a:xfrm>
              <a:off x="6144927" y="352362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3142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3142" y="0"/>
                  </a:lnTo>
                </a:path>
              </a:pathLst>
            </a:custGeom>
            <a:noFill/>
            <a:ln w="9525" cap="flat">
              <a:solidFill>
                <a:schemeClr val="accent4"/>
              </a:solidFill>
              <a:prstDash val="solid"/>
              <a:round/>
            </a:ln>
          </p:spPr>
          <p:txBody>
            <a:bodyPr rtlCol="0" anchor="ctr"/>
            <a:lstStyle/>
            <a:p>
              <a:endParaRPr lang="sv-SE"/>
            </a:p>
          </p:txBody>
        </p:sp>
        <p:sp>
          <p:nvSpPr>
            <p:cNvPr id="396" name="Freeform 395">
              <a:extLst>
                <a:ext uri="{FF2B5EF4-FFF2-40B4-BE49-F238E27FC236}">
                  <a16:creationId xmlns:a16="http://schemas.microsoft.com/office/drawing/2014/main" id="{74C0898F-D651-5147-0DD4-3F81D6E0C0DE}"/>
                </a:ext>
              </a:extLst>
            </p:cNvPr>
            <p:cNvSpPr/>
            <p:nvPr/>
          </p:nvSpPr>
          <p:spPr>
            <a:xfrm>
              <a:off x="6132051" y="3531849"/>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chemeClr val="accent4"/>
              </a:solidFill>
              <a:prstDash val="solid"/>
              <a:round/>
            </a:ln>
          </p:spPr>
          <p:txBody>
            <a:bodyPr rtlCol="0" anchor="ctr"/>
            <a:lstStyle/>
            <a:p>
              <a:endParaRPr lang="sv-SE"/>
            </a:p>
          </p:txBody>
        </p:sp>
        <p:sp>
          <p:nvSpPr>
            <p:cNvPr id="397" name="Freeform 396">
              <a:extLst>
                <a:ext uri="{FF2B5EF4-FFF2-40B4-BE49-F238E27FC236}">
                  <a16:creationId xmlns:a16="http://schemas.microsoft.com/office/drawing/2014/main" id="{73614E57-EE32-B0F3-D123-CA6EFCBD5319}"/>
                </a:ext>
              </a:extLst>
            </p:cNvPr>
            <p:cNvSpPr/>
            <p:nvPr/>
          </p:nvSpPr>
          <p:spPr>
            <a:xfrm>
              <a:off x="6132051" y="339271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chemeClr val="accent4"/>
              </a:solidFill>
              <a:prstDash val="solid"/>
              <a:round/>
            </a:ln>
          </p:spPr>
          <p:txBody>
            <a:bodyPr rtlCol="0" anchor="ctr"/>
            <a:lstStyle/>
            <a:p>
              <a:endParaRPr lang="sv-SE"/>
            </a:p>
          </p:txBody>
        </p:sp>
        <p:sp>
          <p:nvSpPr>
            <p:cNvPr id="398" name="Freeform 397">
              <a:extLst>
                <a:ext uri="{FF2B5EF4-FFF2-40B4-BE49-F238E27FC236}">
                  <a16:creationId xmlns:a16="http://schemas.microsoft.com/office/drawing/2014/main" id="{B1B499BA-B340-5DDD-97FA-A3D85808843C}"/>
                </a:ext>
              </a:extLst>
            </p:cNvPr>
            <p:cNvSpPr/>
            <p:nvPr/>
          </p:nvSpPr>
          <p:spPr>
            <a:xfrm>
              <a:off x="6198813" y="3439619"/>
              <a:ext cx="659451" cy="0"/>
            </a:xfrm>
            <a:custGeom>
              <a:avLst/>
              <a:gdLst>
                <a:gd name="connsiteX0" fmla="*/ 0 w 659451"/>
                <a:gd name="connsiteY0" fmla="*/ 0 h 5672"/>
                <a:gd name="connsiteX1" fmla="*/ 659452 w 659451"/>
                <a:gd name="connsiteY1" fmla="*/ 0 h 5672"/>
              </a:gdLst>
              <a:ahLst/>
              <a:cxnLst>
                <a:cxn ang="0">
                  <a:pos x="connsiteX0" y="connsiteY0"/>
                </a:cxn>
                <a:cxn ang="0">
                  <a:pos x="connsiteX1" y="connsiteY1"/>
                </a:cxn>
              </a:cxnLst>
              <a:rect l="l" t="t" r="r" b="b"/>
              <a:pathLst>
                <a:path w="659451" h="5672">
                  <a:moveTo>
                    <a:pt x="0" y="0"/>
                  </a:moveTo>
                  <a:lnTo>
                    <a:pt x="659452" y="0"/>
                  </a:lnTo>
                </a:path>
              </a:pathLst>
            </a:custGeom>
            <a:ln w="9525" cap="flat">
              <a:solidFill>
                <a:schemeClr val="accent4"/>
              </a:solidFill>
              <a:prstDash val="solid"/>
              <a:miter/>
            </a:ln>
          </p:spPr>
          <p:txBody>
            <a:bodyPr rtlCol="0" anchor="ctr"/>
            <a:lstStyle/>
            <a:p>
              <a:endParaRPr lang="sv-SE"/>
            </a:p>
          </p:txBody>
        </p:sp>
        <p:sp>
          <p:nvSpPr>
            <p:cNvPr id="399" name="Freeform 398">
              <a:extLst>
                <a:ext uri="{FF2B5EF4-FFF2-40B4-BE49-F238E27FC236}">
                  <a16:creationId xmlns:a16="http://schemas.microsoft.com/office/drawing/2014/main" id="{368BB278-C37E-AECE-A981-D28CB45D809F}"/>
                </a:ext>
              </a:extLst>
            </p:cNvPr>
            <p:cNvSpPr/>
            <p:nvPr/>
          </p:nvSpPr>
          <p:spPr>
            <a:xfrm>
              <a:off x="6197111" y="3485280"/>
              <a:ext cx="660302" cy="0"/>
            </a:xfrm>
            <a:custGeom>
              <a:avLst/>
              <a:gdLst>
                <a:gd name="connsiteX0" fmla="*/ 0 w 660302"/>
                <a:gd name="connsiteY0" fmla="*/ 0 h 5672"/>
                <a:gd name="connsiteX1" fmla="*/ 660303 w 660302"/>
                <a:gd name="connsiteY1" fmla="*/ 0 h 5672"/>
              </a:gdLst>
              <a:ahLst/>
              <a:cxnLst>
                <a:cxn ang="0">
                  <a:pos x="connsiteX0" y="connsiteY0"/>
                </a:cxn>
                <a:cxn ang="0">
                  <a:pos x="connsiteX1" y="connsiteY1"/>
                </a:cxn>
              </a:cxnLst>
              <a:rect l="l" t="t" r="r" b="b"/>
              <a:pathLst>
                <a:path w="660302" h="5672">
                  <a:moveTo>
                    <a:pt x="0" y="0"/>
                  </a:moveTo>
                  <a:lnTo>
                    <a:pt x="660303" y="0"/>
                  </a:lnTo>
                </a:path>
              </a:pathLst>
            </a:custGeom>
            <a:ln w="9525" cap="flat">
              <a:solidFill>
                <a:schemeClr val="accent4"/>
              </a:solidFill>
              <a:prstDash val="solid"/>
              <a:miter/>
            </a:ln>
          </p:spPr>
          <p:txBody>
            <a:bodyPr rtlCol="0" anchor="ctr"/>
            <a:lstStyle/>
            <a:p>
              <a:endParaRPr lang="sv-SE"/>
            </a:p>
          </p:txBody>
        </p:sp>
        <p:sp>
          <p:nvSpPr>
            <p:cNvPr id="400" name="Freeform 399">
              <a:extLst>
                <a:ext uri="{FF2B5EF4-FFF2-40B4-BE49-F238E27FC236}">
                  <a16:creationId xmlns:a16="http://schemas.microsoft.com/office/drawing/2014/main" id="{369A1F26-F16A-FF24-802D-944244B21BC0}"/>
                </a:ext>
              </a:extLst>
            </p:cNvPr>
            <p:cNvSpPr/>
            <p:nvPr/>
          </p:nvSpPr>
          <p:spPr>
            <a:xfrm>
              <a:off x="6125584"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chemeClr val="accent4"/>
              </a:solidFill>
              <a:prstDash val="solid"/>
              <a:round/>
            </a:ln>
          </p:spPr>
          <p:txBody>
            <a:bodyPr rtlCol="0" anchor="ctr"/>
            <a:lstStyle/>
            <a:p>
              <a:endParaRPr lang="sv-SE"/>
            </a:p>
          </p:txBody>
        </p:sp>
        <p:sp>
          <p:nvSpPr>
            <p:cNvPr id="401" name="Freeform 400">
              <a:extLst>
                <a:ext uri="{FF2B5EF4-FFF2-40B4-BE49-F238E27FC236}">
                  <a16:creationId xmlns:a16="http://schemas.microsoft.com/office/drawing/2014/main" id="{82F51981-C29D-B9E8-B790-3CE07DA52FC8}"/>
                </a:ext>
              </a:extLst>
            </p:cNvPr>
            <p:cNvSpPr/>
            <p:nvPr/>
          </p:nvSpPr>
          <p:spPr>
            <a:xfrm>
              <a:off x="6125584" y="348528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chemeClr val="accent4"/>
              </a:solidFill>
              <a:prstDash val="solid"/>
              <a:round/>
            </a:ln>
          </p:spPr>
          <p:txBody>
            <a:bodyPr rtlCol="0" anchor="ctr"/>
            <a:lstStyle/>
            <a:p>
              <a:endParaRPr lang="sv-SE"/>
            </a:p>
          </p:txBody>
        </p:sp>
        <p:sp>
          <p:nvSpPr>
            <p:cNvPr id="402" name="Freeform 401">
              <a:extLst>
                <a:ext uri="{FF2B5EF4-FFF2-40B4-BE49-F238E27FC236}">
                  <a16:creationId xmlns:a16="http://schemas.microsoft.com/office/drawing/2014/main" id="{7E37932E-2E8C-7206-B65A-E7AC7FC75142}"/>
                </a:ext>
              </a:extLst>
            </p:cNvPr>
            <p:cNvSpPr/>
            <p:nvPr/>
          </p:nvSpPr>
          <p:spPr>
            <a:xfrm>
              <a:off x="6885038" y="3384428"/>
              <a:ext cx="25808" cy="16449"/>
            </a:xfrm>
            <a:custGeom>
              <a:avLst/>
              <a:gdLst>
                <a:gd name="connsiteX0" fmla="*/ 2666 w 25808"/>
                <a:gd name="connsiteY0" fmla="*/ 16449 h 16449"/>
                <a:gd name="connsiteX1" fmla="*/ 25809 w 25808"/>
                <a:gd name="connsiteY1" fmla="*/ 16449 h 16449"/>
                <a:gd name="connsiteX2" fmla="*/ 25809 w 25808"/>
                <a:gd name="connsiteY2" fmla="*/ 0 h 16449"/>
                <a:gd name="connsiteX3" fmla="*/ 0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666" y="16449"/>
                  </a:moveTo>
                  <a:lnTo>
                    <a:pt x="25809" y="16449"/>
                  </a:lnTo>
                  <a:lnTo>
                    <a:pt x="25809" y="0"/>
                  </a:lnTo>
                  <a:lnTo>
                    <a:pt x="0" y="0"/>
                  </a:lnTo>
                </a:path>
              </a:pathLst>
            </a:custGeom>
            <a:noFill/>
            <a:ln w="9525" cap="flat">
              <a:solidFill>
                <a:schemeClr val="accent4"/>
              </a:solidFill>
              <a:prstDash val="solid"/>
              <a:round/>
            </a:ln>
          </p:spPr>
          <p:txBody>
            <a:bodyPr rtlCol="0" anchor="ctr"/>
            <a:lstStyle/>
            <a:p>
              <a:endParaRPr lang="sv-SE"/>
            </a:p>
          </p:txBody>
        </p:sp>
        <p:sp>
          <p:nvSpPr>
            <p:cNvPr id="403" name="Freeform 402">
              <a:extLst>
                <a:ext uri="{FF2B5EF4-FFF2-40B4-BE49-F238E27FC236}">
                  <a16:creationId xmlns:a16="http://schemas.microsoft.com/office/drawing/2014/main" id="{68EB8FCF-AD9D-8D16-7460-302C5BB95929}"/>
                </a:ext>
              </a:extLst>
            </p:cNvPr>
            <p:cNvSpPr/>
            <p:nvPr/>
          </p:nvSpPr>
          <p:spPr>
            <a:xfrm>
              <a:off x="6893206" y="343139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chemeClr val="accent4"/>
              </a:solidFill>
              <a:prstDash val="solid"/>
              <a:round/>
            </a:ln>
          </p:spPr>
          <p:txBody>
            <a:bodyPr rtlCol="0" anchor="ctr"/>
            <a:lstStyle/>
            <a:p>
              <a:endParaRPr lang="sv-SE"/>
            </a:p>
          </p:txBody>
        </p:sp>
        <p:sp>
          <p:nvSpPr>
            <p:cNvPr id="404" name="Freeform 403">
              <a:extLst>
                <a:ext uri="{FF2B5EF4-FFF2-40B4-BE49-F238E27FC236}">
                  <a16:creationId xmlns:a16="http://schemas.microsoft.com/office/drawing/2014/main" id="{63F841A4-D98C-EF3A-F79E-BB697D7626AD}"/>
                </a:ext>
              </a:extLst>
            </p:cNvPr>
            <p:cNvSpPr/>
            <p:nvPr/>
          </p:nvSpPr>
          <p:spPr>
            <a:xfrm>
              <a:off x="6893206" y="3477055"/>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chemeClr val="accent4"/>
              </a:solidFill>
              <a:prstDash val="solid"/>
              <a:round/>
            </a:ln>
          </p:spPr>
          <p:txBody>
            <a:bodyPr rtlCol="0" anchor="ctr"/>
            <a:lstStyle/>
            <a:p>
              <a:endParaRPr lang="sv-SE"/>
            </a:p>
          </p:txBody>
        </p:sp>
        <p:sp>
          <p:nvSpPr>
            <p:cNvPr id="405" name="Freeform 404">
              <a:extLst>
                <a:ext uri="{FF2B5EF4-FFF2-40B4-BE49-F238E27FC236}">
                  <a16:creationId xmlns:a16="http://schemas.microsoft.com/office/drawing/2014/main" id="{F05F4BA5-D3BD-1E61-CC36-5BCC6CF2BE4D}"/>
                </a:ext>
              </a:extLst>
            </p:cNvPr>
            <p:cNvSpPr/>
            <p:nvPr/>
          </p:nvSpPr>
          <p:spPr>
            <a:xfrm>
              <a:off x="6885038" y="352362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2666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2666" y="0"/>
                  </a:lnTo>
                </a:path>
              </a:pathLst>
            </a:custGeom>
            <a:noFill/>
            <a:ln w="9525" cap="flat">
              <a:solidFill>
                <a:schemeClr val="accent4"/>
              </a:solidFill>
              <a:prstDash val="solid"/>
              <a:round/>
            </a:ln>
          </p:spPr>
          <p:txBody>
            <a:bodyPr rtlCol="0" anchor="ctr"/>
            <a:lstStyle/>
            <a:p>
              <a:endParaRPr lang="sv-SE"/>
            </a:p>
          </p:txBody>
        </p:sp>
        <p:sp>
          <p:nvSpPr>
            <p:cNvPr id="406" name="Freeform 405">
              <a:extLst>
                <a:ext uri="{FF2B5EF4-FFF2-40B4-BE49-F238E27FC236}">
                  <a16:creationId xmlns:a16="http://schemas.microsoft.com/office/drawing/2014/main" id="{5530D437-D48C-04B9-5456-00F5D1C0A4CC}"/>
                </a:ext>
              </a:extLst>
            </p:cNvPr>
            <p:cNvSpPr/>
            <p:nvPr/>
          </p:nvSpPr>
          <p:spPr>
            <a:xfrm>
              <a:off x="6911867" y="353184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chemeClr val="accent4"/>
              </a:solidFill>
              <a:prstDash val="solid"/>
              <a:round/>
            </a:ln>
          </p:spPr>
          <p:txBody>
            <a:bodyPr rtlCol="0" anchor="ctr"/>
            <a:lstStyle/>
            <a:p>
              <a:endParaRPr lang="sv-SE"/>
            </a:p>
          </p:txBody>
        </p:sp>
        <p:sp>
          <p:nvSpPr>
            <p:cNvPr id="407" name="Freeform 406">
              <a:extLst>
                <a:ext uri="{FF2B5EF4-FFF2-40B4-BE49-F238E27FC236}">
                  <a16:creationId xmlns:a16="http://schemas.microsoft.com/office/drawing/2014/main" id="{28FA0242-665B-47B9-AECB-40CB9F405338}"/>
                </a:ext>
              </a:extLst>
            </p:cNvPr>
            <p:cNvSpPr/>
            <p:nvPr/>
          </p:nvSpPr>
          <p:spPr>
            <a:xfrm>
              <a:off x="6911867" y="339271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chemeClr val="accent4"/>
              </a:solidFill>
              <a:prstDash val="solid"/>
              <a:round/>
            </a:ln>
          </p:spPr>
          <p:txBody>
            <a:bodyPr rtlCol="0" anchor="ctr"/>
            <a:lstStyle/>
            <a:p>
              <a:endParaRPr lang="sv-SE"/>
            </a:p>
          </p:txBody>
        </p:sp>
        <p:sp>
          <p:nvSpPr>
            <p:cNvPr id="408" name="Freeform 407">
              <a:extLst>
                <a:ext uri="{FF2B5EF4-FFF2-40B4-BE49-F238E27FC236}">
                  <a16:creationId xmlns:a16="http://schemas.microsoft.com/office/drawing/2014/main" id="{6F811C71-4227-6041-E4D0-39C63262148A}"/>
                </a:ext>
              </a:extLst>
            </p:cNvPr>
            <p:cNvSpPr/>
            <p:nvPr/>
          </p:nvSpPr>
          <p:spPr>
            <a:xfrm>
              <a:off x="6918277"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chemeClr val="accent4"/>
              </a:solidFill>
              <a:prstDash val="solid"/>
              <a:round/>
            </a:ln>
          </p:spPr>
          <p:txBody>
            <a:bodyPr rtlCol="0" anchor="ctr"/>
            <a:lstStyle/>
            <a:p>
              <a:endParaRPr lang="sv-SE"/>
            </a:p>
          </p:txBody>
        </p:sp>
        <p:sp>
          <p:nvSpPr>
            <p:cNvPr id="409" name="Freeform 408">
              <a:extLst>
                <a:ext uri="{FF2B5EF4-FFF2-40B4-BE49-F238E27FC236}">
                  <a16:creationId xmlns:a16="http://schemas.microsoft.com/office/drawing/2014/main" id="{52392B0A-B692-2A67-4FC1-AE64B5B760C4}"/>
                </a:ext>
              </a:extLst>
            </p:cNvPr>
            <p:cNvSpPr/>
            <p:nvPr/>
          </p:nvSpPr>
          <p:spPr>
            <a:xfrm>
              <a:off x="6918277" y="348528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chemeClr val="accent4"/>
              </a:solidFill>
              <a:prstDash val="solid"/>
              <a:round/>
            </a:ln>
          </p:spPr>
          <p:txBody>
            <a:bodyPr rtlCol="0" anchor="ctr"/>
            <a:lstStyle/>
            <a:p>
              <a:endParaRPr lang="sv-SE"/>
            </a:p>
          </p:txBody>
        </p:sp>
        <p:sp>
          <p:nvSpPr>
            <p:cNvPr id="410" name="Freeform 409">
              <a:extLst>
                <a:ext uri="{FF2B5EF4-FFF2-40B4-BE49-F238E27FC236}">
                  <a16:creationId xmlns:a16="http://schemas.microsoft.com/office/drawing/2014/main" id="{C73F7924-6006-6F97-B472-6FDB3C7CD451}"/>
                </a:ext>
              </a:extLst>
            </p:cNvPr>
            <p:cNvSpPr/>
            <p:nvPr/>
          </p:nvSpPr>
          <p:spPr>
            <a:xfrm>
              <a:off x="6207151" y="3392710"/>
              <a:ext cx="642775" cy="0"/>
            </a:xfrm>
            <a:custGeom>
              <a:avLst/>
              <a:gdLst>
                <a:gd name="connsiteX0" fmla="*/ 0 w 642775"/>
                <a:gd name="connsiteY0" fmla="*/ 0 h 5672"/>
                <a:gd name="connsiteX1" fmla="*/ 642776 w 642775"/>
                <a:gd name="connsiteY1" fmla="*/ 0 h 5672"/>
              </a:gdLst>
              <a:ahLst/>
              <a:cxnLst>
                <a:cxn ang="0">
                  <a:pos x="connsiteX0" y="connsiteY0"/>
                </a:cxn>
                <a:cxn ang="0">
                  <a:pos x="connsiteX1" y="connsiteY1"/>
                </a:cxn>
              </a:cxnLst>
              <a:rect l="l" t="t" r="r" b="b"/>
              <a:pathLst>
                <a:path w="642775" h="5672">
                  <a:moveTo>
                    <a:pt x="0" y="0"/>
                  </a:moveTo>
                  <a:lnTo>
                    <a:pt x="642776" y="0"/>
                  </a:lnTo>
                </a:path>
              </a:pathLst>
            </a:custGeom>
            <a:ln w="9525" cap="flat">
              <a:solidFill>
                <a:schemeClr val="accent4"/>
              </a:solidFill>
              <a:prstDash val="solid"/>
              <a:miter/>
            </a:ln>
          </p:spPr>
          <p:txBody>
            <a:bodyPr rtlCol="0" anchor="ctr"/>
            <a:lstStyle/>
            <a:p>
              <a:endParaRPr lang="sv-SE"/>
            </a:p>
          </p:txBody>
        </p:sp>
        <p:sp>
          <p:nvSpPr>
            <p:cNvPr id="411" name="Freeform 410">
              <a:extLst>
                <a:ext uri="{FF2B5EF4-FFF2-40B4-BE49-F238E27FC236}">
                  <a16:creationId xmlns:a16="http://schemas.microsoft.com/office/drawing/2014/main" id="{9A77497C-6162-31D7-A013-5D08152AAC06}"/>
                </a:ext>
              </a:extLst>
            </p:cNvPr>
            <p:cNvSpPr/>
            <p:nvPr/>
          </p:nvSpPr>
          <p:spPr>
            <a:xfrm>
              <a:off x="6204655" y="3531849"/>
              <a:ext cx="645271" cy="0"/>
            </a:xfrm>
            <a:custGeom>
              <a:avLst/>
              <a:gdLst>
                <a:gd name="connsiteX0" fmla="*/ 0 w 645271"/>
                <a:gd name="connsiteY0" fmla="*/ 0 h 5672"/>
                <a:gd name="connsiteX1" fmla="*/ 645271 w 645271"/>
                <a:gd name="connsiteY1" fmla="*/ 0 h 5672"/>
              </a:gdLst>
              <a:ahLst/>
              <a:cxnLst>
                <a:cxn ang="0">
                  <a:pos x="connsiteX0" y="connsiteY0"/>
                </a:cxn>
                <a:cxn ang="0">
                  <a:pos x="connsiteX1" y="connsiteY1"/>
                </a:cxn>
              </a:cxnLst>
              <a:rect l="l" t="t" r="r" b="b"/>
              <a:pathLst>
                <a:path w="645271" h="5672">
                  <a:moveTo>
                    <a:pt x="0" y="0"/>
                  </a:moveTo>
                  <a:lnTo>
                    <a:pt x="645271" y="0"/>
                  </a:lnTo>
                </a:path>
              </a:pathLst>
            </a:custGeom>
            <a:ln w="9525" cap="flat">
              <a:solidFill>
                <a:schemeClr val="accent4"/>
              </a:solidFill>
              <a:prstDash val="solid"/>
              <a:miter/>
            </a:ln>
          </p:spPr>
          <p:txBody>
            <a:bodyPr rtlCol="0" anchor="ctr"/>
            <a:lstStyle/>
            <a:p>
              <a:endParaRPr lang="sv-SE"/>
            </a:p>
          </p:txBody>
        </p:sp>
        <p:sp>
          <p:nvSpPr>
            <p:cNvPr id="412" name="Freeform 411">
              <a:extLst>
                <a:ext uri="{FF2B5EF4-FFF2-40B4-BE49-F238E27FC236}">
                  <a16:creationId xmlns:a16="http://schemas.microsoft.com/office/drawing/2014/main" id="{B6B33C84-3A00-B68F-DB55-475F2A155A97}"/>
                </a:ext>
              </a:extLst>
            </p:cNvPr>
            <p:cNvSpPr/>
            <p:nvPr/>
          </p:nvSpPr>
          <p:spPr>
            <a:xfrm>
              <a:off x="6196657" y="3356975"/>
              <a:ext cx="662401" cy="211119"/>
            </a:xfrm>
            <a:custGeom>
              <a:avLst/>
              <a:gdLst>
                <a:gd name="connsiteX0" fmla="*/ 612089 w 662401"/>
                <a:gd name="connsiteY0" fmla="*/ 211120 h 211119"/>
                <a:gd name="connsiteX1" fmla="*/ 629673 w 662401"/>
                <a:gd name="connsiteY1" fmla="*/ 211120 h 211119"/>
                <a:gd name="connsiteX2" fmla="*/ 662401 w 662401"/>
                <a:gd name="connsiteY2" fmla="*/ 105560 h 211119"/>
                <a:gd name="connsiteX3" fmla="*/ 629673 w 662401"/>
                <a:gd name="connsiteY3" fmla="*/ 0 h 211119"/>
                <a:gd name="connsiteX4" fmla="*/ 32728 w 662401"/>
                <a:gd name="connsiteY4" fmla="*/ 0 h 211119"/>
                <a:gd name="connsiteX5" fmla="*/ 0 w 662401"/>
                <a:gd name="connsiteY5" fmla="*/ 105560 h 211119"/>
                <a:gd name="connsiteX6" fmla="*/ 32728 w 662401"/>
                <a:gd name="connsiteY6" fmla="*/ 211120 h 211119"/>
                <a:gd name="connsiteX7" fmla="*/ 612089 w 662401"/>
                <a:gd name="connsiteY7" fmla="*/ 211120 h 21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01" h="211119">
                  <a:moveTo>
                    <a:pt x="612089" y="211120"/>
                  </a:moveTo>
                  <a:lnTo>
                    <a:pt x="629673" y="211120"/>
                  </a:lnTo>
                  <a:cubicBezTo>
                    <a:pt x="647824" y="211120"/>
                    <a:pt x="662401" y="163870"/>
                    <a:pt x="662401" y="105560"/>
                  </a:cubicBezTo>
                  <a:cubicBezTo>
                    <a:pt x="662401" y="47249"/>
                    <a:pt x="647711" y="0"/>
                    <a:pt x="629673" y="0"/>
                  </a:cubicBezTo>
                  <a:lnTo>
                    <a:pt x="32728" y="0"/>
                  </a:lnTo>
                  <a:cubicBezTo>
                    <a:pt x="14691" y="0"/>
                    <a:pt x="0" y="47249"/>
                    <a:pt x="0" y="105560"/>
                  </a:cubicBezTo>
                  <a:cubicBezTo>
                    <a:pt x="0" y="163870"/>
                    <a:pt x="14634" y="211120"/>
                    <a:pt x="32728" y="211120"/>
                  </a:cubicBezTo>
                  <a:lnTo>
                    <a:pt x="612089" y="211120"/>
                  </a:lnTo>
                  <a:close/>
                </a:path>
              </a:pathLst>
            </a:custGeom>
            <a:noFill/>
            <a:ln w="9525" cap="flat">
              <a:solidFill>
                <a:schemeClr val="accent4"/>
              </a:solidFill>
              <a:prstDash val="solid"/>
              <a:round/>
            </a:ln>
          </p:spPr>
          <p:txBody>
            <a:bodyPr rtlCol="0" anchor="ctr"/>
            <a:lstStyle/>
            <a:p>
              <a:endParaRPr lang="sv-SE"/>
            </a:p>
          </p:txBody>
        </p:sp>
      </p:grpSp>
      <p:grpSp>
        <p:nvGrpSpPr>
          <p:cNvPr id="452" name="Group 451">
            <a:extLst>
              <a:ext uri="{FF2B5EF4-FFF2-40B4-BE49-F238E27FC236}">
                <a16:creationId xmlns:a16="http://schemas.microsoft.com/office/drawing/2014/main" id="{893F8C63-0B3F-6290-040E-0246503DF9D9}"/>
              </a:ext>
            </a:extLst>
          </p:cNvPr>
          <p:cNvGrpSpPr/>
          <p:nvPr/>
        </p:nvGrpSpPr>
        <p:grpSpPr>
          <a:xfrm>
            <a:off x="5915883" y="3206831"/>
            <a:ext cx="554288" cy="484861"/>
            <a:chOff x="5915883" y="3206831"/>
            <a:chExt cx="554288" cy="484861"/>
          </a:xfrm>
        </p:grpSpPr>
        <p:sp>
          <p:nvSpPr>
            <p:cNvPr id="413" name="Freeform 412">
              <a:extLst>
                <a:ext uri="{FF2B5EF4-FFF2-40B4-BE49-F238E27FC236}">
                  <a16:creationId xmlns:a16="http://schemas.microsoft.com/office/drawing/2014/main" id="{0B9508F6-60FE-A707-3262-77035926444A}"/>
                </a:ext>
              </a:extLst>
            </p:cNvPr>
            <p:cNvSpPr/>
            <p:nvPr/>
          </p:nvSpPr>
          <p:spPr>
            <a:xfrm>
              <a:off x="5915883" y="3206831"/>
              <a:ext cx="554288" cy="484861"/>
            </a:xfrm>
            <a:custGeom>
              <a:avLst/>
              <a:gdLst>
                <a:gd name="connsiteX0" fmla="*/ 113217 w 554288"/>
                <a:gd name="connsiteY0" fmla="*/ 0 h 484861"/>
                <a:gd name="connsiteX1" fmla="*/ 0 w 554288"/>
                <a:gd name="connsiteY1" fmla="*/ 95463 h 484861"/>
                <a:gd name="connsiteX2" fmla="*/ 0 w 554288"/>
                <a:gd name="connsiteY2" fmla="*/ 484861 h 484861"/>
                <a:gd name="connsiteX3" fmla="*/ 554289 w 554288"/>
                <a:gd name="connsiteY3" fmla="*/ 484861 h 484861"/>
                <a:gd name="connsiteX4" fmla="*/ 554289 w 554288"/>
                <a:gd name="connsiteY4" fmla="*/ 0 h 484861"/>
                <a:gd name="connsiteX5" fmla="*/ 113217 w 554288"/>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88" h="484861">
                  <a:moveTo>
                    <a:pt x="113217" y="0"/>
                  </a:moveTo>
                  <a:lnTo>
                    <a:pt x="0" y="95463"/>
                  </a:lnTo>
                  <a:lnTo>
                    <a:pt x="0" y="484861"/>
                  </a:lnTo>
                  <a:lnTo>
                    <a:pt x="554289" y="484861"/>
                  </a:lnTo>
                  <a:lnTo>
                    <a:pt x="554289" y="0"/>
                  </a:lnTo>
                  <a:lnTo>
                    <a:pt x="113217" y="0"/>
                  </a:lnTo>
                  <a:close/>
                </a:path>
              </a:pathLst>
            </a:custGeom>
            <a:solidFill>
              <a:srgbClr val="FFFFFF"/>
            </a:solidFill>
            <a:ln w="11341" cap="flat">
              <a:solidFill>
                <a:srgbClr val="FFFFFF"/>
              </a:solidFill>
              <a:prstDash val="solid"/>
              <a:miter/>
            </a:ln>
          </p:spPr>
          <p:txBody>
            <a:bodyPr rtlCol="0" anchor="ctr"/>
            <a:lstStyle/>
            <a:p>
              <a:endParaRPr lang="sv-SE"/>
            </a:p>
          </p:txBody>
        </p:sp>
        <p:grpSp>
          <p:nvGrpSpPr>
            <p:cNvPr id="446" name="Group 445">
              <a:extLst>
                <a:ext uri="{FF2B5EF4-FFF2-40B4-BE49-F238E27FC236}">
                  <a16:creationId xmlns:a16="http://schemas.microsoft.com/office/drawing/2014/main" id="{021332CE-9816-5748-A311-59721B8532B4}"/>
                </a:ext>
              </a:extLst>
            </p:cNvPr>
            <p:cNvGrpSpPr/>
            <p:nvPr/>
          </p:nvGrpSpPr>
          <p:grpSpPr>
            <a:xfrm>
              <a:off x="6017472" y="3291120"/>
              <a:ext cx="363929" cy="342715"/>
              <a:chOff x="6017472" y="3291120"/>
              <a:chExt cx="363929" cy="342715"/>
            </a:xfrm>
          </p:grpSpPr>
          <p:sp>
            <p:nvSpPr>
              <p:cNvPr id="414" name="Freeform 413">
                <a:extLst>
                  <a:ext uri="{FF2B5EF4-FFF2-40B4-BE49-F238E27FC236}">
                    <a16:creationId xmlns:a16="http://schemas.microsoft.com/office/drawing/2014/main" id="{BBC2DB9C-EB97-27BA-D5BC-0DE891751053}"/>
                  </a:ext>
                </a:extLst>
              </p:cNvPr>
              <p:cNvSpPr/>
              <p:nvPr/>
            </p:nvSpPr>
            <p:spPr>
              <a:xfrm>
                <a:off x="63814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5" name="Freeform 414">
                <a:extLst>
                  <a:ext uri="{FF2B5EF4-FFF2-40B4-BE49-F238E27FC236}">
                    <a16:creationId xmlns:a16="http://schemas.microsoft.com/office/drawing/2014/main" id="{717B19B1-E1C4-CA43-1AAA-DFD2CE1F71F4}"/>
                  </a:ext>
                </a:extLst>
              </p:cNvPr>
              <p:cNvSpPr/>
              <p:nvPr/>
            </p:nvSpPr>
            <p:spPr>
              <a:xfrm>
                <a:off x="6320765"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6" name="Freeform 415">
                <a:extLst>
                  <a:ext uri="{FF2B5EF4-FFF2-40B4-BE49-F238E27FC236}">
                    <a16:creationId xmlns:a16="http://schemas.microsoft.com/office/drawing/2014/main" id="{4D027D3E-A3DA-3D30-C9E2-C4B6E5A887CA}"/>
                  </a:ext>
                </a:extLst>
              </p:cNvPr>
              <p:cNvSpPr/>
              <p:nvPr/>
            </p:nvSpPr>
            <p:spPr>
              <a:xfrm>
                <a:off x="6260129"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7" name="Freeform 416">
                <a:extLst>
                  <a:ext uri="{FF2B5EF4-FFF2-40B4-BE49-F238E27FC236}">
                    <a16:creationId xmlns:a16="http://schemas.microsoft.com/office/drawing/2014/main" id="{6CFB896A-7AFB-AB69-8540-0FECE112A5B3}"/>
                  </a:ext>
                </a:extLst>
              </p:cNvPr>
              <p:cNvSpPr/>
              <p:nvPr/>
            </p:nvSpPr>
            <p:spPr>
              <a:xfrm>
                <a:off x="6199437"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8" name="Freeform 417">
                <a:extLst>
                  <a:ext uri="{FF2B5EF4-FFF2-40B4-BE49-F238E27FC236}">
                    <a16:creationId xmlns:a16="http://schemas.microsoft.com/office/drawing/2014/main" id="{5A322D02-6C38-9AD4-6FE5-7ABF4BF5CAE7}"/>
                  </a:ext>
                </a:extLst>
              </p:cNvPr>
              <p:cNvSpPr/>
              <p:nvPr/>
            </p:nvSpPr>
            <p:spPr>
              <a:xfrm>
                <a:off x="61388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9" name="Freeform 418">
                <a:extLst>
                  <a:ext uri="{FF2B5EF4-FFF2-40B4-BE49-F238E27FC236}">
                    <a16:creationId xmlns:a16="http://schemas.microsoft.com/office/drawing/2014/main" id="{0C4FE449-05BF-8A8B-84C0-88931B9F6C35}"/>
                  </a:ext>
                </a:extLst>
              </p:cNvPr>
              <p:cNvSpPr/>
              <p:nvPr/>
            </p:nvSpPr>
            <p:spPr>
              <a:xfrm>
                <a:off x="6078108"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20" name="Freeform 419">
                <a:extLst>
                  <a:ext uri="{FF2B5EF4-FFF2-40B4-BE49-F238E27FC236}">
                    <a16:creationId xmlns:a16="http://schemas.microsoft.com/office/drawing/2014/main" id="{D429AF07-8527-2A1D-8EFC-F9A8DE514387}"/>
                  </a:ext>
                </a:extLst>
              </p:cNvPr>
              <p:cNvSpPr/>
              <p:nvPr/>
            </p:nvSpPr>
            <p:spPr>
              <a:xfrm>
                <a:off x="6017472"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grpSp>
      </p:grpSp>
      <p:sp>
        <p:nvSpPr>
          <p:cNvPr id="14" name="Title 457">
            <a:extLst>
              <a:ext uri="{FF2B5EF4-FFF2-40B4-BE49-F238E27FC236}">
                <a16:creationId xmlns:a16="http://schemas.microsoft.com/office/drawing/2014/main" id="{38762ECD-64F3-FF94-11E5-AE1D93CBDC15}"/>
              </a:ext>
            </a:extLst>
          </p:cNvPr>
          <p:cNvSpPr>
            <a:spLocks noGrp="1"/>
          </p:cNvSpPr>
          <p:nvPr>
            <p:ph type="title"/>
          </p:nvPr>
        </p:nvSpPr>
        <p:spPr/>
        <p:txBody>
          <a:bodyPr/>
          <a:lstStyle/>
          <a:p>
            <a:r>
              <a:rPr lang="sv-SE" dirty="0">
                <a:solidFill>
                  <a:schemeClr val="bg1"/>
                </a:solidFill>
              </a:rPr>
              <a:t>Flexibilitet i processen</a:t>
            </a:r>
          </a:p>
        </p:txBody>
      </p:sp>
      <p:sp>
        <p:nvSpPr>
          <p:cNvPr id="18" name="TextBox 17">
            <a:extLst>
              <a:ext uri="{FF2B5EF4-FFF2-40B4-BE49-F238E27FC236}">
                <a16:creationId xmlns:a16="http://schemas.microsoft.com/office/drawing/2014/main" id="{016B7131-AD51-935A-EF93-AAB5DE156A3D}"/>
              </a:ext>
            </a:extLst>
          </p:cNvPr>
          <p:cNvSpPr txBox="1"/>
          <p:nvPr/>
        </p:nvSpPr>
        <p:spPr>
          <a:xfrm>
            <a:off x="546101" y="1788239"/>
            <a:ext cx="3505031" cy="1395254"/>
          </a:xfrm>
          <a:prstGeom prst="rect">
            <a:avLst/>
          </a:prstGeom>
          <a:noFill/>
        </p:spPr>
        <p:txBody>
          <a:bodyPr wrap="square" lIns="0" tIns="0" rIns="0" bIns="0" rtlCol="0">
            <a:spAutoFit/>
          </a:bodyPr>
          <a:lstStyle/>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Elnät under belastning</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Höga elpriser</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Lagret förser den industriella processen med vätgas</a:t>
            </a:r>
          </a:p>
        </p:txBody>
      </p:sp>
      <p:cxnSp>
        <p:nvCxnSpPr>
          <p:cNvPr id="19" name="Straight Connector 18">
            <a:extLst>
              <a:ext uri="{FF2B5EF4-FFF2-40B4-BE49-F238E27FC236}">
                <a16:creationId xmlns:a16="http://schemas.microsoft.com/office/drawing/2014/main" id="{614D25F5-3D0E-7AF9-1798-67BFB1C2CCF1}"/>
              </a:ext>
            </a:extLst>
          </p:cNvPr>
          <p:cNvCxnSpPr>
            <a:cxnSpLocks/>
          </p:cNvCxnSpPr>
          <p:nvPr/>
        </p:nvCxnSpPr>
        <p:spPr>
          <a:xfrm>
            <a:off x="558800" y="3478167"/>
            <a:ext cx="138656" cy="0"/>
          </a:xfrm>
          <a:prstGeom prst="line">
            <a:avLst/>
          </a:prstGeom>
          <a:ln w="28575"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6356BE-4A85-D12B-32DD-98A6693A6F3E}"/>
              </a:ext>
            </a:extLst>
          </p:cNvPr>
          <p:cNvCxnSpPr>
            <a:cxnSpLocks/>
          </p:cNvCxnSpPr>
          <p:nvPr/>
        </p:nvCxnSpPr>
        <p:spPr>
          <a:xfrm>
            <a:off x="558800" y="3740081"/>
            <a:ext cx="138656" cy="0"/>
          </a:xfrm>
          <a:prstGeom prst="line">
            <a:avLst/>
          </a:prstGeom>
          <a:ln w="28575" cap="rnd">
            <a:solidFill>
              <a:srgbClr val="F27B21"/>
            </a:solidFill>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1FC708-A517-966D-169A-53FE5CEB753F}"/>
              </a:ext>
            </a:extLst>
          </p:cNvPr>
          <p:cNvSpPr txBox="1"/>
          <p:nvPr/>
        </p:nvSpPr>
        <p:spPr>
          <a:xfrm>
            <a:off x="840478" y="3358170"/>
            <a:ext cx="823660" cy="239993"/>
          </a:xfrm>
          <a:prstGeom prst="rect">
            <a:avLst/>
          </a:prstGeom>
          <a:noFill/>
        </p:spPr>
        <p:txBody>
          <a:bodyPr wrap="square" lIns="0" tIns="36000" rIns="0" bIns="36000" rtlCol="0" anchor="ctr">
            <a:spAutoFit/>
          </a:bodyPr>
          <a:lstStyle/>
          <a:p>
            <a:pPr>
              <a:lnSpc>
                <a:spcPct val="90000"/>
              </a:lnSpc>
            </a:pPr>
            <a:r>
              <a:rPr lang="sv-SE" sz="1200" dirty="0">
                <a:solidFill>
                  <a:schemeClr val="accent4"/>
                </a:solidFill>
              </a:rPr>
              <a:t>EL</a:t>
            </a:r>
            <a:endParaRPr lang="sv-SE" sz="1200" baseline="-25000" dirty="0">
              <a:solidFill>
                <a:schemeClr val="accent4"/>
              </a:solidFill>
            </a:endParaRPr>
          </a:p>
        </p:txBody>
      </p:sp>
      <p:sp>
        <p:nvSpPr>
          <p:cNvPr id="22" name="TextBox 21">
            <a:extLst>
              <a:ext uri="{FF2B5EF4-FFF2-40B4-BE49-F238E27FC236}">
                <a16:creationId xmlns:a16="http://schemas.microsoft.com/office/drawing/2014/main" id="{1985FED0-1C8C-5B84-9B62-5E52ED9891B9}"/>
              </a:ext>
            </a:extLst>
          </p:cNvPr>
          <p:cNvSpPr txBox="1"/>
          <p:nvPr/>
        </p:nvSpPr>
        <p:spPr>
          <a:xfrm>
            <a:off x="840478" y="3620084"/>
            <a:ext cx="823660" cy="239993"/>
          </a:xfrm>
          <a:prstGeom prst="rect">
            <a:avLst/>
          </a:prstGeom>
          <a:noFill/>
        </p:spPr>
        <p:txBody>
          <a:bodyPr wrap="square" lIns="0" tIns="36000" rIns="0" bIns="36000" rtlCol="0" anchor="ctr">
            <a:spAutoFit/>
          </a:bodyPr>
          <a:lstStyle/>
          <a:p>
            <a:pPr>
              <a:lnSpc>
                <a:spcPct val="90000"/>
              </a:lnSpc>
            </a:pPr>
            <a:r>
              <a:rPr lang="sv-SE" sz="1200" spc="50" dirty="0">
                <a:solidFill>
                  <a:schemeClr val="bg1"/>
                </a:solidFill>
              </a:rPr>
              <a:t>VÄTGAS</a:t>
            </a:r>
          </a:p>
        </p:txBody>
      </p:sp>
      <p:sp>
        <p:nvSpPr>
          <p:cNvPr id="2" name="TextBox 1">
            <a:extLst>
              <a:ext uri="{FF2B5EF4-FFF2-40B4-BE49-F238E27FC236}">
                <a16:creationId xmlns:a16="http://schemas.microsoft.com/office/drawing/2014/main" id="{1F0CB6FF-941E-6EF3-EF9F-FC7CE2CBEB59}"/>
              </a:ext>
            </a:extLst>
          </p:cNvPr>
          <p:cNvSpPr txBox="1"/>
          <p:nvPr/>
        </p:nvSpPr>
        <p:spPr>
          <a:xfrm>
            <a:off x="6057132"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ELEKTROLYSÖR</a:t>
            </a:r>
            <a:endParaRPr lang="sv-SE" sz="800" baseline="-25000" dirty="0">
              <a:solidFill>
                <a:schemeClr val="bg1"/>
              </a:solidFill>
            </a:endParaRPr>
          </a:p>
        </p:txBody>
      </p:sp>
      <p:sp>
        <p:nvSpPr>
          <p:cNvPr id="4" name="!!Mask" hidden="1">
            <a:extLst>
              <a:ext uri="{FF2B5EF4-FFF2-40B4-BE49-F238E27FC236}">
                <a16:creationId xmlns:a16="http://schemas.microsoft.com/office/drawing/2014/main" id="{6AE971DC-1A83-5C70-1F1D-E7BD53138D9A}"/>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48175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22" presetClass="entr" presetSubtype="4" fill="hold" nodeType="withEffect">
                                  <p:stCondLst>
                                    <p:cond delay="0"/>
                                  </p:stCondLst>
                                  <p:childTnLst>
                                    <p:set>
                                      <p:cBhvr>
                                        <p:cTn id="9" dur="1" fill="hold">
                                          <p:stCondLst>
                                            <p:cond delay="0"/>
                                          </p:stCondLst>
                                        </p:cTn>
                                        <p:tgtEl>
                                          <p:spTgt spid="371"/>
                                        </p:tgtEl>
                                        <p:attrNameLst>
                                          <p:attrName>style.visibility</p:attrName>
                                        </p:attrNameLst>
                                      </p:cBhvr>
                                      <p:to>
                                        <p:strVal val="visible"/>
                                      </p:to>
                                    </p:set>
                                    <p:animEffect transition="in" filter="wipe(down)">
                                      <p:cBhvr>
                                        <p:cTn id="10" dur="500"/>
                                        <p:tgtEl>
                                          <p:spTgt spid="371"/>
                                        </p:tgtEl>
                                      </p:cBhvr>
                                    </p:animEffect>
                                  </p:childTnLst>
                                </p:cTn>
                              </p:par>
                              <p:par>
                                <p:cTn id="11" presetID="22" presetClass="entr" presetSubtype="8" fill="hold" nodeType="withEffect">
                                  <p:stCondLst>
                                    <p:cond delay="0"/>
                                  </p:stCondLst>
                                  <p:childTnLst>
                                    <p:set>
                                      <p:cBhvr>
                                        <p:cTn id="12" dur="1" fill="hold">
                                          <p:stCondLst>
                                            <p:cond delay="0"/>
                                          </p:stCondLst>
                                        </p:cTn>
                                        <p:tgtEl>
                                          <p:spTgt spid="368"/>
                                        </p:tgtEl>
                                        <p:attrNameLst>
                                          <p:attrName>style.visibility</p:attrName>
                                        </p:attrNameLst>
                                      </p:cBhvr>
                                      <p:to>
                                        <p:strVal val="visible"/>
                                      </p:to>
                                    </p:set>
                                    <p:animEffect transition="in" filter="wipe(left)">
                                      <p:cBhvr>
                                        <p:cTn id="13" dur="500"/>
                                        <p:tgtEl>
                                          <p:spTgt spid="368"/>
                                        </p:tgtEl>
                                      </p:cBhvr>
                                    </p:animEffect>
                                  </p:childTnLst>
                                </p:cTn>
                              </p:par>
                              <p:par>
                                <p:cTn id="14" presetID="18" presetClass="entr" presetSubtype="3" fill="hold" grpId="0" nodeType="withEffect">
                                  <p:stCondLst>
                                    <p:cond delay="1000"/>
                                  </p:stCondLst>
                                  <p:childTnLst>
                                    <p:set>
                                      <p:cBhvr>
                                        <p:cTn id="15" dur="1" fill="hold">
                                          <p:stCondLst>
                                            <p:cond delay="0"/>
                                          </p:stCondLst>
                                        </p:cTn>
                                        <p:tgtEl>
                                          <p:spTgt spid="12"/>
                                        </p:tgtEl>
                                        <p:attrNameLst>
                                          <p:attrName>style.visibility</p:attrName>
                                        </p:attrNameLst>
                                      </p:cBhvr>
                                      <p:to>
                                        <p:strVal val="visible"/>
                                      </p:to>
                                    </p:set>
                                    <p:animEffect transition="in" filter="strips(upRight)">
                                      <p:cBhvr>
                                        <p:cTn id="16" dur="1500"/>
                                        <p:tgtEl>
                                          <p:spTgt spid="12"/>
                                        </p:tgtEl>
                                      </p:cBhvr>
                                    </p:animEffect>
                                  </p:childTnLst>
                                </p:cTn>
                              </p:par>
                              <p:par>
                                <p:cTn id="17" presetID="18" presetClass="exit" presetSubtype="12" fill="hold" grpId="1" nodeType="withEffect">
                                  <p:stCondLst>
                                    <p:cond delay="2500"/>
                                  </p:stCondLst>
                                  <p:childTnLst>
                                    <p:animEffect transition="out" filter="strips(downLeft)">
                                      <p:cBhvr>
                                        <p:cTn id="18" dur="1500"/>
                                        <p:tgtEl>
                                          <p:spTgt spid="12"/>
                                        </p:tgtEl>
                                      </p:cBhvr>
                                    </p:animEffect>
                                    <p:set>
                                      <p:cBhvr>
                                        <p:cTn id="19" dur="1" fill="hold">
                                          <p:stCondLst>
                                            <p:cond delay="1499"/>
                                          </p:stCondLst>
                                        </p:cTn>
                                        <p:tgtEl>
                                          <p:spTgt spid="12"/>
                                        </p:tgtEl>
                                        <p:attrNameLst>
                                          <p:attrName>style.visibility</p:attrName>
                                        </p:attrNameLst>
                                      </p:cBhvr>
                                      <p:to>
                                        <p:strVal val="hidden"/>
                                      </p:to>
                                    </p:set>
                                  </p:childTnLst>
                                </p:cTn>
                              </p:par>
                              <p:par>
                                <p:cTn id="20" presetID="18" presetClass="entr" presetSubtype="3" fill="hold" grpId="2" nodeType="withEffect">
                                  <p:stCondLst>
                                    <p:cond delay="4000"/>
                                  </p:stCondLst>
                                  <p:childTnLst>
                                    <p:set>
                                      <p:cBhvr>
                                        <p:cTn id="21" dur="1" fill="hold">
                                          <p:stCondLst>
                                            <p:cond delay="0"/>
                                          </p:stCondLst>
                                        </p:cTn>
                                        <p:tgtEl>
                                          <p:spTgt spid="12"/>
                                        </p:tgtEl>
                                        <p:attrNameLst>
                                          <p:attrName>style.visibility</p:attrName>
                                        </p:attrNameLst>
                                      </p:cBhvr>
                                      <p:to>
                                        <p:strVal val="visible"/>
                                      </p:to>
                                    </p:set>
                                    <p:animEffect transition="in" filter="strips(upRight)">
                                      <p:cBhvr>
                                        <p:cTn id="22" dur="1500"/>
                                        <p:tgtEl>
                                          <p:spTgt spid="12"/>
                                        </p:tgtEl>
                                      </p:cBhvr>
                                    </p:animEffect>
                                  </p:childTnLst>
                                </p:cTn>
                              </p:par>
                              <p:par>
                                <p:cTn id="23" presetID="18" presetClass="exit" presetSubtype="12" fill="hold" grpId="3" nodeType="withEffect">
                                  <p:stCondLst>
                                    <p:cond delay="5500"/>
                                  </p:stCondLst>
                                  <p:childTnLst>
                                    <p:animEffect transition="out" filter="strips(downLeft)">
                                      <p:cBhvr>
                                        <p:cTn id="24" dur="1500"/>
                                        <p:tgtEl>
                                          <p:spTgt spid="12"/>
                                        </p:tgtEl>
                                      </p:cBhvr>
                                    </p:animEffect>
                                    <p:set>
                                      <p:cBhvr>
                                        <p:cTn id="25" dur="1" fill="hold">
                                          <p:stCondLst>
                                            <p:cond delay="1499"/>
                                          </p:stCondLst>
                                        </p:cTn>
                                        <p:tgtEl>
                                          <p:spTgt spid="12"/>
                                        </p:tgtEl>
                                        <p:attrNameLst>
                                          <p:attrName>style.visibility</p:attrName>
                                        </p:attrNameLst>
                                      </p:cBhvr>
                                      <p:to>
                                        <p:strVal val="hidden"/>
                                      </p:to>
                                    </p:set>
                                  </p:childTnLst>
                                </p:cTn>
                              </p:par>
                              <p:par>
                                <p:cTn id="26" presetID="18" presetClass="entr" presetSubtype="3" fill="hold" grpId="4" nodeType="withEffect">
                                  <p:stCondLst>
                                    <p:cond delay="7000"/>
                                  </p:stCondLst>
                                  <p:childTnLst>
                                    <p:set>
                                      <p:cBhvr>
                                        <p:cTn id="27" dur="1" fill="hold">
                                          <p:stCondLst>
                                            <p:cond delay="0"/>
                                          </p:stCondLst>
                                        </p:cTn>
                                        <p:tgtEl>
                                          <p:spTgt spid="12"/>
                                        </p:tgtEl>
                                        <p:attrNameLst>
                                          <p:attrName>style.visibility</p:attrName>
                                        </p:attrNameLst>
                                      </p:cBhvr>
                                      <p:to>
                                        <p:strVal val="visible"/>
                                      </p:to>
                                    </p:set>
                                    <p:animEffect transition="in" filter="strips(upRight)">
                                      <p:cBhvr>
                                        <p:cTn id="28" dur="1500"/>
                                        <p:tgtEl>
                                          <p:spTgt spid="12"/>
                                        </p:tgtEl>
                                      </p:cBhvr>
                                    </p:animEffect>
                                  </p:childTnLst>
                                </p:cTn>
                              </p:par>
                              <p:par>
                                <p:cTn id="29" presetID="18" presetClass="exit" presetSubtype="12" fill="hold" grpId="5" nodeType="withEffect">
                                  <p:stCondLst>
                                    <p:cond delay="8500"/>
                                  </p:stCondLst>
                                  <p:childTnLst>
                                    <p:animEffect transition="out" filter="strips(downLeft)">
                                      <p:cBhvr>
                                        <p:cTn id="30" dur="1500"/>
                                        <p:tgtEl>
                                          <p:spTgt spid="12"/>
                                        </p:tgtEl>
                                      </p:cBhvr>
                                    </p:animEffect>
                                    <p:set>
                                      <p:cBhvr>
                                        <p:cTn id="31" dur="1" fill="hold">
                                          <p:stCondLst>
                                            <p:cond delay="1499"/>
                                          </p:stCondLst>
                                        </p:cTn>
                                        <p:tgtEl>
                                          <p:spTgt spid="12"/>
                                        </p:tgtEl>
                                        <p:attrNameLst>
                                          <p:attrName>style.visibility</p:attrName>
                                        </p:attrNameLst>
                                      </p:cBhvr>
                                      <p:to>
                                        <p:strVal val="hidden"/>
                                      </p:to>
                                    </p:set>
                                  </p:childTnLst>
                                </p:cTn>
                              </p:par>
                              <p:par>
                                <p:cTn id="32" presetID="18" presetClass="entr" presetSubtype="3" fill="hold" grpId="6" nodeType="withEffect">
                                  <p:stCondLst>
                                    <p:cond delay="10000"/>
                                  </p:stCondLst>
                                  <p:childTnLst>
                                    <p:set>
                                      <p:cBhvr>
                                        <p:cTn id="33" dur="1" fill="hold">
                                          <p:stCondLst>
                                            <p:cond delay="0"/>
                                          </p:stCondLst>
                                        </p:cTn>
                                        <p:tgtEl>
                                          <p:spTgt spid="12"/>
                                        </p:tgtEl>
                                        <p:attrNameLst>
                                          <p:attrName>style.visibility</p:attrName>
                                        </p:attrNameLst>
                                      </p:cBhvr>
                                      <p:to>
                                        <p:strVal val="visible"/>
                                      </p:to>
                                    </p:set>
                                    <p:animEffect transition="in" filter="strips(upRight)">
                                      <p:cBhvr>
                                        <p:cTn id="34" dur="1500"/>
                                        <p:tgtEl>
                                          <p:spTgt spid="12"/>
                                        </p:tgtEl>
                                      </p:cBhvr>
                                    </p:animEffect>
                                  </p:childTnLst>
                                </p:cTn>
                              </p:par>
                              <p:par>
                                <p:cTn id="35" presetID="1" presetClass="emph" presetSubtype="2" fill="hold" nodeType="withEffect">
                                  <p:stCondLst>
                                    <p:cond delay="1000"/>
                                  </p:stCondLst>
                                  <p:childTnLst>
                                    <p:animClr clrSpc="rgb" dir="cw">
                                      <p:cBhvr>
                                        <p:cTn id="36" dur="10000" fill="hold"/>
                                        <p:tgtEl>
                                          <p:spTgt spid="3"/>
                                        </p:tgtEl>
                                        <p:attrNameLst>
                                          <p:attrName>fillcolor</p:attrName>
                                        </p:attrNameLst>
                                      </p:cBhvr>
                                      <p:to>
                                        <a:srgbClr val="FED78B"/>
                                      </p:to>
                                    </p:animClr>
                                    <p:set>
                                      <p:cBhvr>
                                        <p:cTn id="37" dur="10000" fill="hold"/>
                                        <p:tgtEl>
                                          <p:spTgt spid="3"/>
                                        </p:tgtEl>
                                        <p:attrNameLst>
                                          <p:attrName>fill.type</p:attrName>
                                        </p:attrNameLst>
                                      </p:cBhvr>
                                      <p:to>
                                        <p:strVal val="solid"/>
                                      </p:to>
                                    </p:set>
                                    <p:set>
                                      <p:cBhvr>
                                        <p:cTn id="38" dur="10000" fill="hold"/>
                                        <p:tgtEl>
                                          <p:spTgt spid="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0A53530E-F014-EA91-2CC7-66CA5F3ECCFD}"/>
            </a:ext>
          </a:extLst>
        </p:cNvPr>
        <p:cNvGrpSpPr/>
        <p:nvPr/>
      </p:nvGrpSpPr>
      <p:grpSpPr>
        <a:xfrm>
          <a:off x="0" y="0"/>
          <a:ext cx="0" cy="0"/>
          <a:chOff x="0" y="0"/>
          <a:chExt cx="0" cy="0"/>
        </a:xfrm>
      </p:grpSpPr>
      <p:pic>
        <p:nvPicPr>
          <p:cNvPr id="3" name="!!Building" descr="A black background with a light&#10;&#10;Description automatically generated">
            <a:extLst>
              <a:ext uri="{FF2B5EF4-FFF2-40B4-BE49-F238E27FC236}">
                <a16:creationId xmlns:a16="http://schemas.microsoft.com/office/drawing/2014/main" id="{E9046A97-55FE-9C2F-801B-789B1BC2410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4766" y="0"/>
            <a:ext cx="16856766" cy="6858000"/>
          </a:xfrm>
          <a:prstGeom prst="rect">
            <a:avLst/>
          </a:prstGeom>
        </p:spPr>
      </p:pic>
      <p:grpSp>
        <p:nvGrpSpPr>
          <p:cNvPr id="257" name="!!Hybrit_logo">
            <a:extLst>
              <a:ext uri="{FF2B5EF4-FFF2-40B4-BE49-F238E27FC236}">
                <a16:creationId xmlns:a16="http://schemas.microsoft.com/office/drawing/2014/main" id="{6938E395-1631-BE06-BBAA-BB141B12FAFE}"/>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6F4CC362-FEFE-CC82-22BE-44DAB1F3C55E}"/>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5A652B5A-7E55-18EB-1D0A-AF4289F7D0A2}"/>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11326861-0B11-B5C5-3AFD-133B31331BAF}"/>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D55C8A98-411A-7E56-46C3-7699CB6DF787}"/>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22B5C327-4FAC-2D03-05EC-DEF57B164CDD}"/>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6" name="!!TextBox 5">
            <a:extLst>
              <a:ext uri="{FF2B5EF4-FFF2-40B4-BE49-F238E27FC236}">
                <a16:creationId xmlns:a16="http://schemas.microsoft.com/office/drawing/2014/main" id="{AD3E19D7-7432-7B06-F443-3439DAC9409C}"/>
              </a:ext>
            </a:extLst>
          </p:cNvPr>
          <p:cNvSpPr txBox="1"/>
          <p:nvPr/>
        </p:nvSpPr>
        <p:spPr>
          <a:xfrm>
            <a:off x="546101" y="3153775"/>
            <a:ext cx="5405438" cy="830997"/>
          </a:xfrm>
          <a:prstGeom prst="rect">
            <a:avLst/>
          </a:prstGeom>
          <a:noFill/>
        </p:spPr>
        <p:txBody>
          <a:bodyPr wrap="square" lIns="0" tIns="0" rIns="0" bIns="0" rtlCol="0">
            <a:spAutoFit/>
          </a:bodyPr>
          <a:lstStyle/>
          <a:p>
            <a:pPr marL="285750" lvl="0" indent="-285750">
              <a:buBlip>
                <a:blip r:embed="rId4">
                  <a:extLst>
                    <a:ext uri="{96DAC541-7B7A-43D3-8B79-37D633B846F1}">
                      <asvg:svgBlip xmlns:asvg="http://schemas.microsoft.com/office/drawing/2016/SVG/main" r:embed="rId5"/>
                    </a:ext>
                  </a:extLst>
                </a:blip>
              </a:buBlip>
              <a:defRPr/>
            </a:pPr>
            <a:r>
              <a:rPr lang="sv-SE" dirty="0">
                <a:solidFill>
                  <a:srgbClr val="FFFFFF"/>
                </a:solidFill>
              </a:rPr>
              <a:t>Det tekniska utvecklingsarbetet i projektet har tagit sin utgångspunkt i kunskap och erfarenheter från tidigare utveckling av LRC-lager</a:t>
            </a:r>
            <a:endParaRPr kumimoji="0" lang="sv-SE" sz="18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4" name="!!Title lagring">
            <a:extLst>
              <a:ext uri="{FF2B5EF4-FFF2-40B4-BE49-F238E27FC236}">
                <a16:creationId xmlns:a16="http://schemas.microsoft.com/office/drawing/2014/main" id="{B821F751-2AC5-7E28-C3C8-6EAECF0E0C94}"/>
              </a:ext>
            </a:extLst>
          </p:cNvPr>
          <p:cNvSpPr>
            <a:spLocks noGrp="1"/>
          </p:cNvSpPr>
          <p:nvPr>
            <p:ph type="title"/>
          </p:nvPr>
        </p:nvSpPr>
        <p:spPr>
          <a:xfrm>
            <a:off x="546100" y="742875"/>
            <a:ext cx="10080625" cy="2003500"/>
          </a:xfrm>
        </p:spPr>
        <p:txBody>
          <a:bodyPr anchor="b"/>
          <a:lstStyle/>
          <a:p>
            <a:r>
              <a:rPr lang="sv-SE" sz="5000" dirty="0">
                <a:solidFill>
                  <a:schemeClr val="bg1"/>
                </a:solidFill>
              </a:rPr>
              <a:t>Vätgaslagring </a:t>
            </a:r>
            <a:br>
              <a:rPr lang="sv-SE" sz="5000" dirty="0">
                <a:solidFill>
                  <a:schemeClr val="bg1"/>
                </a:solidFill>
              </a:rPr>
            </a:br>
            <a:r>
              <a:rPr lang="sv-SE" sz="5000" dirty="0">
                <a:solidFill>
                  <a:schemeClr val="bg1"/>
                </a:solidFill>
              </a:rPr>
              <a:t>i bergrum med </a:t>
            </a:r>
            <a:br>
              <a:rPr lang="sv-SE" sz="5000" dirty="0">
                <a:solidFill>
                  <a:schemeClr val="bg1"/>
                </a:solidFill>
              </a:rPr>
            </a:br>
            <a:r>
              <a:rPr lang="sv-SE" sz="5000" dirty="0">
                <a:solidFill>
                  <a:schemeClr val="bg1"/>
                </a:solidFill>
              </a:rPr>
              <a:t>LRC-teknik </a:t>
            </a:r>
          </a:p>
        </p:txBody>
      </p:sp>
      <p:sp>
        <p:nvSpPr>
          <p:cNvPr id="5" name="!!Mask">
            <a:extLst>
              <a:ext uri="{FF2B5EF4-FFF2-40B4-BE49-F238E27FC236}">
                <a16:creationId xmlns:a16="http://schemas.microsoft.com/office/drawing/2014/main" id="{BC360DA6-2693-158C-87D9-17E7D23CB151}"/>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06059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6AE80B10-E8C4-0F64-8365-29FAA807D0E1}"/>
            </a:ext>
          </a:extLst>
        </p:cNvPr>
        <p:cNvGrpSpPr/>
        <p:nvPr/>
      </p:nvGrpSpPr>
      <p:grpSpPr>
        <a:xfrm>
          <a:off x="0" y="0"/>
          <a:ext cx="0" cy="0"/>
          <a:chOff x="0" y="0"/>
          <a:chExt cx="0" cy="0"/>
        </a:xfrm>
      </p:grpSpPr>
      <p:pic>
        <p:nvPicPr>
          <p:cNvPr id="2" name="!!Building" descr="A black background with a light&#10;&#10;Description automatically generated">
            <a:extLst>
              <a:ext uri="{FF2B5EF4-FFF2-40B4-BE49-F238E27FC236}">
                <a16:creationId xmlns:a16="http://schemas.microsoft.com/office/drawing/2014/main" id="{7C4FC1D6-F0D8-DBC0-21C7-119CA7654C5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6856766" cy="6858000"/>
          </a:xfrm>
          <a:prstGeom prst="rect">
            <a:avLst/>
          </a:prstGeom>
        </p:spPr>
      </p:pic>
      <p:sp>
        <p:nvSpPr>
          <p:cNvPr id="20" name="Rounded Rectangle 19">
            <a:extLst>
              <a:ext uri="{FF2B5EF4-FFF2-40B4-BE49-F238E27FC236}">
                <a16:creationId xmlns:a16="http://schemas.microsoft.com/office/drawing/2014/main" id="{18EA4A48-EE5A-30F7-E639-463BBB0BBAAB}"/>
              </a:ext>
            </a:extLst>
          </p:cNvPr>
          <p:cNvSpPr/>
          <p:nvPr/>
        </p:nvSpPr>
        <p:spPr>
          <a:xfrm>
            <a:off x="53638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ounded Rectangle 20">
            <a:extLst>
              <a:ext uri="{FF2B5EF4-FFF2-40B4-BE49-F238E27FC236}">
                <a16:creationId xmlns:a16="http://schemas.microsoft.com/office/drawing/2014/main" id="{57985393-8069-AB0E-004B-D960F53BB69B}"/>
              </a:ext>
            </a:extLst>
          </p:cNvPr>
          <p:cNvSpPr/>
          <p:nvPr/>
        </p:nvSpPr>
        <p:spPr>
          <a:xfrm>
            <a:off x="446124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ounded Rectangle 21">
            <a:extLst>
              <a:ext uri="{FF2B5EF4-FFF2-40B4-BE49-F238E27FC236}">
                <a16:creationId xmlns:a16="http://schemas.microsoft.com/office/drawing/2014/main" id="{4F26590D-9C16-414F-2A54-7A24B50938EB}"/>
              </a:ext>
            </a:extLst>
          </p:cNvPr>
          <p:cNvSpPr/>
          <p:nvPr/>
        </p:nvSpPr>
        <p:spPr>
          <a:xfrm>
            <a:off x="8386101"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257" name="!!Hybrit_logo">
            <a:extLst>
              <a:ext uri="{FF2B5EF4-FFF2-40B4-BE49-F238E27FC236}">
                <a16:creationId xmlns:a16="http://schemas.microsoft.com/office/drawing/2014/main" id="{B0A83E7E-2333-9A5A-C995-3D6F8CC2D07E}"/>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B9C13F41-BDF6-1F49-E44D-A7C004F75524}"/>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D98BAEF3-7337-E51D-312B-FF84E03C04B0}"/>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8C0961D2-24CC-E4F8-8D8B-FF94FD5AD36A}"/>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3C30F67C-C968-A1FC-79CA-7720B3B934FB}"/>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C786319E-ED83-D7A2-70CF-54BF484CBDEB}"/>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5" name="!!Title 6">
            <a:extLst>
              <a:ext uri="{FF2B5EF4-FFF2-40B4-BE49-F238E27FC236}">
                <a16:creationId xmlns:a16="http://schemas.microsoft.com/office/drawing/2014/main" id="{418D76F3-6760-1D8A-9C38-B8B5F944D748}"/>
              </a:ext>
            </a:extLst>
          </p:cNvPr>
          <p:cNvSpPr>
            <a:spLocks noGrp="1"/>
          </p:cNvSpPr>
          <p:nvPr>
            <p:ph type="title"/>
          </p:nvPr>
        </p:nvSpPr>
        <p:spPr>
          <a:xfrm>
            <a:off x="546100" y="752400"/>
            <a:ext cx="6586220" cy="1356708"/>
          </a:xfrm>
        </p:spPr>
        <p:txBody>
          <a:bodyPr anchor="t">
            <a:noAutofit/>
          </a:bodyPr>
          <a:lstStyle/>
          <a:p>
            <a:r>
              <a:rPr lang="sv-SE" dirty="0">
                <a:solidFill>
                  <a:schemeClr val="bg1"/>
                </a:solidFill>
              </a:rPr>
              <a:t>LRC, </a:t>
            </a:r>
            <a:r>
              <a:rPr lang="sv-SE" dirty="0" err="1">
                <a:solidFill>
                  <a:schemeClr val="bg1"/>
                </a:solidFill>
              </a:rPr>
              <a:t>Lined</a:t>
            </a:r>
            <a:r>
              <a:rPr lang="sv-SE" dirty="0">
                <a:solidFill>
                  <a:schemeClr val="bg1"/>
                </a:solidFill>
              </a:rPr>
              <a:t> rock </a:t>
            </a:r>
            <a:r>
              <a:rPr lang="sv-SE" dirty="0" err="1">
                <a:solidFill>
                  <a:schemeClr val="bg1"/>
                </a:solidFill>
              </a:rPr>
              <a:t>cavern</a:t>
            </a:r>
            <a:r>
              <a:rPr lang="sv-SE" dirty="0">
                <a:solidFill>
                  <a:schemeClr val="bg1"/>
                </a:solidFill>
              </a:rPr>
              <a:t>, inklädda bergrum</a:t>
            </a:r>
            <a:br>
              <a:rPr lang="sv-SE" dirty="0">
                <a:solidFill>
                  <a:schemeClr val="bg1"/>
                </a:solidFill>
              </a:rPr>
            </a:br>
            <a:endParaRPr lang="sv-SE" dirty="0">
              <a:solidFill>
                <a:schemeClr val="bg1"/>
              </a:solidFill>
            </a:endParaRPr>
          </a:p>
        </p:txBody>
      </p:sp>
      <p:grpSp>
        <p:nvGrpSpPr>
          <p:cNvPr id="10" name="Group 9">
            <a:extLst>
              <a:ext uri="{FF2B5EF4-FFF2-40B4-BE49-F238E27FC236}">
                <a16:creationId xmlns:a16="http://schemas.microsoft.com/office/drawing/2014/main" id="{A6220457-309C-8CD9-AE1B-6CF6564277C2}"/>
              </a:ext>
            </a:extLst>
          </p:cNvPr>
          <p:cNvGrpSpPr/>
          <p:nvPr/>
        </p:nvGrpSpPr>
        <p:grpSpPr>
          <a:xfrm>
            <a:off x="850761" y="2741768"/>
            <a:ext cx="2635800" cy="2346469"/>
            <a:chOff x="850761" y="2741768"/>
            <a:chExt cx="2635800" cy="2346469"/>
          </a:xfrm>
        </p:grpSpPr>
        <p:sp>
          <p:nvSpPr>
            <p:cNvPr id="3" name="TextBox 2">
              <a:extLst>
                <a:ext uri="{FF2B5EF4-FFF2-40B4-BE49-F238E27FC236}">
                  <a16:creationId xmlns:a16="http://schemas.microsoft.com/office/drawing/2014/main" id="{A4C2394D-4EFC-FA1F-27DD-000764A2E214}"/>
                </a:ext>
              </a:extLst>
            </p:cNvPr>
            <p:cNvSpPr txBox="1"/>
            <p:nvPr/>
          </p:nvSpPr>
          <p:spPr>
            <a:xfrm>
              <a:off x="850761" y="3236448"/>
              <a:ext cx="2635800" cy="1851789"/>
            </a:xfrm>
            <a:prstGeom prst="rect">
              <a:avLst/>
            </a:prstGeom>
            <a:noFill/>
          </p:spPr>
          <p:txBody>
            <a:bodyPr wrap="square" lIns="0" tIns="0" rIns="0" bIns="0" rtlCol="0">
              <a:spAutoFit/>
            </a:bodyPr>
            <a:lstStyle/>
            <a:p>
              <a:pPr lvl="0" algn="ctr">
                <a:spcAft>
                  <a:spcPts val="3400"/>
                </a:spcAft>
                <a:defRPr/>
              </a:pPr>
              <a:r>
                <a:rPr kumimoji="0" lang="sv-SE" sz="2200" b="1" i="0" u="none" strike="noStrike" kern="1200" cap="none" spc="0" normalizeH="0" baseline="0" noProof="0" dirty="0">
                  <a:ln>
                    <a:noFill/>
                  </a:ln>
                  <a:solidFill>
                    <a:srgbClr val="FFFFFF"/>
                  </a:solidFill>
                  <a:effectLst/>
                  <a:uLnTx/>
                  <a:uFillTx/>
                </a:rPr>
                <a:t>Anpassat koncept </a:t>
              </a:r>
              <a:br>
                <a:rPr kumimoji="0" lang="sv-SE" sz="2200" b="1" i="0" u="none" strike="noStrike" kern="1200" cap="none" spc="0" normalizeH="0" baseline="0" noProof="0" dirty="0">
                  <a:ln>
                    <a:noFill/>
                  </a:ln>
                  <a:solidFill>
                    <a:srgbClr val="FFFFFF"/>
                  </a:solidFill>
                  <a:effectLst/>
                  <a:uLnTx/>
                  <a:uFillTx/>
                </a:rPr>
              </a:br>
              <a:r>
                <a:rPr kumimoji="0" lang="sv-SE" sz="2200" b="1" i="0" u="none" strike="noStrike" kern="1200" cap="none" spc="0" normalizeH="0" baseline="0" noProof="0" dirty="0">
                  <a:ln>
                    <a:noFill/>
                  </a:ln>
                  <a:solidFill>
                    <a:srgbClr val="FFFFFF"/>
                  </a:solidFill>
                  <a:effectLst/>
                  <a:uLnTx/>
                  <a:uFillTx/>
                </a:rPr>
                <a:t>för vätgaslagring</a:t>
              </a:r>
              <a:endParaRPr lang="sv-SE" sz="2400" b="1" dirty="0">
                <a:solidFill>
                  <a:srgbClr val="FFFFFF"/>
                </a:solidFill>
              </a:endParaRPr>
            </a:p>
            <a:p>
              <a:pPr lvl="0" algn="ctr">
                <a:spcAft>
                  <a:spcPts val="3400"/>
                </a:spcAft>
                <a:defRPr/>
              </a:pPr>
              <a:r>
                <a:rPr lang="sv-SE" sz="1600" dirty="0">
                  <a:solidFill>
                    <a:srgbClr val="FFFFFF"/>
                  </a:solidFill>
                </a:rPr>
                <a:t>Grundkonceptet har redan demonstrerats i industriell </a:t>
              </a:r>
              <a:br>
                <a:rPr lang="sv-SE" sz="1600" dirty="0">
                  <a:solidFill>
                    <a:srgbClr val="FFFFFF"/>
                  </a:solidFill>
                </a:rPr>
              </a:br>
              <a:r>
                <a:rPr lang="sv-SE" sz="1600" dirty="0">
                  <a:solidFill>
                    <a:srgbClr val="FFFFFF"/>
                  </a:solidFill>
                </a:rPr>
                <a:t>skala för naturgas</a:t>
              </a:r>
              <a:endParaRPr kumimoji="0" lang="sv-SE" sz="1600" b="0" i="0" u="none" strike="noStrike" kern="1200" cap="none" spc="0" normalizeH="0" baseline="0" noProof="0" dirty="0">
                <a:ln>
                  <a:noFill/>
                </a:ln>
                <a:solidFill>
                  <a:srgbClr val="FFFFFF"/>
                </a:solidFill>
                <a:effectLst/>
                <a:uLnTx/>
                <a:uFillTx/>
              </a:endParaRPr>
            </a:p>
          </p:txBody>
        </p:sp>
        <p:sp>
          <p:nvSpPr>
            <p:cNvPr id="7" name="Freeform 6">
              <a:extLst>
                <a:ext uri="{FF2B5EF4-FFF2-40B4-BE49-F238E27FC236}">
                  <a16:creationId xmlns:a16="http://schemas.microsoft.com/office/drawing/2014/main" id="{6695F0AC-FFCC-BBD0-F57B-1D07063E2279}"/>
                </a:ext>
              </a:extLst>
            </p:cNvPr>
            <p:cNvSpPr/>
            <p:nvPr/>
          </p:nvSpPr>
          <p:spPr>
            <a:xfrm>
              <a:off x="2024014"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11" name="Group 10">
            <a:extLst>
              <a:ext uri="{FF2B5EF4-FFF2-40B4-BE49-F238E27FC236}">
                <a16:creationId xmlns:a16="http://schemas.microsoft.com/office/drawing/2014/main" id="{2785538A-460B-F6B9-DA06-02C5BDC6C226}"/>
              </a:ext>
            </a:extLst>
          </p:cNvPr>
          <p:cNvGrpSpPr/>
          <p:nvPr/>
        </p:nvGrpSpPr>
        <p:grpSpPr>
          <a:xfrm>
            <a:off x="4510838" y="2741768"/>
            <a:ext cx="3165366" cy="2346469"/>
            <a:chOff x="4510838" y="2741768"/>
            <a:chExt cx="3165366" cy="2346469"/>
          </a:xfrm>
        </p:grpSpPr>
        <p:sp>
          <p:nvSpPr>
            <p:cNvPr id="4" name="TextBox 3">
              <a:extLst>
                <a:ext uri="{FF2B5EF4-FFF2-40B4-BE49-F238E27FC236}">
                  <a16:creationId xmlns:a16="http://schemas.microsoft.com/office/drawing/2014/main" id="{B541A6D0-D853-EE1F-C597-E3F07A03773A}"/>
                </a:ext>
              </a:extLst>
            </p:cNvPr>
            <p:cNvSpPr txBox="1"/>
            <p:nvPr/>
          </p:nvSpPr>
          <p:spPr>
            <a:xfrm>
              <a:off x="4510838" y="3236448"/>
              <a:ext cx="3165366" cy="1851789"/>
            </a:xfrm>
            <a:prstGeom prst="rect">
              <a:avLst/>
            </a:prstGeom>
            <a:noFill/>
          </p:spPr>
          <p:txBody>
            <a:bodyPr wrap="square" lIns="0" tIns="0" rIns="0" bIns="0" rtlCol="0">
              <a:spAutoFit/>
            </a:bodyPr>
            <a:lstStyle/>
            <a:p>
              <a:pPr lvl="0" algn="ctr">
                <a:spcAft>
                  <a:spcPts val="3400"/>
                </a:spcAft>
                <a:defRPr/>
              </a:pPr>
              <a:r>
                <a:rPr kumimoji="0" lang="sv-SE" sz="2200" b="1" i="0" u="none" strike="noStrike" kern="1200" cap="none" spc="0" normalizeH="0" baseline="0" noProof="0" dirty="0">
                  <a:ln>
                    <a:noFill/>
                  </a:ln>
                  <a:solidFill>
                    <a:srgbClr val="FFFFFF"/>
                  </a:solidFill>
                  <a:effectLst/>
                  <a:uLnTx/>
                  <a:uFillTx/>
                </a:rPr>
                <a:t>Andra krav på</a:t>
              </a:r>
              <a:r>
                <a:rPr kumimoji="0" lang="sv-SE" sz="2200" b="1" i="0" u="none" strike="noStrike" kern="1200" cap="none" spc="0" normalizeH="0" noProof="0" dirty="0">
                  <a:ln>
                    <a:noFill/>
                  </a:ln>
                  <a:solidFill>
                    <a:srgbClr val="FFFFFF"/>
                  </a:solidFill>
                  <a:effectLst/>
                  <a:uLnTx/>
                  <a:uFillTx/>
                </a:rPr>
                <a:t> </a:t>
              </a:r>
              <a:br>
                <a:rPr kumimoji="0" lang="sv-SE" sz="2200" b="1" i="0" u="none" strike="noStrike" kern="1200" cap="none" spc="0" normalizeH="0" noProof="0" dirty="0">
                  <a:ln>
                    <a:noFill/>
                  </a:ln>
                  <a:solidFill>
                    <a:srgbClr val="FFFFFF"/>
                  </a:solidFill>
                  <a:effectLst/>
                  <a:uLnTx/>
                  <a:uFillTx/>
                </a:rPr>
              </a:br>
              <a:r>
                <a:rPr kumimoji="0" lang="sv-SE" sz="2200" b="1" i="0" u="none" strike="noStrike" kern="1200" cap="none" spc="0" normalizeH="0" noProof="0" dirty="0">
                  <a:ln>
                    <a:noFill/>
                  </a:ln>
                  <a:solidFill>
                    <a:srgbClr val="FFFFFF"/>
                  </a:solidFill>
                  <a:effectLst/>
                  <a:uLnTx/>
                  <a:uFillTx/>
                </a:rPr>
                <a:t>konstruktion &amp; drift</a:t>
              </a:r>
              <a:endParaRPr lang="sv-SE" sz="2400" b="1" dirty="0">
                <a:solidFill>
                  <a:srgbClr val="FFFFFF"/>
                </a:solidFill>
              </a:endParaRPr>
            </a:p>
            <a:p>
              <a:pPr lvl="0" algn="ctr">
                <a:spcAft>
                  <a:spcPts val="3400"/>
                </a:spcAft>
                <a:defRPr/>
              </a:pPr>
              <a:r>
                <a:rPr lang="sv-SE" sz="1600" noProof="0" dirty="0">
                  <a:solidFill>
                    <a:srgbClr val="FFFFFF"/>
                  </a:solidFill>
                </a:rPr>
                <a:t>Kommersiellt</a:t>
              </a:r>
              <a:r>
                <a:rPr lang="sv-SE" sz="1600" dirty="0">
                  <a:solidFill>
                    <a:srgbClr val="FFFFFF"/>
                  </a:solidFill>
                </a:rPr>
                <a:t> vätgaslager behöver </a:t>
              </a:r>
              <a:br>
                <a:rPr lang="sv-SE" sz="1600" dirty="0">
                  <a:solidFill>
                    <a:srgbClr val="FFFFFF"/>
                  </a:solidFill>
                </a:rPr>
              </a:br>
              <a:r>
                <a:rPr lang="sv-SE" sz="1600" dirty="0">
                  <a:solidFill>
                    <a:srgbClr val="FFFFFF"/>
                  </a:solidFill>
                </a:rPr>
                <a:t>fyllas och tömmas med högre </a:t>
              </a:r>
              <a:br>
                <a:rPr lang="sv-SE" sz="1600" dirty="0">
                  <a:solidFill>
                    <a:srgbClr val="FFFFFF"/>
                  </a:solidFill>
                </a:rPr>
              </a:br>
              <a:r>
                <a:rPr lang="sv-SE" sz="1600" dirty="0">
                  <a:solidFill>
                    <a:srgbClr val="FFFFFF"/>
                  </a:solidFill>
                </a:rPr>
                <a:t>frekvens och hastighet</a:t>
              </a:r>
            </a:p>
          </p:txBody>
        </p:sp>
        <p:sp>
          <p:nvSpPr>
            <p:cNvPr id="8" name="Freeform 7">
              <a:extLst>
                <a:ext uri="{FF2B5EF4-FFF2-40B4-BE49-F238E27FC236}">
                  <a16:creationId xmlns:a16="http://schemas.microsoft.com/office/drawing/2014/main" id="{53184BDB-A6B1-63B8-8B96-3106F0ADBB49}"/>
                </a:ext>
              </a:extLst>
            </p:cNvPr>
            <p:cNvSpPr/>
            <p:nvPr/>
          </p:nvSpPr>
          <p:spPr>
            <a:xfrm>
              <a:off x="5948874"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12" name="Group 11">
            <a:extLst>
              <a:ext uri="{FF2B5EF4-FFF2-40B4-BE49-F238E27FC236}">
                <a16:creationId xmlns:a16="http://schemas.microsoft.com/office/drawing/2014/main" id="{F0375E29-57C8-97ED-8C8E-AD6F28CA6948}"/>
              </a:ext>
            </a:extLst>
          </p:cNvPr>
          <p:cNvGrpSpPr/>
          <p:nvPr/>
        </p:nvGrpSpPr>
        <p:grpSpPr>
          <a:xfrm>
            <a:off x="8530565" y="2741768"/>
            <a:ext cx="2975636" cy="2346469"/>
            <a:chOff x="8530565" y="2741768"/>
            <a:chExt cx="2975636" cy="2346469"/>
          </a:xfrm>
        </p:grpSpPr>
        <p:sp>
          <p:nvSpPr>
            <p:cNvPr id="6" name="TextBox 5">
              <a:extLst>
                <a:ext uri="{FF2B5EF4-FFF2-40B4-BE49-F238E27FC236}">
                  <a16:creationId xmlns:a16="http://schemas.microsoft.com/office/drawing/2014/main" id="{C01907F4-BD66-E16E-ECEB-103FC26AABC5}"/>
                </a:ext>
              </a:extLst>
            </p:cNvPr>
            <p:cNvSpPr txBox="1"/>
            <p:nvPr/>
          </p:nvSpPr>
          <p:spPr>
            <a:xfrm>
              <a:off x="8530565" y="3236448"/>
              <a:ext cx="2975636" cy="1851789"/>
            </a:xfrm>
            <a:prstGeom prst="rect">
              <a:avLst/>
            </a:prstGeom>
            <a:noFill/>
          </p:spPr>
          <p:txBody>
            <a:bodyPr wrap="square" lIns="0" tIns="0" rIns="0" bIns="0" rtlCol="0">
              <a:spAutoFit/>
            </a:bodyPr>
            <a:lstStyle/>
            <a:p>
              <a:pPr lvl="0" algn="ctr">
                <a:spcAft>
                  <a:spcPts val="3400"/>
                </a:spcAft>
                <a:defRPr/>
              </a:pPr>
              <a:r>
                <a:rPr kumimoji="0" lang="sv-SE" sz="2200" b="1" i="0" u="none" strike="noStrike" kern="1200" cap="none" spc="0" normalizeH="0" baseline="0" noProof="0" dirty="0">
                  <a:ln>
                    <a:noFill/>
                  </a:ln>
                  <a:solidFill>
                    <a:srgbClr val="FFFFFF"/>
                  </a:solidFill>
                  <a:effectLst/>
                  <a:uLnTx/>
                  <a:uFillTx/>
                </a:rPr>
                <a:t>Uppdatera befintlig kunskap</a:t>
              </a:r>
              <a:r>
                <a:rPr kumimoji="0" lang="sv-SE" sz="2200" b="1" i="0" u="none" strike="noStrike" kern="1200" cap="none" spc="0" normalizeH="0" noProof="0" dirty="0">
                  <a:ln>
                    <a:noFill/>
                  </a:ln>
                  <a:solidFill>
                    <a:srgbClr val="FFFFFF"/>
                  </a:solidFill>
                  <a:effectLst/>
                  <a:uLnTx/>
                  <a:uFillTx/>
                </a:rPr>
                <a:t> &amp; erfarenhet </a:t>
              </a:r>
              <a:endParaRPr lang="sv-SE" sz="2400" b="1" dirty="0">
                <a:solidFill>
                  <a:srgbClr val="FFFFFF"/>
                </a:solidFill>
              </a:endParaRPr>
            </a:p>
            <a:p>
              <a:pPr lvl="0" algn="ctr">
                <a:spcAft>
                  <a:spcPts val="3400"/>
                </a:spcAft>
                <a:defRPr/>
              </a:pPr>
              <a:r>
                <a:rPr lang="sv-SE" sz="1600" dirty="0">
                  <a:solidFill>
                    <a:srgbClr val="FFFFFF"/>
                  </a:solidFill>
                </a:rPr>
                <a:t>Genom tester av flexibel </a:t>
              </a:r>
              <a:br>
                <a:rPr lang="sv-SE" sz="1600" dirty="0">
                  <a:solidFill>
                    <a:srgbClr val="FFFFFF"/>
                  </a:solidFill>
                </a:rPr>
              </a:br>
              <a:r>
                <a:rPr lang="sv-SE" sz="1600" dirty="0">
                  <a:solidFill>
                    <a:srgbClr val="FFFFFF"/>
                  </a:solidFill>
                </a:rPr>
                <a:t>drift och integration mot </a:t>
              </a:r>
              <a:br>
                <a:rPr lang="sv-SE" sz="1600" dirty="0">
                  <a:solidFill>
                    <a:srgbClr val="FFFFFF"/>
                  </a:solidFill>
                </a:rPr>
              </a:br>
              <a:r>
                <a:rPr lang="sv-SE" sz="1600" dirty="0">
                  <a:solidFill>
                    <a:srgbClr val="FFFFFF"/>
                  </a:solidFill>
                </a:rPr>
                <a:t>elmarknaden</a:t>
              </a:r>
              <a:endParaRPr kumimoji="0" lang="sv-SE" b="0" i="0" u="none" strike="noStrike" kern="1200" cap="none" spc="0" normalizeH="0" baseline="0" noProof="0" dirty="0">
                <a:ln>
                  <a:noFill/>
                </a:ln>
                <a:solidFill>
                  <a:srgbClr val="FFFFFF"/>
                </a:solidFill>
                <a:effectLst/>
                <a:uLnTx/>
                <a:uFillTx/>
              </a:endParaRPr>
            </a:p>
          </p:txBody>
        </p:sp>
        <p:sp>
          <p:nvSpPr>
            <p:cNvPr id="9" name="Freeform 8">
              <a:extLst>
                <a:ext uri="{FF2B5EF4-FFF2-40B4-BE49-F238E27FC236}">
                  <a16:creationId xmlns:a16="http://schemas.microsoft.com/office/drawing/2014/main" id="{13A0A5F6-AF00-A17C-C67D-4D92AE0FB317}"/>
                </a:ext>
              </a:extLst>
            </p:cNvPr>
            <p:cNvSpPr/>
            <p:nvPr/>
          </p:nvSpPr>
          <p:spPr>
            <a:xfrm>
              <a:off x="9873735"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cxnSp>
        <p:nvCxnSpPr>
          <p:cNvPr id="17" name="Straight Connector 16">
            <a:extLst>
              <a:ext uri="{FF2B5EF4-FFF2-40B4-BE49-F238E27FC236}">
                <a16:creationId xmlns:a16="http://schemas.microsoft.com/office/drawing/2014/main" id="{2ADE8886-EBC7-D5DD-4942-15B067350CB0}"/>
              </a:ext>
            </a:extLst>
          </p:cNvPr>
          <p:cNvCxnSpPr/>
          <p:nvPr/>
        </p:nvCxnSpPr>
        <p:spPr>
          <a:xfrm>
            <a:off x="1390739"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9FAD653-A59D-83E3-09EA-05B908EF0747}"/>
              </a:ext>
            </a:extLst>
          </p:cNvPr>
          <p:cNvCxnSpPr/>
          <p:nvPr/>
        </p:nvCxnSpPr>
        <p:spPr>
          <a:xfrm>
            <a:off x="5315599"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12E01CA-F5AB-C831-2245-34E5EC067E1A}"/>
              </a:ext>
            </a:extLst>
          </p:cNvPr>
          <p:cNvCxnSpPr/>
          <p:nvPr/>
        </p:nvCxnSpPr>
        <p:spPr>
          <a:xfrm>
            <a:off x="9240460"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Mask">
            <a:extLst>
              <a:ext uri="{FF2B5EF4-FFF2-40B4-BE49-F238E27FC236}">
                <a16:creationId xmlns:a16="http://schemas.microsoft.com/office/drawing/2014/main" id="{ACC98E6B-6310-D533-A740-51BBA796F8ED}"/>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34327694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7" presetClass="entr" presetSubtype="1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 calcmode="lin" valueType="num">
                                      <p:cBhvr>
                                        <p:cTn id="17" dur="300" fill="hold"/>
                                        <p:tgtEl>
                                          <p:spTgt spid="17"/>
                                        </p:tgtEl>
                                        <p:attrNameLst>
                                          <p:attrName>ppt_w</p:attrName>
                                        </p:attrNameLst>
                                      </p:cBhvr>
                                      <p:tavLst>
                                        <p:tav tm="0">
                                          <p:val>
                                            <p:fltVal val="0"/>
                                          </p:val>
                                        </p:tav>
                                        <p:tav tm="100000">
                                          <p:val>
                                            <p:strVal val="#ppt_w"/>
                                          </p:val>
                                        </p:tav>
                                      </p:tavLst>
                                    </p:anim>
                                    <p:anim calcmode="lin" valueType="num">
                                      <p:cBhvr>
                                        <p:cTn id="18" dur="300" fill="hold"/>
                                        <p:tgtEl>
                                          <p:spTgt spid="17"/>
                                        </p:tgtEl>
                                        <p:attrNameLst>
                                          <p:attrName>ppt_h</p:attrName>
                                        </p:attrNameLst>
                                      </p:cBhvr>
                                      <p:tavLst>
                                        <p:tav tm="0">
                                          <p:val>
                                            <p:strVal val="#ppt_h"/>
                                          </p:val>
                                        </p:tav>
                                        <p:tav tm="100000">
                                          <p:val>
                                            <p:strVal val="#ppt_h"/>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7" presetClass="entr" presetSubtype="10" fill="hold" nodeType="withEffect">
                                  <p:stCondLst>
                                    <p:cond delay="200"/>
                                  </p:stCondLst>
                                  <p:childTnLst>
                                    <p:set>
                                      <p:cBhvr>
                                        <p:cTn id="28" dur="1" fill="hold">
                                          <p:stCondLst>
                                            <p:cond delay="0"/>
                                          </p:stCondLst>
                                        </p:cTn>
                                        <p:tgtEl>
                                          <p:spTgt spid="18"/>
                                        </p:tgtEl>
                                        <p:attrNameLst>
                                          <p:attrName>style.visibility</p:attrName>
                                        </p:attrNameLst>
                                      </p:cBhvr>
                                      <p:to>
                                        <p:strVal val="visible"/>
                                      </p:to>
                                    </p:set>
                                    <p:anim calcmode="lin" valueType="num">
                                      <p:cBhvr>
                                        <p:cTn id="29" dur="300" fill="hold"/>
                                        <p:tgtEl>
                                          <p:spTgt spid="18"/>
                                        </p:tgtEl>
                                        <p:attrNameLst>
                                          <p:attrName>ppt_w</p:attrName>
                                        </p:attrNameLst>
                                      </p:cBhvr>
                                      <p:tavLst>
                                        <p:tav tm="0">
                                          <p:val>
                                            <p:fltVal val="0"/>
                                          </p:val>
                                        </p:tav>
                                        <p:tav tm="100000">
                                          <p:val>
                                            <p:strVal val="#ppt_w"/>
                                          </p:val>
                                        </p:tav>
                                      </p:tavLst>
                                    </p:anim>
                                    <p:anim calcmode="lin" valueType="num">
                                      <p:cBhvr>
                                        <p:cTn id="30" dur="300" fill="hold"/>
                                        <p:tgtEl>
                                          <p:spTgt spid="18"/>
                                        </p:tgtEl>
                                        <p:attrNameLst>
                                          <p:attrName>ppt_h</p:attrName>
                                        </p:attrNameLst>
                                      </p:cBhvr>
                                      <p:tavLst>
                                        <p:tav tm="0">
                                          <p:val>
                                            <p:strVal val="#ppt_h"/>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par>
                                <p:cTn id="36" presetID="10" presetClass="entr" presetSubtype="0"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7" presetClass="entr" presetSubtype="10" fill="hold" nodeType="withEffect">
                                  <p:stCondLst>
                                    <p:cond delay="200"/>
                                  </p:stCondLst>
                                  <p:childTnLst>
                                    <p:set>
                                      <p:cBhvr>
                                        <p:cTn id="40" dur="1" fill="hold">
                                          <p:stCondLst>
                                            <p:cond delay="0"/>
                                          </p:stCondLst>
                                        </p:cTn>
                                        <p:tgtEl>
                                          <p:spTgt spid="19"/>
                                        </p:tgtEl>
                                        <p:attrNameLst>
                                          <p:attrName>style.visibility</p:attrName>
                                        </p:attrNameLst>
                                      </p:cBhvr>
                                      <p:to>
                                        <p:strVal val="visible"/>
                                      </p:to>
                                    </p:set>
                                    <p:anim calcmode="lin" valueType="num">
                                      <p:cBhvr>
                                        <p:cTn id="41" dur="300" fill="hold"/>
                                        <p:tgtEl>
                                          <p:spTgt spid="19"/>
                                        </p:tgtEl>
                                        <p:attrNameLst>
                                          <p:attrName>ppt_w</p:attrName>
                                        </p:attrNameLst>
                                      </p:cBhvr>
                                      <p:tavLst>
                                        <p:tav tm="0">
                                          <p:val>
                                            <p:fltVal val="0"/>
                                          </p:val>
                                        </p:tav>
                                        <p:tav tm="100000">
                                          <p:val>
                                            <p:strVal val="#ppt_w"/>
                                          </p:val>
                                        </p:tav>
                                      </p:tavLst>
                                    </p:anim>
                                    <p:anim calcmode="lin" valueType="num">
                                      <p:cBhvr>
                                        <p:cTn id="42" dur="300" fill="hold"/>
                                        <p:tgtEl>
                                          <p:spTgt spid="1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a:extLst>
            <a:ext uri="{FF2B5EF4-FFF2-40B4-BE49-F238E27FC236}">
              <a16:creationId xmlns:a16="http://schemas.microsoft.com/office/drawing/2014/main" id="{6AE80B10-E8C4-0F64-8365-29FAA807D0E1}"/>
            </a:ext>
          </a:extLst>
        </p:cNvPr>
        <p:cNvGrpSpPr/>
        <p:nvPr/>
      </p:nvGrpSpPr>
      <p:grpSpPr>
        <a:xfrm>
          <a:off x="0" y="0"/>
          <a:ext cx="0" cy="0"/>
          <a:chOff x="0" y="0"/>
          <a:chExt cx="0" cy="0"/>
        </a:xfrm>
      </p:grpSpPr>
      <p:grpSp>
        <p:nvGrpSpPr>
          <p:cNvPr id="267" name="Group 266">
            <a:extLst>
              <a:ext uri="{FF2B5EF4-FFF2-40B4-BE49-F238E27FC236}">
                <a16:creationId xmlns:a16="http://schemas.microsoft.com/office/drawing/2014/main" id="{04E4088C-74DC-C8A4-D302-ACA3CB386ABB}"/>
              </a:ext>
            </a:extLst>
          </p:cNvPr>
          <p:cNvGrpSpPr/>
          <p:nvPr/>
        </p:nvGrpSpPr>
        <p:grpSpPr>
          <a:xfrm>
            <a:off x="8968898" y="1401552"/>
            <a:ext cx="2847185" cy="2559916"/>
            <a:chOff x="8968898" y="1401552"/>
            <a:chExt cx="2847185" cy="2559916"/>
          </a:xfrm>
        </p:grpSpPr>
        <p:sp>
          <p:nvSpPr>
            <p:cNvPr id="63" name="Oval 62">
              <a:extLst>
                <a:ext uri="{FF2B5EF4-FFF2-40B4-BE49-F238E27FC236}">
                  <a16:creationId xmlns:a16="http://schemas.microsoft.com/office/drawing/2014/main" id="{FE4AC68B-AF1F-DBCF-80D9-DA20B7325A12}"/>
                </a:ext>
              </a:extLst>
            </p:cNvPr>
            <p:cNvSpPr/>
            <p:nvPr/>
          </p:nvSpPr>
          <p:spPr>
            <a:xfrm>
              <a:off x="9112534" y="1401552"/>
              <a:ext cx="2559916" cy="25599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266" name="Group 265">
              <a:extLst>
                <a:ext uri="{FF2B5EF4-FFF2-40B4-BE49-F238E27FC236}">
                  <a16:creationId xmlns:a16="http://schemas.microsoft.com/office/drawing/2014/main" id="{0F7029F8-3868-3ABC-1AF1-3E1D59ACE589}"/>
                </a:ext>
              </a:extLst>
            </p:cNvPr>
            <p:cNvGrpSpPr/>
            <p:nvPr/>
          </p:nvGrpSpPr>
          <p:grpSpPr>
            <a:xfrm>
              <a:off x="8968898" y="1838311"/>
              <a:ext cx="2847185" cy="1160602"/>
              <a:chOff x="8968898" y="1838311"/>
              <a:chExt cx="2847185" cy="1160602"/>
            </a:xfrm>
          </p:grpSpPr>
          <p:sp>
            <p:nvSpPr>
              <p:cNvPr id="50" name="!!TextBox 90">
                <a:extLst>
                  <a:ext uri="{FF2B5EF4-FFF2-40B4-BE49-F238E27FC236}">
                    <a16:creationId xmlns:a16="http://schemas.microsoft.com/office/drawing/2014/main" id="{84E27A8F-4778-37E6-4BFE-938265986422}"/>
                  </a:ext>
                </a:extLst>
              </p:cNvPr>
              <p:cNvSpPr txBox="1"/>
              <p:nvPr/>
            </p:nvSpPr>
            <p:spPr>
              <a:xfrm>
                <a:off x="8968898" y="2568026"/>
                <a:ext cx="2847185" cy="430887"/>
              </a:xfrm>
              <a:prstGeom prst="rect">
                <a:avLst/>
              </a:prstGeom>
              <a:noFill/>
            </p:spPr>
            <p:txBody>
              <a:bodyPr wrap="square" lIns="0" tIns="0" rIns="0" bIns="0" rtlCol="0">
                <a:spAutoFit/>
              </a:bodyPr>
              <a:lstStyle/>
              <a:p>
                <a:pPr lvl="0" algn="ctr">
                  <a:spcAft>
                    <a:spcPts val="1200"/>
                  </a:spcAft>
                  <a:defRPr/>
                </a:pPr>
                <a:r>
                  <a:rPr lang="sv-SE" sz="1400" dirty="0">
                    <a:solidFill>
                      <a:srgbClr val="FFFFFF"/>
                    </a:solidFill>
                  </a:rPr>
                  <a:t>Översikt av LRC-piloten Svartöberget, Luleå </a:t>
                </a:r>
              </a:p>
            </p:txBody>
          </p:sp>
          <p:grpSp>
            <p:nvGrpSpPr>
              <p:cNvPr id="53" name="Graphic 51" descr="Marker outline">
                <a:extLst>
                  <a:ext uri="{FF2B5EF4-FFF2-40B4-BE49-F238E27FC236}">
                    <a16:creationId xmlns:a16="http://schemas.microsoft.com/office/drawing/2014/main" id="{69F2FED8-A991-3630-6996-9B76B8E3EE13}"/>
                  </a:ext>
                </a:extLst>
              </p:cNvPr>
              <p:cNvGrpSpPr/>
              <p:nvPr/>
            </p:nvGrpSpPr>
            <p:grpSpPr>
              <a:xfrm>
                <a:off x="10238330" y="1838311"/>
                <a:ext cx="308322" cy="500776"/>
                <a:chOff x="10222424" y="2536473"/>
                <a:chExt cx="340133" cy="552443"/>
              </a:xfrm>
              <a:solidFill>
                <a:schemeClr val="bg1"/>
              </a:solidFill>
            </p:grpSpPr>
            <p:sp>
              <p:nvSpPr>
                <p:cNvPr id="54" name="Freeform 53">
                  <a:extLst>
                    <a:ext uri="{FF2B5EF4-FFF2-40B4-BE49-F238E27FC236}">
                      <a16:creationId xmlns:a16="http://schemas.microsoft.com/office/drawing/2014/main" id="{F4EC6316-57E1-3925-8491-03753C121679}"/>
                    </a:ext>
                  </a:extLst>
                </p:cNvPr>
                <p:cNvSpPr/>
                <p:nvPr/>
              </p:nvSpPr>
              <p:spPr>
                <a:xfrm>
                  <a:off x="10222424" y="2536473"/>
                  <a:ext cx="340133" cy="552443"/>
                </a:xfrm>
                <a:custGeom>
                  <a:avLst/>
                  <a:gdLst>
                    <a:gd name="connsiteX0" fmla="*/ 170070 w 340133"/>
                    <a:gd name="connsiteY0" fmla="*/ 0 h 552443"/>
                    <a:gd name="connsiteX1" fmla="*/ 29543 w 340133"/>
                    <a:gd name="connsiteY1" fmla="*/ 74732 h 552443"/>
                    <a:gd name="connsiteX2" fmla="*/ 11672 w 340133"/>
                    <a:gd name="connsiteY2" fmla="*/ 233170 h 552443"/>
                    <a:gd name="connsiteX3" fmla="*/ 88840 w 340133"/>
                    <a:gd name="connsiteY3" fmla="*/ 403802 h 552443"/>
                    <a:gd name="connsiteX4" fmla="*/ 155449 w 340133"/>
                    <a:gd name="connsiteY4" fmla="*/ 543517 h 552443"/>
                    <a:gd name="connsiteX5" fmla="*/ 177588 w 340133"/>
                    <a:gd name="connsiteY5" fmla="*/ 550620 h 552443"/>
                    <a:gd name="connsiteX6" fmla="*/ 184692 w 340133"/>
                    <a:gd name="connsiteY6" fmla="*/ 543517 h 552443"/>
                    <a:gd name="connsiteX7" fmla="*/ 251300 w 340133"/>
                    <a:gd name="connsiteY7" fmla="*/ 403802 h 552443"/>
                    <a:gd name="connsiteX8" fmla="*/ 328468 w 340133"/>
                    <a:gd name="connsiteY8" fmla="*/ 233170 h 552443"/>
                    <a:gd name="connsiteX9" fmla="*/ 310598 w 340133"/>
                    <a:gd name="connsiteY9" fmla="*/ 74772 h 552443"/>
                    <a:gd name="connsiteX10" fmla="*/ 170070 w 340133"/>
                    <a:gd name="connsiteY10" fmla="*/ 0 h 552443"/>
                    <a:gd name="connsiteX11" fmla="*/ 313473 w 340133"/>
                    <a:gd name="connsiteY11" fmla="*/ 226940 h 552443"/>
                    <a:gd name="connsiteX12" fmla="*/ 236638 w 340133"/>
                    <a:gd name="connsiteY12" fmla="*/ 396832 h 552443"/>
                    <a:gd name="connsiteX13" fmla="*/ 170176 w 340133"/>
                    <a:gd name="connsiteY13" fmla="*/ 536271 h 552443"/>
                    <a:gd name="connsiteX14" fmla="*/ 169956 w 340133"/>
                    <a:gd name="connsiteY14" fmla="*/ 536271 h 552443"/>
                    <a:gd name="connsiteX15" fmla="*/ 103632 w 340133"/>
                    <a:gd name="connsiteY15" fmla="*/ 397133 h 552443"/>
                    <a:gd name="connsiteX16" fmla="*/ 26659 w 340133"/>
                    <a:gd name="connsiteY16" fmla="*/ 226940 h 552443"/>
                    <a:gd name="connsiteX17" fmla="*/ 43019 w 340133"/>
                    <a:gd name="connsiteY17" fmla="*/ 83813 h 552443"/>
                    <a:gd name="connsiteX18" fmla="*/ 255733 w 340133"/>
                    <a:gd name="connsiteY18" fmla="*/ 42427 h 552443"/>
                    <a:gd name="connsiteX19" fmla="*/ 297195 w 340133"/>
                    <a:gd name="connsiteY19" fmla="*/ 83927 h 552443"/>
                    <a:gd name="connsiteX20" fmla="*/ 313473 w 340133"/>
                    <a:gd name="connsiteY20" fmla="*/ 226940 h 5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0133" h="552443">
                      <a:moveTo>
                        <a:pt x="170070" y="0"/>
                      </a:moveTo>
                      <a:cubicBezTo>
                        <a:pt x="113702" y="-63"/>
                        <a:pt x="61005" y="27960"/>
                        <a:pt x="29543" y="74732"/>
                      </a:cubicBezTo>
                      <a:cubicBezTo>
                        <a:pt x="-2087" y="121400"/>
                        <a:pt x="-8767" y="180629"/>
                        <a:pt x="11672" y="233170"/>
                      </a:cubicBezTo>
                      <a:lnTo>
                        <a:pt x="88840" y="403802"/>
                      </a:lnTo>
                      <a:lnTo>
                        <a:pt x="155449" y="543517"/>
                      </a:lnTo>
                      <a:cubicBezTo>
                        <a:pt x="159600" y="551592"/>
                        <a:pt x="169513" y="554772"/>
                        <a:pt x="177588" y="550620"/>
                      </a:cubicBezTo>
                      <a:cubicBezTo>
                        <a:pt x="180639" y="549052"/>
                        <a:pt x="183123" y="546568"/>
                        <a:pt x="184692" y="543517"/>
                      </a:cubicBezTo>
                      <a:lnTo>
                        <a:pt x="251300" y="403802"/>
                      </a:lnTo>
                      <a:lnTo>
                        <a:pt x="328468" y="233170"/>
                      </a:lnTo>
                      <a:cubicBezTo>
                        <a:pt x="348898" y="180641"/>
                        <a:pt x="342216" y="121429"/>
                        <a:pt x="310598" y="74772"/>
                      </a:cubicBezTo>
                      <a:cubicBezTo>
                        <a:pt x="279144" y="27985"/>
                        <a:pt x="226447" y="-54"/>
                        <a:pt x="170070" y="0"/>
                      </a:cubicBezTo>
                      <a:close/>
                      <a:moveTo>
                        <a:pt x="313473" y="226940"/>
                      </a:moveTo>
                      <a:lnTo>
                        <a:pt x="236638" y="396832"/>
                      </a:lnTo>
                      <a:lnTo>
                        <a:pt x="170176" y="536271"/>
                      </a:lnTo>
                      <a:lnTo>
                        <a:pt x="169956" y="536271"/>
                      </a:lnTo>
                      <a:lnTo>
                        <a:pt x="103632" y="397133"/>
                      </a:lnTo>
                      <a:lnTo>
                        <a:pt x="26659" y="226940"/>
                      </a:lnTo>
                      <a:cubicBezTo>
                        <a:pt x="8316" y="179434"/>
                        <a:pt x="14430" y="125954"/>
                        <a:pt x="43019" y="83813"/>
                      </a:cubicBezTo>
                      <a:cubicBezTo>
                        <a:pt x="90329" y="13645"/>
                        <a:pt x="185565" y="-4883"/>
                        <a:pt x="255733" y="42427"/>
                      </a:cubicBezTo>
                      <a:cubicBezTo>
                        <a:pt x="272097" y="53461"/>
                        <a:pt x="286176" y="67552"/>
                        <a:pt x="297195" y="83927"/>
                      </a:cubicBezTo>
                      <a:cubicBezTo>
                        <a:pt x="325728" y="126050"/>
                        <a:pt x="331809" y="179481"/>
                        <a:pt x="313473" y="226940"/>
                      </a:cubicBezTo>
                      <a:close/>
                    </a:path>
                  </a:pathLst>
                </a:custGeom>
                <a:solidFill>
                  <a:schemeClr val="bg1"/>
                </a:solidFill>
                <a:ln w="0" cap="flat">
                  <a:solidFill>
                    <a:schemeClr val="bg1"/>
                  </a:solidFill>
                  <a:prstDash val="solid"/>
                  <a:miter/>
                </a:ln>
              </p:spPr>
              <p:txBody>
                <a:bodyPr rtlCol="0" anchor="ctr"/>
                <a:lstStyle/>
                <a:p>
                  <a:endParaRPr lang="sv-SE"/>
                </a:p>
              </p:txBody>
            </p:sp>
            <p:sp>
              <p:nvSpPr>
                <p:cNvPr id="55" name="Freeform 54">
                  <a:extLst>
                    <a:ext uri="{FF2B5EF4-FFF2-40B4-BE49-F238E27FC236}">
                      <a16:creationId xmlns:a16="http://schemas.microsoft.com/office/drawing/2014/main" id="{F415C8DA-F7CC-C446-B6B5-BDCDF8BCA6C9}"/>
                    </a:ext>
                  </a:extLst>
                </p:cNvPr>
                <p:cNvSpPr/>
                <p:nvPr/>
              </p:nvSpPr>
              <p:spPr>
                <a:xfrm>
                  <a:off x="10319387" y="2633948"/>
                  <a:ext cx="146214" cy="146214"/>
                </a:xfrm>
                <a:custGeom>
                  <a:avLst/>
                  <a:gdLst>
                    <a:gd name="connsiteX0" fmla="*/ 73107 w 146214"/>
                    <a:gd name="connsiteY0" fmla="*/ 1 h 146214"/>
                    <a:gd name="connsiteX1" fmla="*/ 0 w 146214"/>
                    <a:gd name="connsiteY1" fmla="*/ 73107 h 146214"/>
                    <a:gd name="connsiteX2" fmla="*/ 73107 w 146214"/>
                    <a:gd name="connsiteY2" fmla="*/ 146214 h 146214"/>
                    <a:gd name="connsiteX3" fmla="*/ 146214 w 146214"/>
                    <a:gd name="connsiteY3" fmla="*/ 73107 h 146214"/>
                    <a:gd name="connsiteX4" fmla="*/ 73692 w 146214"/>
                    <a:gd name="connsiteY4" fmla="*/ 1 h 146214"/>
                    <a:gd name="connsiteX5" fmla="*/ 73107 w 146214"/>
                    <a:gd name="connsiteY5" fmla="*/ 1 h 146214"/>
                    <a:gd name="connsiteX6" fmla="*/ 73107 w 146214"/>
                    <a:gd name="connsiteY6" fmla="*/ 130009 h 146214"/>
                    <a:gd name="connsiteX7" fmla="*/ 16246 w 146214"/>
                    <a:gd name="connsiteY7" fmla="*/ 73148 h 146214"/>
                    <a:gd name="connsiteX8" fmla="*/ 73107 w 146214"/>
                    <a:gd name="connsiteY8" fmla="*/ 16287 h 146214"/>
                    <a:gd name="connsiteX9" fmla="*/ 129968 w 146214"/>
                    <a:gd name="connsiteY9" fmla="*/ 73148 h 146214"/>
                    <a:gd name="connsiteX10" fmla="*/ 74324 w 146214"/>
                    <a:gd name="connsiteY10" fmla="*/ 130033 h 146214"/>
                    <a:gd name="connsiteX11" fmla="*/ 73107 w 146214"/>
                    <a:gd name="connsiteY11" fmla="*/ 130033 h 14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214" h="146214">
                      <a:moveTo>
                        <a:pt x="73107" y="1"/>
                      </a:moveTo>
                      <a:cubicBezTo>
                        <a:pt x="32731" y="1"/>
                        <a:pt x="0" y="32731"/>
                        <a:pt x="0" y="73107"/>
                      </a:cubicBezTo>
                      <a:cubicBezTo>
                        <a:pt x="0" y="113484"/>
                        <a:pt x="32731" y="146214"/>
                        <a:pt x="73107" y="146214"/>
                      </a:cubicBezTo>
                      <a:cubicBezTo>
                        <a:pt x="113483" y="146214"/>
                        <a:pt x="146214" y="113484"/>
                        <a:pt x="146214" y="73107"/>
                      </a:cubicBezTo>
                      <a:cubicBezTo>
                        <a:pt x="146375" y="32894"/>
                        <a:pt x="113907" y="162"/>
                        <a:pt x="73692" y="1"/>
                      </a:cubicBezTo>
                      <a:cubicBezTo>
                        <a:pt x="73498" y="0"/>
                        <a:pt x="73302" y="0"/>
                        <a:pt x="73107" y="1"/>
                      </a:cubicBezTo>
                      <a:close/>
                      <a:moveTo>
                        <a:pt x="73107" y="130009"/>
                      </a:moveTo>
                      <a:cubicBezTo>
                        <a:pt x="41703" y="130009"/>
                        <a:pt x="16246" y="104551"/>
                        <a:pt x="16246" y="73148"/>
                      </a:cubicBezTo>
                      <a:cubicBezTo>
                        <a:pt x="16246" y="41745"/>
                        <a:pt x="41703" y="16287"/>
                        <a:pt x="73107" y="16287"/>
                      </a:cubicBezTo>
                      <a:cubicBezTo>
                        <a:pt x="104510" y="16287"/>
                        <a:pt x="129968" y="41745"/>
                        <a:pt x="129968" y="73148"/>
                      </a:cubicBezTo>
                      <a:cubicBezTo>
                        <a:pt x="130310" y="104222"/>
                        <a:pt x="105398" y="129690"/>
                        <a:pt x="74324" y="130033"/>
                      </a:cubicBezTo>
                      <a:cubicBezTo>
                        <a:pt x="73918" y="130037"/>
                        <a:pt x="73512" y="130037"/>
                        <a:pt x="73107" y="130033"/>
                      </a:cubicBezTo>
                      <a:close/>
                    </a:path>
                  </a:pathLst>
                </a:custGeom>
                <a:solidFill>
                  <a:schemeClr val="bg1"/>
                </a:solidFill>
                <a:ln w="0" cap="flat">
                  <a:solidFill>
                    <a:schemeClr val="bg1"/>
                  </a:solidFill>
                  <a:prstDash val="solid"/>
                  <a:miter/>
                </a:ln>
              </p:spPr>
              <p:txBody>
                <a:bodyPr rtlCol="0" anchor="ctr"/>
                <a:lstStyle/>
                <a:p>
                  <a:endParaRPr lang="sv-SE"/>
                </a:p>
              </p:txBody>
            </p:sp>
          </p:grpSp>
        </p:grpSp>
      </p:grpSp>
      <p:sp>
        <p:nvSpPr>
          <p:cNvPr id="265" name="Freeform 264">
            <a:extLst>
              <a:ext uri="{FF2B5EF4-FFF2-40B4-BE49-F238E27FC236}">
                <a16:creationId xmlns:a16="http://schemas.microsoft.com/office/drawing/2014/main" id="{A6F81BDB-3F71-0701-AC15-B04A136E3468}"/>
              </a:ext>
            </a:extLst>
          </p:cNvPr>
          <p:cNvSpPr/>
          <p:nvPr/>
        </p:nvSpPr>
        <p:spPr>
          <a:xfrm>
            <a:off x="717176" y="3236777"/>
            <a:ext cx="11474824" cy="3621223"/>
          </a:xfrm>
          <a:custGeom>
            <a:avLst/>
            <a:gdLst>
              <a:gd name="connsiteX0" fmla="*/ 9652246 w 11474824"/>
              <a:gd name="connsiteY0" fmla="*/ 0 h 3621223"/>
              <a:gd name="connsiteX1" fmla="*/ 9688246 w 11474824"/>
              <a:gd name="connsiteY1" fmla="*/ 0 h 3621223"/>
              <a:gd name="connsiteX2" fmla="*/ 9688246 w 11474824"/>
              <a:gd name="connsiteY2" fmla="*/ 287802 h 3621223"/>
              <a:gd name="connsiteX3" fmla="*/ 9699681 w 11474824"/>
              <a:gd name="connsiteY3" fmla="*/ 287802 h 3621223"/>
              <a:gd name="connsiteX4" fmla="*/ 9699681 w 11474824"/>
              <a:gd name="connsiteY4" fmla="*/ 517455 h 3621223"/>
              <a:gd name="connsiteX5" fmla="*/ 10901083 w 11474824"/>
              <a:gd name="connsiteY5" fmla="*/ 555294 h 3621223"/>
              <a:gd name="connsiteX6" fmla="*/ 11474824 w 11474824"/>
              <a:gd name="connsiteY6" fmla="*/ 298620 h 3621223"/>
              <a:gd name="connsiteX7" fmla="*/ 11474824 w 11474824"/>
              <a:gd name="connsiteY7" fmla="*/ 3621223 h 3621223"/>
              <a:gd name="connsiteX8" fmla="*/ 0 w 11474824"/>
              <a:gd name="connsiteY8" fmla="*/ 3621223 h 3621223"/>
              <a:gd name="connsiteX9" fmla="*/ 0 w 11474824"/>
              <a:gd name="connsiteY9" fmla="*/ 3334353 h 3621223"/>
              <a:gd name="connsiteX10" fmla="*/ 1344706 w 11474824"/>
              <a:gd name="connsiteY10" fmla="*/ 2778541 h 3621223"/>
              <a:gd name="connsiteX11" fmla="*/ 2438400 w 11474824"/>
              <a:gd name="connsiteY11" fmla="*/ 2025505 h 3621223"/>
              <a:gd name="connsiteX12" fmla="*/ 3101789 w 11474824"/>
              <a:gd name="connsiteY12" fmla="*/ 1828282 h 3621223"/>
              <a:gd name="connsiteX13" fmla="*/ 3747248 w 11474824"/>
              <a:gd name="connsiteY13" fmla="*/ 1326258 h 3621223"/>
              <a:gd name="connsiteX14" fmla="*/ 5719483 w 11474824"/>
              <a:gd name="connsiteY14" fmla="*/ 752517 h 3621223"/>
              <a:gd name="connsiteX15" fmla="*/ 6956612 w 11474824"/>
              <a:gd name="connsiteY15" fmla="*/ 680800 h 3621223"/>
              <a:gd name="connsiteX16" fmla="*/ 8624048 w 11474824"/>
              <a:gd name="connsiteY16" fmla="*/ 483576 h 3621223"/>
              <a:gd name="connsiteX17" fmla="*/ 9639228 w 11474824"/>
              <a:gd name="connsiteY17" fmla="*/ 515551 h 3621223"/>
              <a:gd name="connsiteX18" fmla="*/ 9639228 w 11474824"/>
              <a:gd name="connsiteY18" fmla="*/ 287802 h 3621223"/>
              <a:gd name="connsiteX19" fmla="*/ 9652246 w 11474824"/>
              <a:gd name="connsiteY19" fmla="*/ 287802 h 362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74824" h="3621223">
                <a:moveTo>
                  <a:pt x="9652246" y="0"/>
                </a:moveTo>
                <a:lnTo>
                  <a:pt x="9688246" y="0"/>
                </a:lnTo>
                <a:lnTo>
                  <a:pt x="9688246" y="287802"/>
                </a:lnTo>
                <a:lnTo>
                  <a:pt x="9699681" y="287802"/>
                </a:lnTo>
                <a:lnTo>
                  <a:pt x="9699681" y="517455"/>
                </a:lnTo>
                <a:lnTo>
                  <a:pt x="10901083" y="555294"/>
                </a:lnTo>
                <a:lnTo>
                  <a:pt x="11474824" y="298620"/>
                </a:lnTo>
                <a:lnTo>
                  <a:pt x="11474824" y="3621223"/>
                </a:lnTo>
                <a:lnTo>
                  <a:pt x="0" y="3621223"/>
                </a:lnTo>
                <a:lnTo>
                  <a:pt x="0" y="3334353"/>
                </a:lnTo>
                <a:lnTo>
                  <a:pt x="1344706" y="2778541"/>
                </a:lnTo>
                <a:lnTo>
                  <a:pt x="2438400" y="2025505"/>
                </a:lnTo>
                <a:lnTo>
                  <a:pt x="3101789" y="1828282"/>
                </a:lnTo>
                <a:lnTo>
                  <a:pt x="3747248" y="1326258"/>
                </a:lnTo>
                <a:lnTo>
                  <a:pt x="5719483" y="752517"/>
                </a:lnTo>
                <a:lnTo>
                  <a:pt x="6956612" y="680800"/>
                </a:lnTo>
                <a:lnTo>
                  <a:pt x="8624048" y="483576"/>
                </a:lnTo>
                <a:lnTo>
                  <a:pt x="9639228" y="515551"/>
                </a:lnTo>
                <a:lnTo>
                  <a:pt x="9639228" y="287802"/>
                </a:lnTo>
                <a:lnTo>
                  <a:pt x="9652246" y="287802"/>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grpSp>
        <p:nvGrpSpPr>
          <p:cNvPr id="281" name="Group 280">
            <a:extLst>
              <a:ext uri="{FF2B5EF4-FFF2-40B4-BE49-F238E27FC236}">
                <a16:creationId xmlns:a16="http://schemas.microsoft.com/office/drawing/2014/main" id="{35B5C733-B2ED-EE94-EB82-F0462CD40017}"/>
              </a:ext>
            </a:extLst>
          </p:cNvPr>
          <p:cNvGrpSpPr/>
          <p:nvPr/>
        </p:nvGrpSpPr>
        <p:grpSpPr>
          <a:xfrm>
            <a:off x="-889" y="3236777"/>
            <a:ext cx="12193142" cy="3621223"/>
            <a:chOff x="-889" y="3236777"/>
            <a:chExt cx="12193142" cy="3621223"/>
          </a:xfrm>
        </p:grpSpPr>
        <p:pic>
          <p:nvPicPr>
            <p:cNvPr id="280" name="Picture 279" descr="A blue crumpled paper&#10;&#10;AI-generated content may be incorrect.">
              <a:extLst>
                <a:ext uri="{FF2B5EF4-FFF2-40B4-BE49-F238E27FC236}">
                  <a16:creationId xmlns:a16="http://schemas.microsoft.com/office/drawing/2014/main" id="{1D99A6DA-8CE8-F611-E082-482C366F039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9" t="999" b="66270"/>
            <a:stretch/>
          </p:blipFill>
          <p:spPr>
            <a:xfrm>
              <a:off x="4764" y="3470796"/>
              <a:ext cx="12187237" cy="3387204"/>
            </a:xfrm>
            <a:custGeom>
              <a:avLst/>
              <a:gdLst>
                <a:gd name="connsiteX0" fmla="*/ 10352087 w 12187237"/>
                <a:gd name="connsiteY0" fmla="*/ 1120254 h 3387204"/>
                <a:gd name="connsiteX1" fmla="*/ 10352087 w 12187237"/>
                <a:gd name="connsiteY1" fmla="*/ 1733029 h 3387204"/>
                <a:gd name="connsiteX2" fmla="*/ 10285412 w 12187237"/>
                <a:gd name="connsiteY2" fmla="*/ 1733029 h 3387204"/>
                <a:gd name="connsiteX3" fmla="*/ 10225087 w 12187237"/>
                <a:gd name="connsiteY3" fmla="*/ 1790179 h 3387204"/>
                <a:gd name="connsiteX4" fmla="*/ 10225087 w 12187237"/>
                <a:gd name="connsiteY4" fmla="*/ 1964804 h 3387204"/>
                <a:gd name="connsiteX5" fmla="*/ 10059987 w 12187237"/>
                <a:gd name="connsiteY5" fmla="*/ 2041004 h 3387204"/>
                <a:gd name="connsiteX6" fmla="*/ 8339137 w 12187237"/>
                <a:gd name="connsiteY6" fmla="*/ 1796529 h 3387204"/>
                <a:gd name="connsiteX7" fmla="*/ 8339137 w 12187237"/>
                <a:gd name="connsiteY7" fmla="*/ 1794978 h 3387204"/>
                <a:gd name="connsiteX8" fmla="*/ 7034212 w 12187237"/>
                <a:gd name="connsiteY8" fmla="*/ 1606029 h 3387204"/>
                <a:gd name="connsiteX9" fmla="*/ 8339137 w 12187237"/>
                <a:gd name="connsiteY9" fmla="*/ 1406004 h 3387204"/>
                <a:gd name="connsiteX10" fmla="*/ 8339885 w 12187237"/>
                <a:gd name="connsiteY10" fmla="*/ 1409066 h 3387204"/>
                <a:gd name="connsiteX11" fmla="*/ 10218737 w 12187237"/>
                <a:gd name="connsiteY11" fmla="*/ 1123429 h 3387204"/>
                <a:gd name="connsiteX12" fmla="*/ 10352087 w 12187237"/>
                <a:gd name="connsiteY12" fmla="*/ 59804 h 3387204"/>
                <a:gd name="connsiteX13" fmla="*/ 10352087 w 12187237"/>
                <a:gd name="connsiteY13" fmla="*/ 859904 h 3387204"/>
                <a:gd name="connsiteX14" fmla="*/ 10183812 w 12187237"/>
                <a:gd name="connsiteY14" fmla="*/ 859904 h 3387204"/>
                <a:gd name="connsiteX15" fmla="*/ 8596475 w 12187237"/>
                <a:gd name="connsiteY15" fmla="*/ 1102926 h 3387204"/>
                <a:gd name="connsiteX16" fmla="*/ 8596312 w 12187237"/>
                <a:gd name="connsiteY16" fmla="*/ 1104379 h 3387204"/>
                <a:gd name="connsiteX17" fmla="*/ 6370637 w 12187237"/>
                <a:gd name="connsiteY17" fmla="*/ 1447279 h 3387204"/>
                <a:gd name="connsiteX18" fmla="*/ 6370612 w 12187237"/>
                <a:gd name="connsiteY18" fmla="*/ 1446871 h 3387204"/>
                <a:gd name="connsiteX19" fmla="*/ 6180137 w 12187237"/>
                <a:gd name="connsiteY19" fmla="*/ 1479029 h 3387204"/>
                <a:gd name="connsiteX20" fmla="*/ 4240212 w 12187237"/>
                <a:gd name="connsiteY20" fmla="*/ 1193279 h 3387204"/>
                <a:gd name="connsiteX21" fmla="*/ 4589462 w 12187237"/>
                <a:gd name="connsiteY21" fmla="*/ 1009129 h 3387204"/>
                <a:gd name="connsiteX22" fmla="*/ 5319712 w 12187237"/>
                <a:gd name="connsiteY22" fmla="*/ 831329 h 3387204"/>
                <a:gd name="connsiteX23" fmla="*/ 6215062 w 12187237"/>
                <a:gd name="connsiteY23" fmla="*/ 466204 h 3387204"/>
                <a:gd name="connsiteX24" fmla="*/ 6332537 w 12187237"/>
                <a:gd name="connsiteY24" fmla="*/ 434454 h 3387204"/>
                <a:gd name="connsiteX25" fmla="*/ 6333046 w 12187237"/>
                <a:gd name="connsiteY25" fmla="*/ 440000 h 3387204"/>
                <a:gd name="connsiteX26" fmla="*/ 7072312 w 12187237"/>
                <a:gd name="connsiteY26" fmla="*/ 310629 h 3387204"/>
                <a:gd name="connsiteX27" fmla="*/ 7859712 w 12187237"/>
                <a:gd name="connsiteY27" fmla="*/ 247129 h 3387204"/>
                <a:gd name="connsiteX28" fmla="*/ 8688387 w 12187237"/>
                <a:gd name="connsiteY28" fmla="*/ 285229 h 3387204"/>
                <a:gd name="connsiteX29" fmla="*/ 8688284 w 12187237"/>
                <a:gd name="connsiteY29" fmla="*/ 286143 h 3387204"/>
                <a:gd name="connsiteX30" fmla="*/ 8970962 w 12187237"/>
                <a:gd name="connsiteY30" fmla="*/ 231254 h 3387204"/>
                <a:gd name="connsiteX31" fmla="*/ 9498012 w 12187237"/>
                <a:gd name="connsiteY31" fmla="*/ 110604 h 3387204"/>
                <a:gd name="connsiteX32" fmla="*/ 9948862 w 12187237"/>
                <a:gd name="connsiteY32" fmla="*/ 180454 h 3387204"/>
                <a:gd name="connsiteX33" fmla="*/ 12187237 w 12187237"/>
                <a:gd name="connsiteY33" fmla="*/ 0 h 3387204"/>
                <a:gd name="connsiteX34" fmla="*/ 12187237 w 12187237"/>
                <a:gd name="connsiteY34" fmla="*/ 454352 h 3387204"/>
                <a:gd name="connsiteX35" fmla="*/ 12187237 w 12187237"/>
                <a:gd name="connsiteY35" fmla="*/ 3387204 h 3387204"/>
                <a:gd name="connsiteX36" fmla="*/ 0 w 12187237"/>
                <a:gd name="connsiteY36" fmla="*/ 3387204 h 3387204"/>
                <a:gd name="connsiteX37" fmla="*/ 0 w 12187237"/>
                <a:gd name="connsiteY37" fmla="*/ 3093316 h 3387204"/>
                <a:gd name="connsiteX38" fmla="*/ 2700338 w 12187237"/>
                <a:gd name="connsiteY38" fmla="*/ 2079104 h 3387204"/>
                <a:gd name="connsiteX39" fmla="*/ 3348038 w 12187237"/>
                <a:gd name="connsiteY39" fmla="*/ 1533004 h 3387204"/>
                <a:gd name="connsiteX40" fmla="*/ 3792538 w 12187237"/>
                <a:gd name="connsiteY40" fmla="*/ 1507604 h 3387204"/>
                <a:gd name="connsiteX41" fmla="*/ 3881437 w 12187237"/>
                <a:gd name="connsiteY41" fmla="*/ 1418704 h 3387204"/>
                <a:gd name="connsiteX42" fmla="*/ 9317643 w 12187237"/>
                <a:gd name="connsiteY42" fmla="*/ 2202088 h 3387204"/>
                <a:gd name="connsiteX43" fmla="*/ 9315762 w 12187237"/>
                <a:gd name="connsiteY43" fmla="*/ 2192129 h 3387204"/>
                <a:gd name="connsiteX44" fmla="*/ 9933600 w 12187237"/>
                <a:gd name="connsiteY44" fmla="*/ 2287453 h 3387204"/>
                <a:gd name="connsiteX45" fmla="*/ 9933600 w 12187237"/>
                <a:gd name="connsiteY45" fmla="*/ 2386307 h 3387204"/>
                <a:gd name="connsiteX46" fmla="*/ 10032454 w 12187237"/>
                <a:gd name="connsiteY46" fmla="*/ 2386307 h 3387204"/>
                <a:gd name="connsiteX47" fmla="*/ 10032454 w 12187237"/>
                <a:gd name="connsiteY47" fmla="*/ 2298044 h 3387204"/>
                <a:gd name="connsiteX48" fmla="*/ 10071290 w 12187237"/>
                <a:gd name="connsiteY48" fmla="*/ 2305105 h 3387204"/>
                <a:gd name="connsiteX49" fmla="*/ 10226632 w 12187237"/>
                <a:gd name="connsiteY49" fmla="*/ 2305105 h 3387204"/>
                <a:gd name="connsiteX50" fmla="*/ 10283120 w 12187237"/>
                <a:gd name="connsiteY50" fmla="*/ 2365124 h 3387204"/>
                <a:gd name="connsiteX51" fmla="*/ 10487889 w 12187237"/>
                <a:gd name="connsiteY51" fmla="*/ 2365124 h 3387204"/>
                <a:gd name="connsiteX52" fmla="*/ 10541888 w 12187237"/>
                <a:gd name="connsiteY52" fmla="*/ 2304375 h 3387204"/>
                <a:gd name="connsiteX53" fmla="*/ 10541888 w 12187237"/>
                <a:gd name="connsiteY53" fmla="*/ 1793244 h 3387204"/>
                <a:gd name="connsiteX54" fmla="*/ 10485437 w 12187237"/>
                <a:gd name="connsiteY54" fmla="*/ 1733029 h 3387204"/>
                <a:gd name="connsiteX55" fmla="*/ 10418762 w 12187237"/>
                <a:gd name="connsiteY55" fmla="*/ 1733029 h 3387204"/>
                <a:gd name="connsiteX56" fmla="*/ 10418762 w 12187237"/>
                <a:gd name="connsiteY56" fmla="*/ 1468376 h 3387204"/>
                <a:gd name="connsiteX57" fmla="*/ 10417279 w 12187237"/>
                <a:gd name="connsiteY57" fmla="*/ 1468376 h 3387204"/>
                <a:gd name="connsiteX58" fmla="*/ 10417279 w 12187237"/>
                <a:gd name="connsiteY58" fmla="*/ 1125918 h 3387204"/>
                <a:gd name="connsiteX59" fmla="*/ 10498480 w 12187237"/>
                <a:gd name="connsiteY59" fmla="*/ 1125918 h 3387204"/>
                <a:gd name="connsiteX60" fmla="*/ 10498480 w 12187237"/>
                <a:gd name="connsiteY60" fmla="*/ 857599 h 3387204"/>
                <a:gd name="connsiteX61" fmla="*/ 10417279 w 12187237"/>
                <a:gd name="connsiteY61" fmla="*/ 857599 h 3387204"/>
                <a:gd name="connsiteX62" fmla="*/ 10417279 w 12187237"/>
                <a:gd name="connsiteY62" fmla="*/ 73828 h 3387204"/>
                <a:gd name="connsiteX63" fmla="*/ 10452584 w 12187237"/>
                <a:gd name="connsiteY63" fmla="*/ 42053 h 3387204"/>
                <a:gd name="connsiteX64" fmla="*/ 11508204 w 12187237"/>
                <a:gd name="connsiteY64" fmla="*/ 42053 h 3387204"/>
                <a:gd name="connsiteX65" fmla="*/ 11850662 w 12187237"/>
                <a:gd name="connsiteY65" fmla="*/ 137377 h 338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187237" h="3387204">
                  <a:moveTo>
                    <a:pt x="10352087" y="1120254"/>
                  </a:moveTo>
                  <a:lnTo>
                    <a:pt x="10352087" y="1733029"/>
                  </a:lnTo>
                  <a:lnTo>
                    <a:pt x="10285412" y="1733029"/>
                  </a:lnTo>
                  <a:lnTo>
                    <a:pt x="10225087" y="1790179"/>
                  </a:lnTo>
                  <a:lnTo>
                    <a:pt x="10225087" y="1964804"/>
                  </a:lnTo>
                  <a:lnTo>
                    <a:pt x="10059987" y="2041004"/>
                  </a:lnTo>
                  <a:lnTo>
                    <a:pt x="8339137" y="1796529"/>
                  </a:lnTo>
                  <a:lnTo>
                    <a:pt x="8339137" y="1794978"/>
                  </a:lnTo>
                  <a:lnTo>
                    <a:pt x="7034212" y="1606029"/>
                  </a:lnTo>
                  <a:lnTo>
                    <a:pt x="8339137" y="1406004"/>
                  </a:lnTo>
                  <a:lnTo>
                    <a:pt x="8339885" y="1409066"/>
                  </a:lnTo>
                  <a:lnTo>
                    <a:pt x="10218737" y="1123429"/>
                  </a:lnTo>
                  <a:close/>
                  <a:moveTo>
                    <a:pt x="10352087" y="59804"/>
                  </a:moveTo>
                  <a:lnTo>
                    <a:pt x="10352087" y="859904"/>
                  </a:lnTo>
                  <a:lnTo>
                    <a:pt x="10183812" y="859904"/>
                  </a:lnTo>
                  <a:lnTo>
                    <a:pt x="8596475" y="1102926"/>
                  </a:lnTo>
                  <a:lnTo>
                    <a:pt x="8596312" y="1104379"/>
                  </a:lnTo>
                  <a:lnTo>
                    <a:pt x="6370637" y="1447279"/>
                  </a:lnTo>
                  <a:lnTo>
                    <a:pt x="6370612" y="1446871"/>
                  </a:lnTo>
                  <a:lnTo>
                    <a:pt x="6180137" y="1479029"/>
                  </a:lnTo>
                  <a:lnTo>
                    <a:pt x="4240212" y="1193279"/>
                  </a:lnTo>
                  <a:lnTo>
                    <a:pt x="4589462" y="1009129"/>
                  </a:lnTo>
                  <a:lnTo>
                    <a:pt x="5319712" y="831329"/>
                  </a:lnTo>
                  <a:lnTo>
                    <a:pt x="6215062" y="466204"/>
                  </a:lnTo>
                  <a:lnTo>
                    <a:pt x="6332537" y="434454"/>
                  </a:lnTo>
                  <a:lnTo>
                    <a:pt x="6333046" y="440000"/>
                  </a:lnTo>
                  <a:lnTo>
                    <a:pt x="7072312" y="310629"/>
                  </a:lnTo>
                  <a:lnTo>
                    <a:pt x="7859712" y="247129"/>
                  </a:lnTo>
                  <a:lnTo>
                    <a:pt x="8688387" y="285229"/>
                  </a:lnTo>
                  <a:lnTo>
                    <a:pt x="8688284" y="286143"/>
                  </a:lnTo>
                  <a:lnTo>
                    <a:pt x="8970962" y="231254"/>
                  </a:lnTo>
                  <a:lnTo>
                    <a:pt x="9498012" y="110604"/>
                  </a:lnTo>
                  <a:lnTo>
                    <a:pt x="9948862" y="180454"/>
                  </a:lnTo>
                  <a:close/>
                  <a:moveTo>
                    <a:pt x="12187237" y="0"/>
                  </a:moveTo>
                  <a:lnTo>
                    <a:pt x="12187237" y="454352"/>
                  </a:lnTo>
                  <a:lnTo>
                    <a:pt x="12187237" y="3387204"/>
                  </a:lnTo>
                  <a:lnTo>
                    <a:pt x="0" y="3387204"/>
                  </a:lnTo>
                  <a:lnTo>
                    <a:pt x="0" y="3093316"/>
                  </a:lnTo>
                  <a:lnTo>
                    <a:pt x="2700338" y="2079104"/>
                  </a:lnTo>
                  <a:lnTo>
                    <a:pt x="3348038" y="1533004"/>
                  </a:lnTo>
                  <a:lnTo>
                    <a:pt x="3792538" y="1507604"/>
                  </a:lnTo>
                  <a:lnTo>
                    <a:pt x="3881437" y="1418704"/>
                  </a:lnTo>
                  <a:lnTo>
                    <a:pt x="9317643" y="2202088"/>
                  </a:lnTo>
                  <a:lnTo>
                    <a:pt x="9315762" y="2192129"/>
                  </a:lnTo>
                  <a:lnTo>
                    <a:pt x="9933600" y="2287453"/>
                  </a:lnTo>
                  <a:lnTo>
                    <a:pt x="9933600" y="2386307"/>
                  </a:lnTo>
                  <a:lnTo>
                    <a:pt x="10032454" y="2386307"/>
                  </a:lnTo>
                  <a:lnTo>
                    <a:pt x="10032454" y="2298044"/>
                  </a:lnTo>
                  <a:lnTo>
                    <a:pt x="10071290" y="2305105"/>
                  </a:lnTo>
                  <a:lnTo>
                    <a:pt x="10226632" y="2305105"/>
                  </a:lnTo>
                  <a:lnTo>
                    <a:pt x="10283120" y="2365124"/>
                  </a:lnTo>
                  <a:lnTo>
                    <a:pt x="10487889" y="2365124"/>
                  </a:lnTo>
                  <a:lnTo>
                    <a:pt x="10541888" y="2304375"/>
                  </a:lnTo>
                  <a:lnTo>
                    <a:pt x="10541888" y="1793244"/>
                  </a:lnTo>
                  <a:lnTo>
                    <a:pt x="10485437" y="1733029"/>
                  </a:lnTo>
                  <a:lnTo>
                    <a:pt x="10418762" y="1733029"/>
                  </a:lnTo>
                  <a:lnTo>
                    <a:pt x="10418762" y="1468376"/>
                  </a:lnTo>
                  <a:lnTo>
                    <a:pt x="10417279" y="1468376"/>
                  </a:lnTo>
                  <a:lnTo>
                    <a:pt x="10417279" y="1125918"/>
                  </a:lnTo>
                  <a:lnTo>
                    <a:pt x="10498480" y="1125918"/>
                  </a:lnTo>
                  <a:lnTo>
                    <a:pt x="10498480" y="857599"/>
                  </a:lnTo>
                  <a:lnTo>
                    <a:pt x="10417279" y="857599"/>
                  </a:lnTo>
                  <a:lnTo>
                    <a:pt x="10417279" y="73828"/>
                  </a:lnTo>
                  <a:lnTo>
                    <a:pt x="10452584" y="42053"/>
                  </a:lnTo>
                  <a:lnTo>
                    <a:pt x="11508204" y="42053"/>
                  </a:lnTo>
                  <a:lnTo>
                    <a:pt x="11850662" y="137377"/>
                  </a:lnTo>
                  <a:close/>
                </a:path>
              </a:pathLst>
            </a:custGeom>
          </p:spPr>
        </p:pic>
        <p:grpSp>
          <p:nvGrpSpPr>
            <p:cNvPr id="58" name="Group 57">
              <a:extLst>
                <a:ext uri="{FF2B5EF4-FFF2-40B4-BE49-F238E27FC236}">
                  <a16:creationId xmlns:a16="http://schemas.microsoft.com/office/drawing/2014/main" id="{730F291C-AC0F-BE2F-0A6F-07E522386E36}"/>
                </a:ext>
              </a:extLst>
            </p:cNvPr>
            <p:cNvGrpSpPr/>
            <p:nvPr/>
          </p:nvGrpSpPr>
          <p:grpSpPr>
            <a:xfrm>
              <a:off x="-889" y="3236777"/>
              <a:ext cx="12193142" cy="3370706"/>
              <a:chOff x="-889" y="3236777"/>
              <a:chExt cx="12193142" cy="3370706"/>
            </a:xfrm>
          </p:grpSpPr>
          <p:grpSp>
            <p:nvGrpSpPr>
              <p:cNvPr id="56" name="Group 55">
                <a:extLst>
                  <a:ext uri="{FF2B5EF4-FFF2-40B4-BE49-F238E27FC236}">
                    <a16:creationId xmlns:a16="http://schemas.microsoft.com/office/drawing/2014/main" id="{C390B855-A4A3-BD72-1D4C-B6620A79B92A}"/>
                  </a:ext>
                </a:extLst>
              </p:cNvPr>
              <p:cNvGrpSpPr/>
              <p:nvPr/>
            </p:nvGrpSpPr>
            <p:grpSpPr>
              <a:xfrm>
                <a:off x="-889" y="3439595"/>
                <a:ext cx="12193142" cy="3167888"/>
                <a:chOff x="-889" y="3439595"/>
                <a:chExt cx="12193142" cy="3167888"/>
              </a:xfrm>
            </p:grpSpPr>
            <p:sp>
              <p:nvSpPr>
                <p:cNvPr id="28" name="Freeform 27">
                  <a:extLst>
                    <a:ext uri="{FF2B5EF4-FFF2-40B4-BE49-F238E27FC236}">
                      <a16:creationId xmlns:a16="http://schemas.microsoft.com/office/drawing/2014/main" id="{8165A9E0-884C-8D65-5F46-910D475A4B52}"/>
                    </a:ext>
                  </a:extLst>
                </p:cNvPr>
                <p:cNvSpPr/>
                <p:nvPr/>
              </p:nvSpPr>
              <p:spPr>
                <a:xfrm>
                  <a:off x="-889" y="4877299"/>
                  <a:ext cx="3928744" cy="1730184"/>
                </a:xfrm>
                <a:custGeom>
                  <a:avLst/>
                  <a:gdLst>
                    <a:gd name="connsiteX0" fmla="*/ 3849942 w 3928744"/>
                    <a:gd name="connsiteY0" fmla="*/ 0 h 1730184"/>
                    <a:gd name="connsiteX1" fmla="*/ 3769995 w 3928744"/>
                    <a:gd name="connsiteY1" fmla="*/ 56261 h 1730184"/>
                    <a:gd name="connsiteX2" fmla="*/ 3313494 w 3928744"/>
                    <a:gd name="connsiteY2" fmla="*/ 100013 h 1730184"/>
                    <a:gd name="connsiteX3" fmla="*/ 2665159 w 3928744"/>
                    <a:gd name="connsiteY3" fmla="*/ 636651 h 1730184"/>
                    <a:gd name="connsiteX4" fmla="*/ 0 w 3928744"/>
                    <a:gd name="connsiteY4" fmla="*/ 1668844 h 1730184"/>
                    <a:gd name="connsiteX5" fmla="*/ 0 w 3928744"/>
                    <a:gd name="connsiteY5" fmla="*/ 1730184 h 1730184"/>
                    <a:gd name="connsiteX6" fmla="*/ 2690114 w 3928744"/>
                    <a:gd name="connsiteY6" fmla="*/ 688276 h 1730184"/>
                    <a:gd name="connsiteX7" fmla="*/ 2694496 w 3928744"/>
                    <a:gd name="connsiteY7" fmla="*/ 686562 h 1730184"/>
                    <a:gd name="connsiteX8" fmla="*/ 3336417 w 3928744"/>
                    <a:gd name="connsiteY8" fmla="*/ 155257 h 1730184"/>
                    <a:gd name="connsiteX9" fmla="*/ 3790505 w 3928744"/>
                    <a:gd name="connsiteY9" fmla="*/ 111696 h 1730184"/>
                    <a:gd name="connsiteX10" fmla="*/ 3928745 w 3928744"/>
                    <a:gd name="connsiteY10" fmla="*/ 14414 h 1730184"/>
                    <a:gd name="connsiteX11" fmla="*/ 3927666 w 3928744"/>
                    <a:gd name="connsiteY11" fmla="*/ 12827 h 1730184"/>
                    <a:gd name="connsiteX12" fmla="*/ 3849942 w 3928744"/>
                    <a:gd name="connsiteY12" fmla="*/ 0 h 173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8744" h="1730184">
                      <a:moveTo>
                        <a:pt x="3849942" y="0"/>
                      </a:moveTo>
                      <a:lnTo>
                        <a:pt x="3769995" y="56261"/>
                      </a:lnTo>
                      <a:lnTo>
                        <a:pt x="3313494" y="100013"/>
                      </a:lnTo>
                      <a:lnTo>
                        <a:pt x="2665159" y="636651"/>
                      </a:lnTo>
                      <a:lnTo>
                        <a:pt x="0" y="1668844"/>
                      </a:lnTo>
                      <a:lnTo>
                        <a:pt x="0" y="1730184"/>
                      </a:lnTo>
                      <a:lnTo>
                        <a:pt x="2690114" y="688276"/>
                      </a:lnTo>
                      <a:lnTo>
                        <a:pt x="2694496" y="686562"/>
                      </a:lnTo>
                      <a:lnTo>
                        <a:pt x="3336417" y="155257"/>
                      </a:lnTo>
                      <a:lnTo>
                        <a:pt x="3790505" y="111696"/>
                      </a:lnTo>
                      <a:lnTo>
                        <a:pt x="3928745" y="14414"/>
                      </a:lnTo>
                      <a:lnTo>
                        <a:pt x="3927666" y="12827"/>
                      </a:lnTo>
                      <a:lnTo>
                        <a:pt x="3849942" y="0"/>
                      </a:lnTo>
                      <a:close/>
                    </a:path>
                  </a:pathLst>
                </a:custGeom>
                <a:solidFill>
                  <a:srgbClr val="FFFFFF"/>
                </a:solidFill>
                <a:ln w="0" cap="flat">
                  <a:noFill/>
                  <a:prstDash val="solid"/>
                  <a:miter/>
                </a:ln>
              </p:spPr>
              <p:txBody>
                <a:bodyPr rtlCol="0" anchor="ctr"/>
                <a:lstStyle/>
                <a:p>
                  <a:endParaRPr lang="sv-SE"/>
                </a:p>
              </p:txBody>
            </p:sp>
            <p:sp>
              <p:nvSpPr>
                <p:cNvPr id="29" name="Freeform 28">
                  <a:extLst>
                    <a:ext uri="{FF2B5EF4-FFF2-40B4-BE49-F238E27FC236}">
                      <a16:creationId xmlns:a16="http://schemas.microsoft.com/office/drawing/2014/main" id="{D66EAA8B-6996-D5D2-55E1-E81EF51BA898}"/>
                    </a:ext>
                  </a:extLst>
                </p:cNvPr>
                <p:cNvSpPr/>
                <p:nvPr/>
              </p:nvSpPr>
              <p:spPr>
                <a:xfrm>
                  <a:off x="4192587" y="3503667"/>
                  <a:ext cx="6176835" cy="1168780"/>
                </a:xfrm>
                <a:custGeom>
                  <a:avLst/>
                  <a:gdLst>
                    <a:gd name="connsiteX0" fmla="*/ 6163819 w 6176835"/>
                    <a:gd name="connsiteY0" fmla="*/ 28448 h 1168780"/>
                    <a:gd name="connsiteX1" fmla="*/ 6176836 w 6176835"/>
                    <a:gd name="connsiteY1" fmla="*/ 28448 h 1168780"/>
                    <a:gd name="connsiteX2" fmla="*/ 6176836 w 6176835"/>
                    <a:gd name="connsiteY2" fmla="*/ 0 h 1168780"/>
                    <a:gd name="connsiteX3" fmla="*/ 5747322 w 6176835"/>
                    <a:gd name="connsiteY3" fmla="*/ 112522 h 1168780"/>
                    <a:gd name="connsiteX4" fmla="*/ 5298757 w 6176835"/>
                    <a:gd name="connsiteY4" fmla="*/ 50165 h 1168780"/>
                    <a:gd name="connsiteX5" fmla="*/ 4530218 w 6176835"/>
                    <a:gd name="connsiteY5" fmla="*/ 225108 h 1168780"/>
                    <a:gd name="connsiteX6" fmla="*/ 3665220 w 6176835"/>
                    <a:gd name="connsiteY6" fmla="*/ 187770 h 1168780"/>
                    <a:gd name="connsiteX7" fmla="*/ 2877503 w 6176835"/>
                    <a:gd name="connsiteY7" fmla="*/ 256540 h 1168780"/>
                    <a:gd name="connsiteX8" fmla="*/ 2042604 w 6176835"/>
                    <a:gd name="connsiteY8" fmla="*/ 400876 h 1168780"/>
                    <a:gd name="connsiteX9" fmla="*/ 1124903 w 6176835"/>
                    <a:gd name="connsiteY9" fmla="*/ 769176 h 1168780"/>
                    <a:gd name="connsiteX10" fmla="*/ 418909 w 6176835"/>
                    <a:gd name="connsiteY10" fmla="*/ 937895 h 1168780"/>
                    <a:gd name="connsiteX11" fmla="*/ 0 w 6176835"/>
                    <a:gd name="connsiteY11" fmla="*/ 1149985 h 1168780"/>
                    <a:gd name="connsiteX12" fmla="*/ 3175 w 6176835"/>
                    <a:gd name="connsiteY12" fmla="*/ 1155446 h 1168780"/>
                    <a:gd name="connsiteX13" fmla="*/ 89217 w 6176835"/>
                    <a:gd name="connsiteY13" fmla="*/ 1168781 h 1168780"/>
                    <a:gd name="connsiteX14" fmla="*/ 438722 w 6176835"/>
                    <a:gd name="connsiteY14" fmla="*/ 991870 h 1168780"/>
                    <a:gd name="connsiteX15" fmla="*/ 1142302 w 6176835"/>
                    <a:gd name="connsiteY15" fmla="*/ 823785 h 1168780"/>
                    <a:gd name="connsiteX16" fmla="*/ 2058289 w 6176835"/>
                    <a:gd name="connsiteY16" fmla="*/ 456120 h 1168780"/>
                    <a:gd name="connsiteX17" fmla="*/ 2883662 w 6176835"/>
                    <a:gd name="connsiteY17" fmla="*/ 313372 h 1168780"/>
                    <a:gd name="connsiteX18" fmla="*/ 3666490 w 6176835"/>
                    <a:gd name="connsiteY18" fmla="*/ 245046 h 1168780"/>
                    <a:gd name="connsiteX19" fmla="*/ 4535424 w 6176835"/>
                    <a:gd name="connsiteY19" fmla="*/ 282575 h 1168780"/>
                    <a:gd name="connsiteX20" fmla="*/ 5301234 w 6176835"/>
                    <a:gd name="connsiteY20" fmla="*/ 108204 h 1168780"/>
                    <a:gd name="connsiteX21" fmla="*/ 5750751 w 6176835"/>
                    <a:gd name="connsiteY21" fmla="*/ 170688 h 1168780"/>
                    <a:gd name="connsiteX22" fmla="*/ 6163819 w 6176835"/>
                    <a:gd name="connsiteY22" fmla="*/ 62484 h 1168780"/>
                    <a:gd name="connsiteX23" fmla="*/ 6163819 w 6176835"/>
                    <a:gd name="connsiteY23" fmla="*/ 28448 h 116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76835" h="1168780">
                      <a:moveTo>
                        <a:pt x="6163819" y="28448"/>
                      </a:moveTo>
                      <a:lnTo>
                        <a:pt x="6176836" y="28448"/>
                      </a:lnTo>
                      <a:lnTo>
                        <a:pt x="6176836" y="0"/>
                      </a:lnTo>
                      <a:lnTo>
                        <a:pt x="5747322" y="112522"/>
                      </a:lnTo>
                      <a:lnTo>
                        <a:pt x="5298757" y="50165"/>
                      </a:lnTo>
                      <a:lnTo>
                        <a:pt x="4530218" y="225108"/>
                      </a:lnTo>
                      <a:lnTo>
                        <a:pt x="3665220" y="187770"/>
                      </a:lnTo>
                      <a:lnTo>
                        <a:pt x="2877503" y="256540"/>
                      </a:lnTo>
                      <a:lnTo>
                        <a:pt x="2042604" y="400876"/>
                      </a:lnTo>
                      <a:lnTo>
                        <a:pt x="1124903" y="769176"/>
                      </a:lnTo>
                      <a:lnTo>
                        <a:pt x="418909" y="937895"/>
                      </a:lnTo>
                      <a:lnTo>
                        <a:pt x="0" y="1149985"/>
                      </a:lnTo>
                      <a:lnTo>
                        <a:pt x="3175" y="1155446"/>
                      </a:lnTo>
                      <a:lnTo>
                        <a:pt x="89217" y="1168781"/>
                      </a:lnTo>
                      <a:lnTo>
                        <a:pt x="438722" y="991870"/>
                      </a:lnTo>
                      <a:lnTo>
                        <a:pt x="1142302" y="823785"/>
                      </a:lnTo>
                      <a:lnTo>
                        <a:pt x="2058289" y="456120"/>
                      </a:lnTo>
                      <a:lnTo>
                        <a:pt x="2883662" y="313372"/>
                      </a:lnTo>
                      <a:lnTo>
                        <a:pt x="3666490" y="245046"/>
                      </a:lnTo>
                      <a:lnTo>
                        <a:pt x="4535424" y="282575"/>
                      </a:lnTo>
                      <a:lnTo>
                        <a:pt x="5301234" y="108204"/>
                      </a:lnTo>
                      <a:lnTo>
                        <a:pt x="5750751" y="170688"/>
                      </a:lnTo>
                      <a:lnTo>
                        <a:pt x="6163819" y="62484"/>
                      </a:lnTo>
                      <a:lnTo>
                        <a:pt x="6163819" y="28448"/>
                      </a:lnTo>
                      <a:close/>
                    </a:path>
                  </a:pathLst>
                </a:custGeom>
                <a:solidFill>
                  <a:srgbClr val="FFFFFF"/>
                </a:solidFill>
                <a:ln w="0" cap="flat">
                  <a:noFill/>
                  <a:prstDash val="solid"/>
                  <a:miter/>
                </a:ln>
              </p:spPr>
              <p:txBody>
                <a:bodyPr rtlCol="0" anchor="ctr"/>
                <a:lstStyle/>
                <a:p>
                  <a:endParaRPr lang="sv-SE"/>
                </a:p>
              </p:txBody>
            </p:sp>
            <p:sp>
              <p:nvSpPr>
                <p:cNvPr id="31" name="Freeform 30">
                  <a:extLst>
                    <a:ext uri="{FF2B5EF4-FFF2-40B4-BE49-F238E27FC236}">
                      <a16:creationId xmlns:a16="http://schemas.microsoft.com/office/drawing/2014/main" id="{4EB557A8-7535-6328-4D85-D068DDF94471}"/>
                    </a:ext>
                  </a:extLst>
                </p:cNvPr>
                <p:cNvSpPr/>
                <p:nvPr/>
              </p:nvSpPr>
              <p:spPr>
                <a:xfrm>
                  <a:off x="10407395" y="3439595"/>
                  <a:ext cx="1784858" cy="199072"/>
                </a:xfrm>
                <a:custGeom>
                  <a:avLst/>
                  <a:gdLst>
                    <a:gd name="connsiteX0" fmla="*/ 1784859 w 1784858"/>
                    <a:gd name="connsiteY0" fmla="*/ 0 h 199072"/>
                    <a:gd name="connsiteX1" fmla="*/ 1448372 w 1784858"/>
                    <a:gd name="connsiteY1" fmla="*/ 138748 h 199072"/>
                    <a:gd name="connsiteX2" fmla="*/ 1093089 w 1784858"/>
                    <a:gd name="connsiteY2" fmla="*/ 39942 h 199072"/>
                    <a:gd name="connsiteX3" fmla="*/ 56388 w 1784858"/>
                    <a:gd name="connsiteY3" fmla="*/ 39942 h 199072"/>
                    <a:gd name="connsiteX4" fmla="*/ 0 w 1784858"/>
                    <a:gd name="connsiteY4" fmla="*/ 54610 h 199072"/>
                    <a:gd name="connsiteX5" fmla="*/ 0 w 1784858"/>
                    <a:gd name="connsiteY5" fmla="*/ 82931 h 199072"/>
                    <a:gd name="connsiteX6" fmla="*/ 1016 w 1784858"/>
                    <a:gd name="connsiteY6" fmla="*/ 86741 h 199072"/>
                    <a:gd name="connsiteX7" fmla="*/ 14351 w 1784858"/>
                    <a:gd name="connsiteY7" fmla="*/ 86741 h 199072"/>
                    <a:gd name="connsiteX8" fmla="*/ 14351 w 1784858"/>
                    <a:gd name="connsiteY8" fmla="*/ 109918 h 199072"/>
                    <a:gd name="connsiteX9" fmla="*/ 63691 w 1784858"/>
                    <a:gd name="connsiteY9" fmla="*/ 97092 h 199072"/>
                    <a:gd name="connsiteX10" fmla="*/ 1085279 w 1784858"/>
                    <a:gd name="connsiteY10" fmla="*/ 97092 h 199072"/>
                    <a:gd name="connsiteX11" fmla="*/ 1452055 w 1784858"/>
                    <a:gd name="connsiteY11" fmla="*/ 199073 h 199072"/>
                    <a:gd name="connsiteX12" fmla="*/ 1784859 w 1784858"/>
                    <a:gd name="connsiteY12" fmla="*/ 61023 h 199072"/>
                    <a:gd name="connsiteX13" fmla="*/ 1784859 w 1784858"/>
                    <a:gd name="connsiteY13" fmla="*/ 0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4858" h="199072">
                      <a:moveTo>
                        <a:pt x="1784859" y="0"/>
                      </a:moveTo>
                      <a:lnTo>
                        <a:pt x="1448372" y="138748"/>
                      </a:lnTo>
                      <a:lnTo>
                        <a:pt x="1093089" y="39942"/>
                      </a:lnTo>
                      <a:lnTo>
                        <a:pt x="56388" y="39942"/>
                      </a:lnTo>
                      <a:lnTo>
                        <a:pt x="0" y="54610"/>
                      </a:lnTo>
                      <a:lnTo>
                        <a:pt x="0" y="82931"/>
                      </a:lnTo>
                      <a:lnTo>
                        <a:pt x="1016" y="86741"/>
                      </a:lnTo>
                      <a:lnTo>
                        <a:pt x="14351" y="86741"/>
                      </a:lnTo>
                      <a:lnTo>
                        <a:pt x="14351" y="109918"/>
                      </a:lnTo>
                      <a:lnTo>
                        <a:pt x="63691" y="97092"/>
                      </a:lnTo>
                      <a:lnTo>
                        <a:pt x="1085279" y="97092"/>
                      </a:lnTo>
                      <a:lnTo>
                        <a:pt x="1452055" y="199073"/>
                      </a:lnTo>
                      <a:lnTo>
                        <a:pt x="1784859" y="61023"/>
                      </a:lnTo>
                      <a:lnTo>
                        <a:pt x="1784859" y="0"/>
                      </a:lnTo>
                      <a:close/>
                    </a:path>
                  </a:pathLst>
                </a:custGeom>
                <a:solidFill>
                  <a:srgbClr val="FFFFFF"/>
                </a:solidFill>
                <a:ln w="0" cap="flat">
                  <a:noFill/>
                  <a:prstDash val="solid"/>
                  <a:miter/>
                </a:ln>
              </p:spPr>
              <p:txBody>
                <a:bodyPr rtlCol="0" anchor="ctr"/>
                <a:lstStyle/>
                <a:p>
                  <a:endParaRPr lang="sv-SE"/>
                </a:p>
              </p:txBody>
            </p:sp>
          </p:grpSp>
          <p:sp>
            <p:nvSpPr>
              <p:cNvPr id="21" name="Freeform 20">
                <a:extLst>
                  <a:ext uri="{FF2B5EF4-FFF2-40B4-BE49-F238E27FC236}">
                    <a16:creationId xmlns:a16="http://schemas.microsoft.com/office/drawing/2014/main" id="{94AFC951-BEC0-B6D3-8B3C-1770C40B12AE}"/>
                  </a:ext>
                </a:extLst>
              </p:cNvPr>
              <p:cNvSpPr/>
              <p:nvPr/>
            </p:nvSpPr>
            <p:spPr>
              <a:xfrm>
                <a:off x="10229342" y="3530908"/>
                <a:ext cx="317309" cy="2304097"/>
              </a:xfrm>
              <a:custGeom>
                <a:avLst/>
                <a:gdLst>
                  <a:gd name="connsiteX0" fmla="*/ 127064 w 317309"/>
                  <a:gd name="connsiteY0" fmla="*/ 1619250 h 2304097"/>
                  <a:gd name="connsiteX1" fmla="*/ 127064 w 317309"/>
                  <a:gd name="connsiteY1" fmla="*/ 0 h 2304097"/>
                  <a:gd name="connsiteX2" fmla="*/ 190246 w 317309"/>
                  <a:gd name="connsiteY2" fmla="*/ 0 h 2304097"/>
                  <a:gd name="connsiteX3" fmla="*/ 190246 w 317309"/>
                  <a:gd name="connsiteY3" fmla="*/ 1619250 h 2304097"/>
                  <a:gd name="connsiteX4" fmla="*/ 190246 w 317309"/>
                  <a:gd name="connsiteY4" fmla="*/ 1669479 h 2304097"/>
                  <a:gd name="connsiteX5" fmla="*/ 257810 w 317309"/>
                  <a:gd name="connsiteY5" fmla="*/ 1669479 h 2304097"/>
                  <a:gd name="connsiteX6" fmla="*/ 317309 w 317309"/>
                  <a:gd name="connsiteY6" fmla="*/ 1728978 h 2304097"/>
                  <a:gd name="connsiteX7" fmla="*/ 317309 w 317309"/>
                  <a:gd name="connsiteY7" fmla="*/ 2244598 h 2304097"/>
                  <a:gd name="connsiteX8" fmla="*/ 257810 w 317309"/>
                  <a:gd name="connsiteY8" fmla="*/ 2304097 h 2304097"/>
                  <a:gd name="connsiteX9" fmla="*/ 59499 w 317309"/>
                  <a:gd name="connsiteY9" fmla="*/ 2304097 h 2304097"/>
                  <a:gd name="connsiteX10" fmla="*/ 0 w 317309"/>
                  <a:gd name="connsiteY10" fmla="*/ 2244598 h 2304097"/>
                  <a:gd name="connsiteX11" fmla="*/ 0 w 317309"/>
                  <a:gd name="connsiteY11" fmla="*/ 1728978 h 2304097"/>
                  <a:gd name="connsiteX12" fmla="*/ 59499 w 317309"/>
                  <a:gd name="connsiteY12" fmla="*/ 1669479 h 2304097"/>
                  <a:gd name="connsiteX13" fmla="*/ 127064 w 317309"/>
                  <a:gd name="connsiteY13" fmla="*/ 1669479 h 2304097"/>
                  <a:gd name="connsiteX14" fmla="*/ 127064 w 317309"/>
                  <a:gd name="connsiteY14" fmla="*/ 1619250 h 230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7309" h="2304097">
                    <a:moveTo>
                      <a:pt x="127064" y="1619250"/>
                    </a:moveTo>
                    <a:lnTo>
                      <a:pt x="127064" y="0"/>
                    </a:lnTo>
                    <a:lnTo>
                      <a:pt x="190246" y="0"/>
                    </a:lnTo>
                    <a:lnTo>
                      <a:pt x="190246" y="1619250"/>
                    </a:lnTo>
                    <a:lnTo>
                      <a:pt x="190246" y="1669479"/>
                    </a:lnTo>
                    <a:lnTo>
                      <a:pt x="257810" y="1669479"/>
                    </a:lnTo>
                    <a:lnTo>
                      <a:pt x="317309" y="1728978"/>
                    </a:lnTo>
                    <a:lnTo>
                      <a:pt x="317309" y="2244598"/>
                    </a:lnTo>
                    <a:lnTo>
                      <a:pt x="257810" y="2304097"/>
                    </a:lnTo>
                    <a:lnTo>
                      <a:pt x="59499" y="2304097"/>
                    </a:lnTo>
                    <a:lnTo>
                      <a:pt x="0" y="2244598"/>
                    </a:lnTo>
                    <a:lnTo>
                      <a:pt x="0" y="1728978"/>
                    </a:lnTo>
                    <a:lnTo>
                      <a:pt x="59499" y="1669479"/>
                    </a:lnTo>
                    <a:lnTo>
                      <a:pt x="127064" y="1669479"/>
                    </a:lnTo>
                    <a:lnTo>
                      <a:pt x="127064" y="1619250"/>
                    </a:lnTo>
                    <a:close/>
                  </a:path>
                </a:pathLst>
              </a:custGeom>
              <a:noFill/>
              <a:ln w="12700" cap="flat">
                <a:solidFill>
                  <a:srgbClr val="FFFFFF"/>
                </a:solidFill>
                <a:prstDash val="solid"/>
                <a:miter/>
              </a:ln>
            </p:spPr>
            <p:txBody>
              <a:bodyPr rtlCol="0" anchor="ctr"/>
              <a:lstStyle/>
              <a:p>
                <a:endParaRPr lang="sv-SE"/>
              </a:p>
            </p:txBody>
          </p:sp>
          <p:sp>
            <p:nvSpPr>
              <p:cNvPr id="22" name="Freeform 21">
                <a:extLst>
                  <a:ext uri="{FF2B5EF4-FFF2-40B4-BE49-F238E27FC236}">
                    <a16:creationId xmlns:a16="http://schemas.microsoft.com/office/drawing/2014/main" id="{24A57C7A-5B5F-330C-AA97-F701E547125A}"/>
                  </a:ext>
                </a:extLst>
              </p:cNvPr>
              <p:cNvSpPr/>
              <p:nvPr/>
            </p:nvSpPr>
            <p:spPr>
              <a:xfrm>
                <a:off x="10371391" y="3236777"/>
                <a:ext cx="33147" cy="294385"/>
              </a:xfrm>
              <a:custGeom>
                <a:avLst/>
                <a:gdLst>
                  <a:gd name="connsiteX0" fmla="*/ 0 w 33147"/>
                  <a:gd name="connsiteY0" fmla="*/ 0 h 294385"/>
                  <a:gd name="connsiteX1" fmla="*/ 33147 w 33147"/>
                  <a:gd name="connsiteY1" fmla="*/ 0 h 294385"/>
                  <a:gd name="connsiteX2" fmla="*/ 33147 w 33147"/>
                  <a:gd name="connsiteY2" fmla="*/ 294386 h 294385"/>
                  <a:gd name="connsiteX3" fmla="*/ 0 w 33147"/>
                  <a:gd name="connsiteY3" fmla="*/ 294386 h 294385"/>
                </a:gdLst>
                <a:ahLst/>
                <a:cxnLst>
                  <a:cxn ang="0">
                    <a:pos x="connsiteX0" y="connsiteY0"/>
                  </a:cxn>
                  <a:cxn ang="0">
                    <a:pos x="connsiteX1" y="connsiteY1"/>
                  </a:cxn>
                  <a:cxn ang="0">
                    <a:pos x="connsiteX2" y="connsiteY2"/>
                  </a:cxn>
                  <a:cxn ang="0">
                    <a:pos x="connsiteX3" y="connsiteY3"/>
                  </a:cxn>
                </a:cxnLst>
                <a:rect l="l" t="t" r="r" b="b"/>
                <a:pathLst>
                  <a:path w="33147" h="294385">
                    <a:moveTo>
                      <a:pt x="0" y="0"/>
                    </a:moveTo>
                    <a:lnTo>
                      <a:pt x="33147" y="0"/>
                    </a:lnTo>
                    <a:lnTo>
                      <a:pt x="33147" y="294386"/>
                    </a:lnTo>
                    <a:lnTo>
                      <a:pt x="0" y="294386"/>
                    </a:lnTo>
                    <a:close/>
                  </a:path>
                </a:pathLst>
              </a:custGeom>
              <a:noFill/>
              <a:ln w="12700" cap="flat">
                <a:solidFill>
                  <a:srgbClr val="FFFFFF"/>
                </a:solidFill>
                <a:prstDash val="solid"/>
                <a:miter/>
              </a:ln>
            </p:spPr>
            <p:txBody>
              <a:bodyPr rtlCol="0" anchor="ctr"/>
              <a:lstStyle/>
              <a:p>
                <a:endParaRPr lang="sv-SE"/>
              </a:p>
            </p:txBody>
          </p:sp>
          <p:sp>
            <p:nvSpPr>
              <p:cNvPr id="23" name="Freeform 22">
                <a:extLst>
                  <a:ext uri="{FF2B5EF4-FFF2-40B4-BE49-F238E27FC236}">
                    <a16:creationId xmlns:a16="http://schemas.microsoft.com/office/drawing/2014/main" id="{1FA02B80-261B-1C4C-E0ED-F8A860673F58}"/>
                  </a:ext>
                </a:extLst>
              </p:cNvPr>
              <p:cNvSpPr/>
              <p:nvPr/>
            </p:nvSpPr>
            <p:spPr>
              <a:xfrm>
                <a:off x="3798061" y="4871901"/>
                <a:ext cx="6432550" cy="983360"/>
              </a:xfrm>
              <a:custGeom>
                <a:avLst/>
                <a:gdLst>
                  <a:gd name="connsiteX0" fmla="*/ 0 w 6432550"/>
                  <a:gd name="connsiteY0" fmla="*/ 0 h 983360"/>
                  <a:gd name="connsiteX1" fmla="*/ 6137339 w 6432550"/>
                  <a:gd name="connsiteY1" fmla="*/ 881507 h 983360"/>
                  <a:gd name="connsiteX2" fmla="*/ 6137339 w 6432550"/>
                  <a:gd name="connsiteY2" fmla="*/ 983361 h 983360"/>
                  <a:gd name="connsiteX3" fmla="*/ 6237161 w 6432550"/>
                  <a:gd name="connsiteY3" fmla="*/ 983361 h 983360"/>
                  <a:gd name="connsiteX4" fmla="*/ 6237161 w 6432550"/>
                  <a:gd name="connsiteY4" fmla="*/ 895858 h 983360"/>
                  <a:gd name="connsiteX5" fmla="*/ 6268594 w 6432550"/>
                  <a:gd name="connsiteY5" fmla="*/ 900367 h 983360"/>
                  <a:gd name="connsiteX6" fmla="*/ 6432550 w 6432550"/>
                  <a:gd name="connsiteY6" fmla="*/ 900367 h 98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2550" h="983360">
                    <a:moveTo>
                      <a:pt x="0" y="0"/>
                    </a:moveTo>
                    <a:lnTo>
                      <a:pt x="6137339" y="881507"/>
                    </a:lnTo>
                    <a:lnTo>
                      <a:pt x="6137339" y="983361"/>
                    </a:lnTo>
                    <a:lnTo>
                      <a:pt x="6237161" y="983361"/>
                    </a:lnTo>
                    <a:lnTo>
                      <a:pt x="6237161" y="895858"/>
                    </a:lnTo>
                    <a:lnTo>
                      <a:pt x="6268594" y="900367"/>
                    </a:lnTo>
                    <a:lnTo>
                      <a:pt x="6432550" y="900367"/>
                    </a:lnTo>
                  </a:path>
                </a:pathLst>
              </a:custGeom>
              <a:noFill/>
              <a:ln w="12700" cap="flat">
                <a:solidFill>
                  <a:srgbClr val="FFFFFF"/>
                </a:solidFill>
                <a:prstDash val="solid"/>
                <a:miter/>
              </a:ln>
            </p:spPr>
            <p:txBody>
              <a:bodyPr rtlCol="0" anchor="ctr"/>
              <a:lstStyle/>
              <a:p>
                <a:endParaRPr lang="sv-SE"/>
              </a:p>
            </p:txBody>
          </p:sp>
          <p:sp>
            <p:nvSpPr>
              <p:cNvPr id="24" name="Freeform 23">
                <a:extLst>
                  <a:ext uri="{FF2B5EF4-FFF2-40B4-BE49-F238E27FC236}">
                    <a16:creationId xmlns:a16="http://schemas.microsoft.com/office/drawing/2014/main" id="{DBA1A82E-556F-7869-82E2-88659CA9582D}"/>
                  </a:ext>
                </a:extLst>
              </p:cNvPr>
              <p:cNvSpPr/>
              <p:nvPr/>
            </p:nvSpPr>
            <p:spPr>
              <a:xfrm>
                <a:off x="4115942" y="4328405"/>
                <a:ext cx="6240462" cy="618997"/>
              </a:xfrm>
              <a:custGeom>
                <a:avLst/>
                <a:gdLst>
                  <a:gd name="connsiteX0" fmla="*/ 6240463 w 6240462"/>
                  <a:gd name="connsiteY0" fmla="*/ 0 h 618997"/>
                  <a:gd name="connsiteX1" fmla="*/ 6077522 w 6240462"/>
                  <a:gd name="connsiteY1" fmla="*/ 0 h 618997"/>
                  <a:gd name="connsiteX2" fmla="*/ 2063242 w 6240462"/>
                  <a:gd name="connsiteY2" fmla="*/ 618998 h 618997"/>
                  <a:gd name="connsiteX3" fmla="*/ 1982279 w 6240462"/>
                  <a:gd name="connsiteY3" fmla="*/ 606615 h 618997"/>
                  <a:gd name="connsiteX4" fmla="*/ 0 w 6240462"/>
                  <a:gd name="connsiteY4" fmla="*/ 319405 h 618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462" h="618997">
                    <a:moveTo>
                      <a:pt x="6240463" y="0"/>
                    </a:moveTo>
                    <a:lnTo>
                      <a:pt x="6077522" y="0"/>
                    </a:lnTo>
                    <a:lnTo>
                      <a:pt x="2063242" y="618998"/>
                    </a:lnTo>
                    <a:lnTo>
                      <a:pt x="1982279" y="606615"/>
                    </a:lnTo>
                    <a:lnTo>
                      <a:pt x="0" y="319405"/>
                    </a:lnTo>
                  </a:path>
                </a:pathLst>
              </a:custGeom>
              <a:noFill/>
              <a:ln w="12700" cap="sq">
                <a:solidFill>
                  <a:srgbClr val="FFFFFF"/>
                </a:solidFill>
                <a:prstDash val="solid"/>
                <a:miter/>
              </a:ln>
            </p:spPr>
            <p:txBody>
              <a:bodyPr rtlCol="0" anchor="ctr"/>
              <a:lstStyle/>
              <a:p>
                <a:endParaRPr lang="sv-SE"/>
              </a:p>
            </p:txBody>
          </p:sp>
          <p:sp>
            <p:nvSpPr>
              <p:cNvPr id="25" name="Freeform 24">
                <a:extLst>
                  <a:ext uri="{FF2B5EF4-FFF2-40B4-BE49-F238E27FC236}">
                    <a16:creationId xmlns:a16="http://schemas.microsoft.com/office/drawing/2014/main" id="{1BB3FAA1-F4C3-1E6A-923A-DD1EE76F644D}"/>
                  </a:ext>
                </a:extLst>
              </p:cNvPr>
              <p:cNvSpPr/>
              <p:nvPr/>
            </p:nvSpPr>
            <p:spPr>
              <a:xfrm>
                <a:off x="10422953" y="4328405"/>
                <a:ext cx="80009" cy="265048"/>
              </a:xfrm>
              <a:custGeom>
                <a:avLst/>
                <a:gdLst>
                  <a:gd name="connsiteX0" fmla="*/ 0 w 80009"/>
                  <a:gd name="connsiteY0" fmla="*/ 265049 h 265048"/>
                  <a:gd name="connsiteX1" fmla="*/ 80010 w 80009"/>
                  <a:gd name="connsiteY1" fmla="*/ 265049 h 265048"/>
                  <a:gd name="connsiteX2" fmla="*/ 80010 w 80009"/>
                  <a:gd name="connsiteY2" fmla="*/ 99377 h 265048"/>
                  <a:gd name="connsiteX3" fmla="*/ 80010 w 80009"/>
                  <a:gd name="connsiteY3" fmla="*/ 0 h 265048"/>
                  <a:gd name="connsiteX4" fmla="*/ 0 w 80009"/>
                  <a:gd name="connsiteY4" fmla="*/ 0 h 26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265048">
                    <a:moveTo>
                      <a:pt x="0" y="265049"/>
                    </a:moveTo>
                    <a:lnTo>
                      <a:pt x="80010" y="265049"/>
                    </a:lnTo>
                    <a:lnTo>
                      <a:pt x="80010" y="99377"/>
                    </a:lnTo>
                    <a:lnTo>
                      <a:pt x="80010" y="0"/>
                    </a:lnTo>
                    <a:lnTo>
                      <a:pt x="0" y="0"/>
                    </a:lnTo>
                  </a:path>
                </a:pathLst>
              </a:custGeom>
              <a:noFill/>
              <a:ln w="9525" cap="flat">
                <a:solidFill>
                  <a:srgbClr val="FFFFFF"/>
                </a:solidFill>
                <a:prstDash val="solid"/>
                <a:miter/>
              </a:ln>
            </p:spPr>
            <p:txBody>
              <a:bodyPr rtlCol="0" anchor="ctr"/>
              <a:lstStyle/>
              <a:p>
                <a:endParaRPr lang="sv-SE"/>
              </a:p>
            </p:txBody>
          </p:sp>
          <p:sp>
            <p:nvSpPr>
              <p:cNvPr id="26" name="Freeform 25">
                <a:extLst>
                  <a:ext uri="{FF2B5EF4-FFF2-40B4-BE49-F238E27FC236}">
                    <a16:creationId xmlns:a16="http://schemas.microsoft.com/office/drawing/2014/main" id="{67CED82E-63CB-5884-1478-12118472377B}"/>
                  </a:ext>
                </a:extLst>
              </p:cNvPr>
              <p:cNvSpPr/>
              <p:nvPr/>
            </p:nvSpPr>
            <p:spPr>
              <a:xfrm>
                <a:off x="7027608" y="4593454"/>
                <a:ext cx="3328797" cy="916495"/>
              </a:xfrm>
              <a:custGeom>
                <a:avLst/>
                <a:gdLst>
                  <a:gd name="connsiteX0" fmla="*/ 3328798 w 3328797"/>
                  <a:gd name="connsiteY0" fmla="*/ 0 h 916495"/>
                  <a:gd name="connsiteX1" fmla="*/ 3186176 w 3328797"/>
                  <a:gd name="connsiteY1" fmla="*/ 0 h 916495"/>
                  <a:gd name="connsiteX2" fmla="*/ 0 w 3328797"/>
                  <a:gd name="connsiteY2" fmla="*/ 483679 h 916495"/>
                  <a:gd name="connsiteX3" fmla="*/ 3039047 w 3328797"/>
                  <a:gd name="connsiteY3" fmla="*/ 916496 h 916495"/>
                  <a:gd name="connsiteX4" fmla="*/ 3203004 w 3328797"/>
                  <a:gd name="connsiteY4" fmla="*/ 838200 h 916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797" h="916495">
                    <a:moveTo>
                      <a:pt x="3328798" y="0"/>
                    </a:moveTo>
                    <a:lnTo>
                      <a:pt x="3186176" y="0"/>
                    </a:lnTo>
                    <a:lnTo>
                      <a:pt x="0" y="483679"/>
                    </a:lnTo>
                    <a:lnTo>
                      <a:pt x="3039047" y="916496"/>
                    </a:lnTo>
                    <a:lnTo>
                      <a:pt x="3203004" y="838200"/>
                    </a:lnTo>
                  </a:path>
                </a:pathLst>
              </a:custGeom>
              <a:noFill/>
              <a:ln w="12700" cap="sq">
                <a:solidFill>
                  <a:srgbClr val="FFFFFF"/>
                </a:solidFill>
                <a:prstDash val="solid"/>
                <a:miter/>
              </a:ln>
            </p:spPr>
            <p:txBody>
              <a:bodyPr rtlCol="0" anchor="ctr"/>
              <a:lstStyle/>
              <a:p>
                <a:endParaRPr lang="sv-SE"/>
              </a:p>
            </p:txBody>
          </p:sp>
        </p:grpSp>
      </p:grpSp>
      <p:sp>
        <p:nvSpPr>
          <p:cNvPr id="27" name="Freeform 26">
            <a:extLst>
              <a:ext uri="{FF2B5EF4-FFF2-40B4-BE49-F238E27FC236}">
                <a16:creationId xmlns:a16="http://schemas.microsoft.com/office/drawing/2014/main" id="{EF34AEBA-658A-695C-52C7-A15B54443D1B}"/>
              </a:ext>
            </a:extLst>
          </p:cNvPr>
          <p:cNvSpPr/>
          <p:nvPr/>
        </p:nvSpPr>
        <p:spPr>
          <a:xfrm>
            <a:off x="3901947" y="4409495"/>
            <a:ext cx="6486017" cy="826769"/>
          </a:xfrm>
          <a:custGeom>
            <a:avLst/>
            <a:gdLst>
              <a:gd name="connsiteX0" fmla="*/ 6486018 w 6486017"/>
              <a:gd name="connsiteY0" fmla="*/ 826770 h 826769"/>
              <a:gd name="connsiteX1" fmla="*/ 6486018 w 6486017"/>
              <a:gd name="connsiteY1" fmla="*/ 40894 h 826769"/>
              <a:gd name="connsiteX2" fmla="*/ 6486018 w 6486017"/>
              <a:gd name="connsiteY2" fmla="*/ 0 h 826769"/>
              <a:gd name="connsiteX3" fmla="*/ 6296152 w 6486017"/>
              <a:gd name="connsiteY3" fmla="*/ 0 h 826769"/>
              <a:gd name="connsiteX4" fmla="*/ 2277237 w 6486017"/>
              <a:gd name="connsiteY4" fmla="*/ 619696 h 826769"/>
              <a:gd name="connsiteX5" fmla="*/ 2187067 w 6486017"/>
              <a:gd name="connsiteY5" fmla="*/ 605853 h 826769"/>
              <a:gd name="connsiteX6" fmla="*/ 0 w 6486017"/>
              <a:gd name="connsiteY6" fmla="*/ 288988 h 82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6017" h="826769">
                <a:moveTo>
                  <a:pt x="6486018" y="826770"/>
                </a:moveTo>
                <a:lnTo>
                  <a:pt x="6486018" y="40894"/>
                </a:lnTo>
                <a:lnTo>
                  <a:pt x="6486018" y="0"/>
                </a:lnTo>
                <a:lnTo>
                  <a:pt x="6296152" y="0"/>
                </a:lnTo>
                <a:lnTo>
                  <a:pt x="2277237" y="619696"/>
                </a:lnTo>
                <a:lnTo>
                  <a:pt x="2187067" y="605853"/>
                </a:lnTo>
                <a:lnTo>
                  <a:pt x="0" y="288988"/>
                </a:lnTo>
              </a:path>
            </a:pathLst>
          </a:custGeom>
          <a:noFill/>
          <a:ln w="12700" cap="flat">
            <a:solidFill>
              <a:srgbClr val="F27B21"/>
            </a:solidFill>
            <a:prstDash val="solid"/>
            <a:miter/>
          </a:ln>
        </p:spPr>
        <p:txBody>
          <a:bodyPr rtlCol="0" anchor="ctr"/>
          <a:lstStyle/>
          <a:p>
            <a:endParaRPr lang="sv-SE"/>
          </a:p>
        </p:txBody>
      </p:sp>
      <p:sp>
        <p:nvSpPr>
          <p:cNvPr id="5" name="!!Title 6">
            <a:extLst>
              <a:ext uri="{FF2B5EF4-FFF2-40B4-BE49-F238E27FC236}">
                <a16:creationId xmlns:a16="http://schemas.microsoft.com/office/drawing/2014/main" id="{418D76F3-6760-1D8A-9C38-B8B5F944D748}"/>
              </a:ext>
            </a:extLst>
          </p:cNvPr>
          <p:cNvSpPr>
            <a:spLocks noGrp="1"/>
          </p:cNvSpPr>
          <p:nvPr>
            <p:ph type="title"/>
          </p:nvPr>
        </p:nvSpPr>
        <p:spPr>
          <a:xfrm>
            <a:off x="546100" y="752400"/>
            <a:ext cx="6154951" cy="1356708"/>
          </a:xfrm>
        </p:spPr>
        <p:txBody>
          <a:bodyPr anchor="t">
            <a:noAutofit/>
          </a:bodyPr>
          <a:lstStyle/>
          <a:p>
            <a:r>
              <a:rPr lang="sv-SE" dirty="0">
                <a:solidFill>
                  <a:schemeClr val="bg1"/>
                </a:solidFill>
              </a:rPr>
              <a:t>Design &amp; byggnation</a:t>
            </a:r>
            <a:br>
              <a:rPr lang="sv-SE" dirty="0">
                <a:solidFill>
                  <a:schemeClr val="bg1"/>
                </a:solidFill>
              </a:rPr>
            </a:br>
            <a:r>
              <a:rPr lang="sv-SE" dirty="0">
                <a:solidFill>
                  <a:schemeClr val="bg1"/>
                </a:solidFill>
              </a:rPr>
              <a:t>av pilotlager </a:t>
            </a:r>
          </a:p>
        </p:txBody>
      </p:sp>
      <p:grpSp>
        <p:nvGrpSpPr>
          <p:cNvPr id="257" name="!!Hybrit_logo">
            <a:extLst>
              <a:ext uri="{FF2B5EF4-FFF2-40B4-BE49-F238E27FC236}">
                <a16:creationId xmlns:a16="http://schemas.microsoft.com/office/drawing/2014/main" id="{B0A83E7E-2333-9A5A-C995-3D6F8CC2D07E}"/>
              </a:ext>
            </a:extLst>
          </p:cNvPr>
          <p:cNvGrpSpPr/>
          <p:nvPr/>
        </p:nvGrpSpPr>
        <p:grpSpPr>
          <a:xfrm>
            <a:off x="10823330" y="6338104"/>
            <a:ext cx="1018484" cy="320220"/>
            <a:chOff x="1343025" y="-3013942"/>
            <a:chExt cx="7772397" cy="2443713"/>
          </a:xfrm>
          <a:solidFill>
            <a:schemeClr val="bg1"/>
          </a:solidFill>
        </p:grpSpPr>
        <p:sp>
          <p:nvSpPr>
            <p:cNvPr id="258" name="Freeform 257">
              <a:extLst>
                <a:ext uri="{FF2B5EF4-FFF2-40B4-BE49-F238E27FC236}">
                  <a16:creationId xmlns:a16="http://schemas.microsoft.com/office/drawing/2014/main" id="{B9C13F41-BDF6-1F49-E44D-A7C004F75524}"/>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D98BAEF3-7337-E51D-312B-FF84E03C04B0}"/>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8C0961D2-24CC-E4F8-8D8B-FF94FD5AD36A}"/>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3C30F67C-C968-A1FC-79CA-7720B3B934FB}"/>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C786319E-ED83-D7A2-70CF-54BF484CBDEB}"/>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33" name="Freeform 32">
            <a:extLst>
              <a:ext uri="{FF2B5EF4-FFF2-40B4-BE49-F238E27FC236}">
                <a16:creationId xmlns:a16="http://schemas.microsoft.com/office/drawing/2014/main" id="{8FEF96AA-809E-29E9-E146-D00D539A0DF3}"/>
              </a:ext>
            </a:extLst>
          </p:cNvPr>
          <p:cNvSpPr/>
          <p:nvPr/>
        </p:nvSpPr>
        <p:spPr>
          <a:xfrm>
            <a:off x="10565765" y="5199816"/>
            <a:ext cx="864000" cy="0"/>
          </a:xfrm>
          <a:custGeom>
            <a:avLst/>
            <a:gdLst>
              <a:gd name="connsiteX0" fmla="*/ 0 w 751141"/>
              <a:gd name="connsiteY0" fmla="*/ 0 h 6350"/>
              <a:gd name="connsiteX1" fmla="*/ 751141 w 751141"/>
              <a:gd name="connsiteY1" fmla="*/ 0 h 6350"/>
            </a:gdLst>
            <a:ahLst/>
            <a:cxnLst>
              <a:cxn ang="0">
                <a:pos x="connsiteX0" y="connsiteY0"/>
              </a:cxn>
              <a:cxn ang="0">
                <a:pos x="connsiteX1" y="connsiteY1"/>
              </a:cxn>
            </a:cxnLst>
            <a:rect l="l" t="t" r="r" b="b"/>
            <a:pathLst>
              <a:path w="751141" h="6350">
                <a:moveTo>
                  <a:pt x="0" y="0"/>
                </a:moveTo>
                <a:lnTo>
                  <a:pt x="751141" y="0"/>
                </a:lnTo>
              </a:path>
            </a:pathLst>
          </a:custGeom>
          <a:ln w="9525" cap="flat">
            <a:solidFill>
              <a:schemeClr val="bg1"/>
            </a:solidFill>
            <a:prstDash val="solid"/>
            <a:miter/>
          </a:ln>
        </p:spPr>
        <p:txBody>
          <a:bodyPr rtlCol="0" anchor="ctr"/>
          <a:lstStyle/>
          <a:p>
            <a:endParaRPr lang="sv-SE"/>
          </a:p>
        </p:txBody>
      </p:sp>
      <p:grpSp>
        <p:nvGrpSpPr>
          <p:cNvPr id="43" name="Group 42">
            <a:extLst>
              <a:ext uri="{FF2B5EF4-FFF2-40B4-BE49-F238E27FC236}">
                <a16:creationId xmlns:a16="http://schemas.microsoft.com/office/drawing/2014/main" id="{2275CF8D-EA0A-6ACE-32DD-EA60D32B52E9}"/>
              </a:ext>
            </a:extLst>
          </p:cNvPr>
          <p:cNvGrpSpPr/>
          <p:nvPr/>
        </p:nvGrpSpPr>
        <p:grpSpPr>
          <a:xfrm rot="10800000">
            <a:off x="10583328" y="3534617"/>
            <a:ext cx="152882" cy="1656000"/>
            <a:chOff x="9438867" y="3424819"/>
            <a:chExt cx="75483" cy="817624"/>
          </a:xfrm>
        </p:grpSpPr>
        <p:sp>
          <p:nvSpPr>
            <p:cNvPr id="44" name="Freeform 43">
              <a:extLst>
                <a:ext uri="{FF2B5EF4-FFF2-40B4-BE49-F238E27FC236}">
                  <a16:creationId xmlns:a16="http://schemas.microsoft.com/office/drawing/2014/main" id="{8E7CDE16-24A0-4CA0-F7DB-43774856C70B}"/>
                </a:ext>
              </a:extLst>
            </p:cNvPr>
            <p:cNvSpPr/>
            <p:nvPr/>
          </p:nvSpPr>
          <p:spPr>
            <a:xfrm>
              <a:off x="9476609" y="3424819"/>
              <a:ext cx="0" cy="817624"/>
            </a:xfrm>
            <a:custGeom>
              <a:avLst/>
              <a:gdLst>
                <a:gd name="connsiteX0" fmla="*/ 0 w 6350"/>
                <a:gd name="connsiteY0" fmla="*/ 250444 h 250444"/>
                <a:gd name="connsiteX1" fmla="*/ 0 w 6350"/>
                <a:gd name="connsiteY1" fmla="*/ 0 h 250444"/>
              </a:gdLst>
              <a:ahLst/>
              <a:cxnLst>
                <a:cxn ang="0">
                  <a:pos x="connsiteX0" y="connsiteY0"/>
                </a:cxn>
                <a:cxn ang="0">
                  <a:pos x="connsiteX1" y="connsiteY1"/>
                </a:cxn>
              </a:cxnLst>
              <a:rect l="l" t="t" r="r" b="b"/>
              <a:pathLst>
                <a:path w="6350" h="250444">
                  <a:moveTo>
                    <a:pt x="0" y="250444"/>
                  </a:moveTo>
                  <a:lnTo>
                    <a:pt x="0" y="0"/>
                  </a:lnTo>
                </a:path>
              </a:pathLst>
            </a:custGeom>
            <a:ln w="9525" cap="flat">
              <a:solidFill>
                <a:srgbClr val="FFFFFF"/>
              </a:solidFill>
              <a:prstDash val="solid"/>
              <a:miter/>
            </a:ln>
          </p:spPr>
          <p:txBody>
            <a:bodyPr rtlCol="0" anchor="ctr"/>
            <a:lstStyle/>
            <a:p>
              <a:endParaRPr lang="sv-SE" dirty="0"/>
            </a:p>
          </p:txBody>
        </p:sp>
        <p:sp>
          <p:nvSpPr>
            <p:cNvPr id="45" name="Freeform 44">
              <a:extLst>
                <a:ext uri="{FF2B5EF4-FFF2-40B4-BE49-F238E27FC236}">
                  <a16:creationId xmlns:a16="http://schemas.microsoft.com/office/drawing/2014/main" id="{15E83AB6-7A33-3F53-F3DF-67B5F1DAE20A}"/>
                </a:ext>
              </a:extLst>
            </p:cNvPr>
            <p:cNvSpPr/>
            <p:nvPr/>
          </p:nvSpPr>
          <p:spPr>
            <a:xfrm>
              <a:off x="9438867" y="4199636"/>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dirty="0"/>
            </a:p>
          </p:txBody>
        </p:sp>
        <p:sp>
          <p:nvSpPr>
            <p:cNvPr id="46" name="Freeform 45">
              <a:extLst>
                <a:ext uri="{FF2B5EF4-FFF2-40B4-BE49-F238E27FC236}">
                  <a16:creationId xmlns:a16="http://schemas.microsoft.com/office/drawing/2014/main" id="{53A02FAD-8E95-8EAA-CC2E-F6E0676E1C2C}"/>
                </a:ext>
              </a:extLst>
            </p:cNvPr>
            <p:cNvSpPr/>
            <p:nvPr/>
          </p:nvSpPr>
          <p:spPr>
            <a:xfrm rot="10800000">
              <a:off x="9438867" y="3424819"/>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dirty="0"/>
            </a:p>
          </p:txBody>
        </p:sp>
      </p:grpSp>
      <p:sp>
        <p:nvSpPr>
          <p:cNvPr id="47" name="TextBox 46">
            <a:extLst>
              <a:ext uri="{FF2B5EF4-FFF2-40B4-BE49-F238E27FC236}">
                <a16:creationId xmlns:a16="http://schemas.microsoft.com/office/drawing/2014/main" id="{06875044-D59C-038D-6C1D-0CB44695E177}"/>
              </a:ext>
            </a:extLst>
          </p:cNvPr>
          <p:cNvSpPr txBox="1"/>
          <p:nvPr/>
        </p:nvSpPr>
        <p:spPr>
          <a:xfrm>
            <a:off x="10659768" y="4312763"/>
            <a:ext cx="1038601" cy="307777"/>
          </a:xfrm>
          <a:prstGeom prst="rect">
            <a:avLst/>
          </a:prstGeom>
          <a:noFill/>
        </p:spPr>
        <p:txBody>
          <a:bodyPr wrap="square" lIns="144000">
            <a:spAutoFit/>
          </a:bodyPr>
          <a:lstStyle/>
          <a:p>
            <a:r>
              <a:rPr lang="sv-SE" sz="1400" dirty="0">
                <a:solidFill>
                  <a:schemeClr val="bg1"/>
                </a:solidFill>
              </a:rPr>
              <a:t>~30 m</a:t>
            </a:r>
          </a:p>
        </p:txBody>
      </p:sp>
      <p:sp>
        <p:nvSpPr>
          <p:cNvPr id="48" name="TextBox 47">
            <a:extLst>
              <a:ext uri="{FF2B5EF4-FFF2-40B4-BE49-F238E27FC236}">
                <a16:creationId xmlns:a16="http://schemas.microsoft.com/office/drawing/2014/main" id="{3D75D766-8D1B-F7EB-2E12-71F61623E143}"/>
              </a:ext>
            </a:extLst>
          </p:cNvPr>
          <p:cNvSpPr txBox="1"/>
          <p:nvPr/>
        </p:nvSpPr>
        <p:spPr>
          <a:xfrm>
            <a:off x="10506581" y="5200768"/>
            <a:ext cx="1011505" cy="683063"/>
          </a:xfrm>
          <a:prstGeom prst="rect">
            <a:avLst/>
          </a:prstGeom>
          <a:noFill/>
        </p:spPr>
        <p:txBody>
          <a:bodyPr wrap="square" lIns="144000" tIns="36000" rIns="72000" bIns="36000" rtlCol="0" anchor="ctr">
            <a:spAutoFit/>
          </a:bodyPr>
          <a:lstStyle/>
          <a:p>
            <a:pPr>
              <a:lnSpc>
                <a:spcPct val="90000"/>
              </a:lnSpc>
            </a:pPr>
            <a:r>
              <a:rPr lang="sv-SE" sz="1100" dirty="0">
                <a:solidFill>
                  <a:schemeClr val="bg1"/>
                </a:solidFill>
              </a:rPr>
              <a:t>100 m3</a:t>
            </a:r>
          </a:p>
          <a:p>
            <a:pPr>
              <a:lnSpc>
                <a:spcPct val="90000"/>
              </a:lnSpc>
            </a:pPr>
            <a:r>
              <a:rPr lang="sv-SE" sz="1100" dirty="0">
                <a:solidFill>
                  <a:schemeClr val="bg1"/>
                </a:solidFill>
              </a:rPr>
              <a:t>250 bar</a:t>
            </a:r>
          </a:p>
          <a:p>
            <a:pPr>
              <a:lnSpc>
                <a:spcPct val="90000"/>
              </a:lnSpc>
            </a:pPr>
            <a:r>
              <a:rPr lang="sv-SE" sz="1100" dirty="0">
                <a:solidFill>
                  <a:schemeClr val="bg1"/>
                </a:solidFill>
              </a:rPr>
              <a:t>~100 MWh</a:t>
            </a:r>
          </a:p>
          <a:p>
            <a:pPr>
              <a:lnSpc>
                <a:spcPct val="90000"/>
              </a:lnSpc>
            </a:pPr>
            <a:r>
              <a:rPr lang="sv-SE" sz="1100" dirty="0">
                <a:solidFill>
                  <a:schemeClr val="bg1"/>
                </a:solidFill>
              </a:rPr>
              <a:t>~2000 kg</a:t>
            </a:r>
          </a:p>
        </p:txBody>
      </p:sp>
      <p:sp>
        <p:nvSpPr>
          <p:cNvPr id="49" name="!!TextBox 90">
            <a:extLst>
              <a:ext uri="{FF2B5EF4-FFF2-40B4-BE49-F238E27FC236}">
                <a16:creationId xmlns:a16="http://schemas.microsoft.com/office/drawing/2014/main" id="{A7234C76-3E9E-FA5B-11E2-DF4881EF5CAD}"/>
              </a:ext>
            </a:extLst>
          </p:cNvPr>
          <p:cNvSpPr txBox="1"/>
          <p:nvPr/>
        </p:nvSpPr>
        <p:spPr>
          <a:xfrm>
            <a:off x="571858" y="2407809"/>
            <a:ext cx="4055897" cy="1815882"/>
          </a:xfrm>
          <a:prstGeom prst="rect">
            <a:avLst/>
          </a:prstGeom>
          <a:noFill/>
        </p:spPr>
        <p:txBody>
          <a:bodyPr wrap="square" lIns="0" tIns="0" rIns="0" bIns="0" rtlCol="0">
            <a:spAutoFit/>
          </a:bodyPr>
          <a:lstStyle/>
          <a:p>
            <a:pPr marL="342900" lvl="0" indent="-342900">
              <a:spcAft>
                <a:spcPts val="1200"/>
              </a:spcAft>
              <a:buBlip>
                <a:blip r:embed="rId4">
                  <a:extLst>
                    <a:ext uri="{96DAC541-7B7A-43D3-8B79-37D633B846F1}">
                      <asvg:svgBlip xmlns:asvg="http://schemas.microsoft.com/office/drawing/2016/SVG/main" r:embed="rId5"/>
                    </a:ext>
                  </a:extLst>
                </a:blip>
              </a:buBlip>
              <a:defRPr/>
            </a:pPr>
            <a:r>
              <a:rPr lang="sv-SE" dirty="0">
                <a:solidFill>
                  <a:srgbClr val="FFFFFF"/>
                </a:solidFill>
              </a:rPr>
              <a:t>Projektet har 2019–2024 konstruerat, byggt och drivit ett 100 m</a:t>
            </a:r>
            <a:r>
              <a:rPr lang="sv-SE" baseline="30000" dirty="0">
                <a:solidFill>
                  <a:srgbClr val="FFFFFF"/>
                </a:solidFill>
              </a:rPr>
              <a:t>3</a:t>
            </a:r>
            <a:r>
              <a:rPr lang="sv-SE" dirty="0">
                <a:solidFill>
                  <a:srgbClr val="FFFFFF"/>
                </a:solidFill>
              </a:rPr>
              <a:t> stort vätgaslager i pilotskala</a:t>
            </a:r>
          </a:p>
          <a:p>
            <a:pPr marL="342900" lvl="0" indent="-342900">
              <a:spcAft>
                <a:spcPts val="1200"/>
              </a:spcAft>
              <a:buBlip>
                <a:blip r:embed="rId4">
                  <a:extLst>
                    <a:ext uri="{96DAC541-7B7A-43D3-8B79-37D633B846F1}">
                      <asvg:svgBlip xmlns:asvg="http://schemas.microsoft.com/office/drawing/2016/SVG/main" r:embed="rId5"/>
                    </a:ext>
                  </a:extLst>
                </a:blip>
              </a:buBlip>
              <a:defRPr/>
            </a:pPr>
            <a:r>
              <a:rPr lang="sv-SE" dirty="0">
                <a:solidFill>
                  <a:srgbClr val="FFFFFF"/>
                </a:solidFill>
              </a:rPr>
              <a:t>Projektet har hämtat kunskap och erfarenheter från tidigare utveckling av LRC-lager för naturgas</a:t>
            </a:r>
          </a:p>
        </p:txBody>
      </p:sp>
      <p:sp>
        <p:nvSpPr>
          <p:cNvPr id="2" name="!!Mask">
            <a:extLst>
              <a:ext uri="{FF2B5EF4-FFF2-40B4-BE49-F238E27FC236}">
                <a16:creationId xmlns:a16="http://schemas.microsoft.com/office/drawing/2014/main" id="{B350576F-3DCA-ACD4-E604-B676CD8CC8EF}"/>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405035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4" decel="50000" fill="hold" nodeType="withEffect">
                                  <p:stCondLst>
                                    <p:cond delay="0"/>
                                  </p:stCondLst>
                                  <p:childTnLst>
                                    <p:set>
                                      <p:cBhvr>
                                        <p:cTn id="9" dur="1" fill="hold">
                                          <p:stCondLst>
                                            <p:cond delay="0"/>
                                          </p:stCondLst>
                                        </p:cTn>
                                        <p:tgtEl>
                                          <p:spTgt spid="281"/>
                                        </p:tgtEl>
                                        <p:attrNameLst>
                                          <p:attrName>style.visibility</p:attrName>
                                        </p:attrNameLst>
                                      </p:cBhvr>
                                      <p:to>
                                        <p:strVal val="visible"/>
                                      </p:to>
                                    </p:set>
                                    <p:anim calcmode="lin" valueType="num">
                                      <p:cBhvr additive="base">
                                        <p:cTn id="10" dur="500" fill="hold"/>
                                        <p:tgtEl>
                                          <p:spTgt spid="281"/>
                                        </p:tgtEl>
                                        <p:attrNameLst>
                                          <p:attrName>ppt_x</p:attrName>
                                        </p:attrNameLst>
                                      </p:cBhvr>
                                      <p:tavLst>
                                        <p:tav tm="0">
                                          <p:val>
                                            <p:strVal val="#ppt_x"/>
                                          </p:val>
                                        </p:tav>
                                        <p:tav tm="100000">
                                          <p:val>
                                            <p:strVal val="#ppt_x"/>
                                          </p:val>
                                        </p:tav>
                                      </p:tavLst>
                                    </p:anim>
                                    <p:anim calcmode="lin" valueType="num">
                                      <p:cBhvr additive="base">
                                        <p:cTn id="11" dur="500" fill="hold"/>
                                        <p:tgtEl>
                                          <p:spTgt spid="281"/>
                                        </p:tgtEl>
                                        <p:attrNameLst>
                                          <p:attrName>ppt_y</p:attrName>
                                        </p:attrNameLst>
                                      </p:cBhvr>
                                      <p:tavLst>
                                        <p:tav tm="0">
                                          <p:val>
                                            <p:strVal val="1+#ppt_h/2"/>
                                          </p:val>
                                        </p:tav>
                                        <p:tav tm="100000">
                                          <p:val>
                                            <p:strVal val="#ppt_y"/>
                                          </p:val>
                                        </p:tav>
                                      </p:tavLst>
                                    </p:anim>
                                  </p:childTnLst>
                                </p:cTn>
                              </p:par>
                              <p:par>
                                <p:cTn id="12" presetID="12" presetClass="entr" presetSubtype="4" fill="hold" nodeType="withEffect">
                                  <p:stCondLst>
                                    <p:cond delay="300"/>
                                  </p:stCondLst>
                                  <p:childTnLst>
                                    <p:set>
                                      <p:cBhvr>
                                        <p:cTn id="13" dur="1" fill="hold">
                                          <p:stCondLst>
                                            <p:cond delay="0"/>
                                          </p:stCondLst>
                                        </p:cTn>
                                        <p:tgtEl>
                                          <p:spTgt spid="267"/>
                                        </p:tgtEl>
                                        <p:attrNameLst>
                                          <p:attrName>style.visibility</p:attrName>
                                        </p:attrNameLst>
                                      </p:cBhvr>
                                      <p:to>
                                        <p:strVal val="visible"/>
                                      </p:to>
                                    </p:set>
                                    <p:anim calcmode="lin" valueType="num">
                                      <p:cBhvr additive="base">
                                        <p:cTn id="14" dur="500"/>
                                        <p:tgtEl>
                                          <p:spTgt spid="267"/>
                                        </p:tgtEl>
                                        <p:attrNameLst>
                                          <p:attrName>ppt_y</p:attrName>
                                        </p:attrNameLst>
                                      </p:cBhvr>
                                      <p:tavLst>
                                        <p:tav tm="0">
                                          <p:val>
                                            <p:strVal val="#ppt_y+#ppt_h*1.125000"/>
                                          </p:val>
                                        </p:tav>
                                        <p:tav tm="100000">
                                          <p:val>
                                            <p:strVal val="#ppt_y"/>
                                          </p:val>
                                        </p:tav>
                                      </p:tavLst>
                                    </p:anim>
                                    <p:animEffect transition="in" filter="wipe(up)">
                                      <p:cBhvr>
                                        <p:cTn id="15" dur="500"/>
                                        <p:tgtEl>
                                          <p:spTgt spid="267"/>
                                        </p:tgtEl>
                                      </p:cBhvr>
                                    </p:animEffect>
                                  </p:childTnLst>
                                </p:cTn>
                              </p:par>
                            </p:childTnLst>
                          </p:cTn>
                        </p:par>
                        <p:par>
                          <p:cTn id="16" fill="hold">
                            <p:stCondLst>
                              <p:cond delay="8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7" presetClass="entr" presetSubtype="1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p:cTn id="22" dur="500" fill="hold"/>
                                        <p:tgtEl>
                                          <p:spTgt spid="33"/>
                                        </p:tgtEl>
                                        <p:attrNameLst>
                                          <p:attrName>ppt_w</p:attrName>
                                        </p:attrNameLst>
                                      </p:cBhvr>
                                      <p:tavLst>
                                        <p:tav tm="0">
                                          <p:val>
                                            <p:fltVal val="0"/>
                                          </p:val>
                                        </p:tav>
                                        <p:tav tm="100000">
                                          <p:val>
                                            <p:strVal val="#ppt_w"/>
                                          </p:val>
                                        </p:tav>
                                      </p:tavLst>
                                    </p:anim>
                                    <p:anim calcmode="lin" valueType="num">
                                      <p:cBhvr>
                                        <p:cTn id="23" dur="500" fill="hold"/>
                                        <p:tgtEl>
                                          <p:spTgt spid="33"/>
                                        </p:tgtEl>
                                        <p:attrNameLst>
                                          <p:attrName>ppt_h</p:attrName>
                                        </p:attrNameLst>
                                      </p:cBhvr>
                                      <p:tavLst>
                                        <p:tav tm="0">
                                          <p:val>
                                            <p:strVal val="#ppt_h"/>
                                          </p:val>
                                        </p:tav>
                                        <p:tav tm="100000">
                                          <p:val>
                                            <p:strVal val="#ppt_h"/>
                                          </p:val>
                                        </p:tav>
                                      </p:tavLst>
                                    </p:anim>
                                  </p:childTnLst>
                                </p:cTn>
                              </p:par>
                              <p:par>
                                <p:cTn id="24" presetID="16" presetClass="entr" presetSubtype="42" fill="hold"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barn(outHorizontal)">
                                      <p:cBhvr>
                                        <p:cTn id="26" dur="500"/>
                                        <p:tgtEl>
                                          <p:spTgt spid="4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childTnLst>
                          </p:cTn>
                        </p:par>
                        <p:par>
                          <p:cTn id="33" fill="hold">
                            <p:stCondLst>
                              <p:cond delay="1300"/>
                            </p:stCondLst>
                            <p:childTnLst>
                              <p:par>
                                <p:cTn id="34" presetID="10" presetClass="entr" presetSubtype="0" fill="hold" grpId="0"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 grpId="0"/>
      <p:bldP spid="33" grpId="0" animBg="1"/>
      <p:bldP spid="47" grpId="0"/>
      <p:bldP spid="48" grpId="0"/>
      <p:bldP spid="49"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accent4"/>
        </a:solidFill>
        <a:effectLst/>
      </p:bgPr>
    </p:bg>
    <p:spTree>
      <p:nvGrpSpPr>
        <p:cNvPr id="1" name="">
          <a:extLst>
            <a:ext uri="{FF2B5EF4-FFF2-40B4-BE49-F238E27FC236}">
              <a16:creationId xmlns:a16="http://schemas.microsoft.com/office/drawing/2014/main" id="{F3E6321D-F445-BF7B-8248-7B1F9A2DDB04}"/>
            </a:ext>
          </a:extLst>
        </p:cNvPr>
        <p:cNvGrpSpPr/>
        <p:nvPr/>
      </p:nvGrpSpPr>
      <p:grpSpPr>
        <a:xfrm>
          <a:off x="0" y="0"/>
          <a:ext cx="0" cy="0"/>
          <a:chOff x="0" y="0"/>
          <a:chExt cx="0" cy="0"/>
        </a:xfrm>
      </p:grpSpPr>
      <p:pic>
        <p:nvPicPr>
          <p:cNvPr id="20" name="Picture 19" descr="A blue crumpled paper&#10;&#10;AI-generated content may be incorrect.">
            <a:extLst>
              <a:ext uri="{FF2B5EF4-FFF2-40B4-BE49-F238E27FC236}">
                <a16:creationId xmlns:a16="http://schemas.microsoft.com/office/drawing/2014/main" id="{6E1BE3DE-1EDA-CB69-3D37-E88A7ACAC95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490600"/>
            <a:ext cx="12192000" cy="10348600"/>
          </a:xfrm>
          <a:prstGeom prst="rect">
            <a:avLst/>
          </a:prstGeom>
        </p:spPr>
      </p:pic>
      <p:sp>
        <p:nvSpPr>
          <p:cNvPr id="18" name="Sprutbetong">
            <a:extLst>
              <a:ext uri="{FF2B5EF4-FFF2-40B4-BE49-F238E27FC236}">
                <a16:creationId xmlns:a16="http://schemas.microsoft.com/office/drawing/2014/main" id="{A8047039-D067-86BE-E042-21B4E0617628}"/>
              </a:ext>
            </a:extLst>
          </p:cNvPr>
          <p:cNvSpPr/>
          <p:nvPr/>
        </p:nvSpPr>
        <p:spPr>
          <a:xfrm>
            <a:off x="9128878" y="1609387"/>
            <a:ext cx="1933475" cy="3850433"/>
          </a:xfrm>
          <a:custGeom>
            <a:avLst/>
            <a:gdLst>
              <a:gd name="connsiteX0" fmla="*/ 31672 w 1525781"/>
              <a:gd name="connsiteY0" fmla="*/ 3038530 h 3038530"/>
              <a:gd name="connsiteX1" fmla="*/ 140055 w 1525781"/>
              <a:gd name="connsiteY1" fmla="*/ 3034342 h 3038530"/>
              <a:gd name="connsiteX2" fmla="*/ 200645 w 1525781"/>
              <a:gd name="connsiteY2" fmla="*/ 3031817 h 3038530"/>
              <a:gd name="connsiteX3" fmla="*/ 280857 w 1525781"/>
              <a:gd name="connsiteY3" fmla="*/ 3026252 h 3038530"/>
              <a:gd name="connsiteX4" fmla="*/ 350626 w 1525781"/>
              <a:gd name="connsiteY4" fmla="*/ 3001179 h 3038530"/>
              <a:gd name="connsiteX5" fmla="*/ 413338 w 1525781"/>
              <a:gd name="connsiteY5" fmla="*/ 2976851 h 3038530"/>
              <a:gd name="connsiteX6" fmla="*/ 498829 w 1525781"/>
              <a:gd name="connsiteY6" fmla="*/ 2944663 h 3038530"/>
              <a:gd name="connsiteX7" fmla="*/ 543123 w 1525781"/>
              <a:gd name="connsiteY7" fmla="*/ 2926475 h 3038530"/>
              <a:gd name="connsiteX8" fmla="*/ 611114 w 1525781"/>
              <a:gd name="connsiteY8" fmla="*/ 2908631 h 3038530"/>
              <a:gd name="connsiteX9" fmla="*/ 679392 w 1525781"/>
              <a:gd name="connsiteY9" fmla="*/ 2889065 h 3038530"/>
              <a:gd name="connsiteX10" fmla="*/ 730285 w 1525781"/>
              <a:gd name="connsiteY10" fmla="*/ 2845345 h 3038530"/>
              <a:gd name="connsiteX11" fmla="*/ 786743 w 1525781"/>
              <a:gd name="connsiteY11" fmla="*/ 2795370 h 3038530"/>
              <a:gd name="connsiteX12" fmla="*/ 862078 w 1525781"/>
              <a:gd name="connsiteY12" fmla="*/ 2768690 h 3038530"/>
              <a:gd name="connsiteX13" fmla="*/ 922897 w 1525781"/>
              <a:gd name="connsiteY13" fmla="*/ 2746772 h 3038530"/>
              <a:gd name="connsiteX14" fmla="*/ 967994 w 1525781"/>
              <a:gd name="connsiteY14" fmla="*/ 2714871 h 3038530"/>
              <a:gd name="connsiteX15" fmla="*/ 1037534 w 1525781"/>
              <a:gd name="connsiteY15" fmla="*/ 2662716 h 3038530"/>
              <a:gd name="connsiteX16" fmla="*/ 1136795 w 1525781"/>
              <a:gd name="connsiteY16" fmla="*/ 2560931 h 3038530"/>
              <a:gd name="connsiteX17" fmla="*/ 1188836 w 1525781"/>
              <a:gd name="connsiteY17" fmla="*/ 2491563 h 3038530"/>
              <a:gd name="connsiteX18" fmla="*/ 1220737 w 1525781"/>
              <a:gd name="connsiteY18" fmla="*/ 2446408 h 3038530"/>
              <a:gd name="connsiteX19" fmla="*/ 1237777 w 1525781"/>
              <a:gd name="connsiteY19" fmla="*/ 2386564 h 3038530"/>
              <a:gd name="connsiteX20" fmla="*/ 1261531 w 1525781"/>
              <a:gd name="connsiteY20" fmla="*/ 2305606 h 3038530"/>
              <a:gd name="connsiteX21" fmla="*/ 1328432 w 1525781"/>
              <a:gd name="connsiteY21" fmla="*/ 2248861 h 3038530"/>
              <a:gd name="connsiteX22" fmla="*/ 1376226 w 1525781"/>
              <a:gd name="connsiteY22" fmla="*/ 2209903 h 3038530"/>
              <a:gd name="connsiteX23" fmla="*/ 1389882 w 1525781"/>
              <a:gd name="connsiteY23" fmla="*/ 2144437 h 3038530"/>
              <a:gd name="connsiteX24" fmla="*/ 1404627 w 1525781"/>
              <a:gd name="connsiteY24" fmla="*/ 2068815 h 3038530"/>
              <a:gd name="connsiteX25" fmla="*/ 1445824 w 1525781"/>
              <a:gd name="connsiteY25" fmla="*/ 2003062 h 3038530"/>
              <a:gd name="connsiteX26" fmla="*/ 1480708 w 1525781"/>
              <a:gd name="connsiteY26" fmla="*/ 1945972 h 3038530"/>
              <a:gd name="connsiteX27" fmla="*/ 1493733 w 1525781"/>
              <a:gd name="connsiteY27" fmla="*/ 1865875 h 3038530"/>
              <a:gd name="connsiteX28" fmla="*/ 1501880 w 1525781"/>
              <a:gd name="connsiteY28" fmla="*/ 1805458 h 3038530"/>
              <a:gd name="connsiteX29" fmla="*/ 1508593 w 1525781"/>
              <a:gd name="connsiteY29" fmla="*/ 1770745 h 3038530"/>
              <a:gd name="connsiteX30" fmla="*/ 1525577 w 1525781"/>
              <a:gd name="connsiteY30" fmla="*/ 1666091 h 3038530"/>
              <a:gd name="connsiteX31" fmla="*/ 1510544 w 1525781"/>
              <a:gd name="connsiteY31" fmla="*/ 1604928 h 3038530"/>
              <a:gd name="connsiteX32" fmla="*/ 1490979 w 1525781"/>
              <a:gd name="connsiteY32" fmla="*/ 1524716 h 3038530"/>
              <a:gd name="connsiteX33" fmla="*/ 1491897 w 1525781"/>
              <a:gd name="connsiteY33" fmla="*/ 1476348 h 3038530"/>
              <a:gd name="connsiteX34" fmla="*/ 1490979 w 1525781"/>
              <a:gd name="connsiteY34" fmla="*/ 1386496 h 3038530"/>
              <a:gd name="connsiteX35" fmla="*/ 1494421 w 1525781"/>
              <a:gd name="connsiteY35" fmla="*/ 1313342 h 3038530"/>
              <a:gd name="connsiteX36" fmla="*/ 1496372 w 1525781"/>
              <a:gd name="connsiteY36" fmla="*/ 1245007 h 3038530"/>
              <a:gd name="connsiteX37" fmla="*/ 1471127 w 1525781"/>
              <a:gd name="connsiteY37" fmla="*/ 1176614 h 3038530"/>
              <a:gd name="connsiteX38" fmla="*/ 1445996 w 1525781"/>
              <a:gd name="connsiteY38" fmla="*/ 1113328 h 3038530"/>
              <a:gd name="connsiteX39" fmla="*/ 1437389 w 1525781"/>
              <a:gd name="connsiteY39" fmla="*/ 1038165 h 3038530"/>
              <a:gd name="connsiteX40" fmla="*/ 1428726 w 1525781"/>
              <a:gd name="connsiteY40" fmla="*/ 971322 h 3038530"/>
              <a:gd name="connsiteX41" fmla="*/ 1390800 w 1525781"/>
              <a:gd name="connsiteY41" fmla="*/ 910618 h 3038530"/>
              <a:gd name="connsiteX42" fmla="*/ 1352071 w 1525781"/>
              <a:gd name="connsiteY42" fmla="*/ 851635 h 3038530"/>
              <a:gd name="connsiteX43" fmla="*/ 1308006 w 1525781"/>
              <a:gd name="connsiteY43" fmla="*/ 782841 h 3038530"/>
              <a:gd name="connsiteX44" fmla="*/ 1275473 w 1525781"/>
              <a:gd name="connsiteY44" fmla="*/ 735162 h 3038530"/>
              <a:gd name="connsiteX45" fmla="*/ 1227622 w 1525781"/>
              <a:gd name="connsiteY45" fmla="*/ 677556 h 3038530"/>
              <a:gd name="connsiteX46" fmla="*/ 1185565 w 1525781"/>
              <a:gd name="connsiteY46" fmla="*/ 629589 h 3038530"/>
              <a:gd name="connsiteX47" fmla="*/ 1152000 w 1525781"/>
              <a:gd name="connsiteY47" fmla="*/ 558156 h 3038530"/>
              <a:gd name="connsiteX48" fmla="*/ 1124172 w 1525781"/>
              <a:gd name="connsiteY48" fmla="*/ 499976 h 3038530"/>
              <a:gd name="connsiteX49" fmla="*/ 1065018 w 1525781"/>
              <a:gd name="connsiteY49" fmla="*/ 449887 h 3038530"/>
              <a:gd name="connsiteX50" fmla="*/ 1015789 w 1525781"/>
              <a:gd name="connsiteY50" fmla="*/ 410470 h 3038530"/>
              <a:gd name="connsiteX51" fmla="*/ 969371 w 1525781"/>
              <a:gd name="connsiteY51" fmla="*/ 356077 h 3038530"/>
              <a:gd name="connsiteX52" fmla="*/ 922380 w 1525781"/>
              <a:gd name="connsiteY52" fmla="*/ 303291 h 3038530"/>
              <a:gd name="connsiteX53" fmla="*/ 861676 w 1525781"/>
              <a:gd name="connsiteY53" fmla="*/ 281775 h 3038530"/>
              <a:gd name="connsiteX54" fmla="*/ 785940 w 1525781"/>
              <a:gd name="connsiteY54" fmla="*/ 255267 h 3038530"/>
              <a:gd name="connsiteX55" fmla="*/ 763678 w 1525781"/>
              <a:gd name="connsiteY55" fmla="*/ 241324 h 3038530"/>
              <a:gd name="connsiteX56" fmla="*/ 667056 w 1525781"/>
              <a:gd name="connsiteY56" fmla="*/ 184981 h 3038530"/>
              <a:gd name="connsiteX57" fmla="*/ 605205 w 1525781"/>
              <a:gd name="connsiteY57" fmla="*/ 135982 h 3038530"/>
              <a:gd name="connsiteX58" fmla="*/ 553623 w 1525781"/>
              <a:gd name="connsiteY58" fmla="*/ 95704 h 3038530"/>
              <a:gd name="connsiteX59" fmla="*/ 492231 w 1525781"/>
              <a:gd name="connsiteY59" fmla="*/ 97597 h 3038530"/>
              <a:gd name="connsiteX60" fmla="*/ 405765 w 1525781"/>
              <a:gd name="connsiteY60" fmla="*/ 98917 h 3038530"/>
              <a:gd name="connsiteX61" fmla="*/ 334331 w 1525781"/>
              <a:gd name="connsiteY61" fmla="*/ 55540 h 3038530"/>
              <a:gd name="connsiteX62" fmla="*/ 280857 w 1525781"/>
              <a:gd name="connsiteY62" fmla="*/ 22606 h 3038530"/>
              <a:gd name="connsiteX63" fmla="*/ 148662 w 1525781"/>
              <a:gd name="connsiteY63" fmla="*/ 6541 h 3038530"/>
              <a:gd name="connsiteX64" fmla="*/ 140801 w 1525781"/>
              <a:gd name="connsiteY64" fmla="*/ 5852 h 3038530"/>
              <a:gd name="connsiteX65" fmla="*/ 31557 w 1525781"/>
              <a:gd name="connsiteY65" fmla="*/ 0 h 3038530"/>
              <a:gd name="connsiteX66" fmla="*/ 0 w 1525781"/>
              <a:gd name="connsiteY66" fmla="*/ 0 h 3038530"/>
              <a:gd name="connsiteX67" fmla="*/ 0 w 1525781"/>
              <a:gd name="connsiteY67" fmla="*/ 3038416 h 3038530"/>
              <a:gd name="connsiteX68" fmla="*/ 31557 w 1525781"/>
              <a:gd name="connsiteY68" fmla="*/ 3038416 h 3038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525781" h="3038530">
                <a:moveTo>
                  <a:pt x="31672" y="3038530"/>
                </a:moveTo>
                <a:cubicBezTo>
                  <a:pt x="66901" y="3038358"/>
                  <a:pt x="104367" y="3037612"/>
                  <a:pt x="140055" y="3034342"/>
                </a:cubicBezTo>
                <a:cubicBezTo>
                  <a:pt x="160424" y="3032506"/>
                  <a:pt x="180850" y="3032161"/>
                  <a:pt x="200645" y="3031817"/>
                </a:cubicBezTo>
                <a:cubicBezTo>
                  <a:pt x="228989" y="3031358"/>
                  <a:pt x="255726" y="3030899"/>
                  <a:pt x="280857" y="3026252"/>
                </a:cubicBezTo>
                <a:cubicBezTo>
                  <a:pt x="303750" y="3022006"/>
                  <a:pt x="326528" y="3011908"/>
                  <a:pt x="350626" y="3001179"/>
                </a:cubicBezTo>
                <a:cubicBezTo>
                  <a:pt x="370650" y="2992285"/>
                  <a:pt x="391363" y="2983105"/>
                  <a:pt x="413338" y="2976851"/>
                </a:cubicBezTo>
                <a:cubicBezTo>
                  <a:pt x="442199" y="2968646"/>
                  <a:pt x="469739" y="2956999"/>
                  <a:pt x="498829" y="2944663"/>
                </a:cubicBezTo>
                <a:cubicBezTo>
                  <a:pt x="513230" y="2938581"/>
                  <a:pt x="528091" y="2932270"/>
                  <a:pt x="543123" y="2926475"/>
                </a:cubicBezTo>
                <a:cubicBezTo>
                  <a:pt x="565615" y="2917753"/>
                  <a:pt x="588737" y="2913106"/>
                  <a:pt x="611114" y="2908631"/>
                </a:cubicBezTo>
                <a:cubicBezTo>
                  <a:pt x="636130" y="2903639"/>
                  <a:pt x="659769" y="2898877"/>
                  <a:pt x="679392" y="2889065"/>
                </a:cubicBezTo>
                <a:cubicBezTo>
                  <a:pt x="697351" y="2880114"/>
                  <a:pt x="713359" y="2863246"/>
                  <a:pt x="730285" y="2845345"/>
                </a:cubicBezTo>
                <a:cubicBezTo>
                  <a:pt x="747211" y="2827501"/>
                  <a:pt x="764653" y="2809083"/>
                  <a:pt x="786743" y="2795370"/>
                </a:cubicBezTo>
                <a:cubicBezTo>
                  <a:pt x="810210" y="2780796"/>
                  <a:pt x="836545" y="2774657"/>
                  <a:pt x="862078" y="2768690"/>
                </a:cubicBezTo>
                <a:cubicBezTo>
                  <a:pt x="885774" y="2763124"/>
                  <a:pt x="908208" y="2757903"/>
                  <a:pt x="922897" y="2746772"/>
                </a:cubicBezTo>
                <a:cubicBezTo>
                  <a:pt x="937585" y="2735699"/>
                  <a:pt x="953076" y="2725084"/>
                  <a:pt x="967994" y="2714871"/>
                </a:cubicBezTo>
                <a:cubicBezTo>
                  <a:pt x="993240" y="2697658"/>
                  <a:pt x="1017051" y="2681363"/>
                  <a:pt x="1037534" y="2662716"/>
                </a:cubicBezTo>
                <a:cubicBezTo>
                  <a:pt x="1072993" y="2630413"/>
                  <a:pt x="1107361" y="2593233"/>
                  <a:pt x="1136795" y="2560931"/>
                </a:cubicBezTo>
                <a:cubicBezTo>
                  <a:pt x="1155443" y="2540505"/>
                  <a:pt x="1171623" y="2516751"/>
                  <a:pt x="1188836" y="2491563"/>
                </a:cubicBezTo>
                <a:cubicBezTo>
                  <a:pt x="1199048" y="2476588"/>
                  <a:pt x="1209606" y="2461096"/>
                  <a:pt x="1220737" y="2446408"/>
                </a:cubicBezTo>
                <a:cubicBezTo>
                  <a:pt x="1230835" y="2433039"/>
                  <a:pt x="1234220" y="2410433"/>
                  <a:pt x="1237777" y="2386564"/>
                </a:cubicBezTo>
                <a:cubicBezTo>
                  <a:pt x="1241851" y="2358966"/>
                  <a:pt x="1246097" y="2330450"/>
                  <a:pt x="1261531" y="2305606"/>
                </a:cubicBezTo>
                <a:cubicBezTo>
                  <a:pt x="1277482" y="2279959"/>
                  <a:pt x="1303358" y="2264123"/>
                  <a:pt x="1328432" y="2248861"/>
                </a:cubicBezTo>
                <a:cubicBezTo>
                  <a:pt x="1348513" y="2236640"/>
                  <a:pt x="1369226" y="2223960"/>
                  <a:pt x="1376226" y="2209903"/>
                </a:cubicBezTo>
                <a:cubicBezTo>
                  <a:pt x="1384947" y="2192403"/>
                  <a:pt x="1387357" y="2169108"/>
                  <a:pt x="1389882" y="2144437"/>
                </a:cubicBezTo>
                <a:cubicBezTo>
                  <a:pt x="1392464" y="2119363"/>
                  <a:pt x="1395103" y="2093486"/>
                  <a:pt x="1404627" y="2068815"/>
                </a:cubicBezTo>
                <a:cubicBezTo>
                  <a:pt x="1414209" y="2044028"/>
                  <a:pt x="1430274" y="2023200"/>
                  <a:pt x="1445824" y="2003062"/>
                </a:cubicBezTo>
                <a:cubicBezTo>
                  <a:pt x="1461028" y="1983382"/>
                  <a:pt x="1475372" y="1964734"/>
                  <a:pt x="1480708" y="1945972"/>
                </a:cubicBezTo>
                <a:cubicBezTo>
                  <a:pt x="1487708" y="1921415"/>
                  <a:pt x="1490634" y="1894448"/>
                  <a:pt x="1493733" y="1865875"/>
                </a:cubicBezTo>
                <a:cubicBezTo>
                  <a:pt x="1495913" y="1846023"/>
                  <a:pt x="1498093" y="1825539"/>
                  <a:pt x="1501880" y="1805458"/>
                </a:cubicBezTo>
                <a:cubicBezTo>
                  <a:pt x="1504003" y="1793983"/>
                  <a:pt x="1506298" y="1782392"/>
                  <a:pt x="1508593" y="1770745"/>
                </a:cubicBezTo>
                <a:cubicBezTo>
                  <a:pt x="1515421" y="1736205"/>
                  <a:pt x="1522478" y="1700459"/>
                  <a:pt x="1525577" y="1666091"/>
                </a:cubicBezTo>
                <a:cubicBezTo>
                  <a:pt x="1527183" y="1648763"/>
                  <a:pt x="1519093" y="1627477"/>
                  <a:pt x="1510544" y="1604928"/>
                </a:cubicBezTo>
                <a:cubicBezTo>
                  <a:pt x="1500905" y="1579568"/>
                  <a:pt x="1490979" y="1553289"/>
                  <a:pt x="1490979" y="1524716"/>
                </a:cubicBezTo>
                <a:cubicBezTo>
                  <a:pt x="1490979" y="1508249"/>
                  <a:pt x="1491438" y="1492011"/>
                  <a:pt x="1491897" y="1476348"/>
                </a:cubicBezTo>
                <a:cubicBezTo>
                  <a:pt x="1492815" y="1445250"/>
                  <a:pt x="1493675" y="1415873"/>
                  <a:pt x="1490979" y="1386496"/>
                </a:cubicBezTo>
                <a:cubicBezTo>
                  <a:pt x="1488684" y="1361308"/>
                  <a:pt x="1491610" y="1336924"/>
                  <a:pt x="1494421" y="1313342"/>
                </a:cubicBezTo>
                <a:cubicBezTo>
                  <a:pt x="1497405" y="1288670"/>
                  <a:pt x="1500159" y="1265375"/>
                  <a:pt x="1496372" y="1245007"/>
                </a:cubicBezTo>
                <a:cubicBezTo>
                  <a:pt x="1492184" y="1222515"/>
                  <a:pt x="1481970" y="1200196"/>
                  <a:pt x="1471127" y="1176614"/>
                </a:cubicBezTo>
                <a:cubicBezTo>
                  <a:pt x="1461889" y="1156475"/>
                  <a:pt x="1452364" y="1135648"/>
                  <a:pt x="1445996" y="1113328"/>
                </a:cubicBezTo>
                <a:cubicBezTo>
                  <a:pt x="1438881" y="1088312"/>
                  <a:pt x="1438135" y="1062837"/>
                  <a:pt x="1437389" y="1038165"/>
                </a:cubicBezTo>
                <a:cubicBezTo>
                  <a:pt x="1436643" y="1013379"/>
                  <a:pt x="1435955" y="989969"/>
                  <a:pt x="1428726" y="971322"/>
                </a:cubicBezTo>
                <a:cubicBezTo>
                  <a:pt x="1420750" y="950781"/>
                  <a:pt x="1406177" y="931274"/>
                  <a:pt x="1390800" y="910618"/>
                </a:cubicBezTo>
                <a:cubicBezTo>
                  <a:pt x="1377029" y="892200"/>
                  <a:pt x="1362800" y="873094"/>
                  <a:pt x="1352071" y="851635"/>
                </a:cubicBezTo>
                <a:cubicBezTo>
                  <a:pt x="1340251" y="827882"/>
                  <a:pt x="1324588" y="806021"/>
                  <a:pt x="1308006" y="782841"/>
                </a:cubicBezTo>
                <a:cubicBezTo>
                  <a:pt x="1297104" y="767579"/>
                  <a:pt x="1285801" y="751801"/>
                  <a:pt x="1275473" y="735162"/>
                </a:cubicBezTo>
                <a:cubicBezTo>
                  <a:pt x="1262736" y="714621"/>
                  <a:pt x="1245695" y="696662"/>
                  <a:pt x="1227622" y="677556"/>
                </a:cubicBezTo>
                <a:cubicBezTo>
                  <a:pt x="1213450" y="662581"/>
                  <a:pt x="1198762" y="647089"/>
                  <a:pt x="1185565" y="629589"/>
                </a:cubicBezTo>
                <a:cubicBezTo>
                  <a:pt x="1169041" y="607729"/>
                  <a:pt x="1160377" y="582541"/>
                  <a:pt x="1152000" y="558156"/>
                </a:cubicBezTo>
                <a:cubicBezTo>
                  <a:pt x="1144139" y="535320"/>
                  <a:pt x="1136738" y="513804"/>
                  <a:pt x="1124172" y="499976"/>
                </a:cubicBezTo>
                <a:cubicBezTo>
                  <a:pt x="1107533" y="481731"/>
                  <a:pt x="1086878" y="466297"/>
                  <a:pt x="1065018" y="449887"/>
                </a:cubicBezTo>
                <a:cubicBezTo>
                  <a:pt x="1048608" y="437551"/>
                  <a:pt x="1031625" y="424871"/>
                  <a:pt x="1015789" y="410470"/>
                </a:cubicBezTo>
                <a:cubicBezTo>
                  <a:pt x="997773" y="394003"/>
                  <a:pt x="983314" y="374724"/>
                  <a:pt x="969371" y="356077"/>
                </a:cubicBezTo>
                <a:cubicBezTo>
                  <a:pt x="954109" y="335651"/>
                  <a:pt x="939650" y="316373"/>
                  <a:pt x="922380" y="303291"/>
                </a:cubicBezTo>
                <a:cubicBezTo>
                  <a:pt x="907807" y="292275"/>
                  <a:pt x="885373" y="287168"/>
                  <a:pt x="861676" y="281775"/>
                </a:cubicBezTo>
                <a:cubicBezTo>
                  <a:pt x="836029" y="275922"/>
                  <a:pt x="809521" y="269898"/>
                  <a:pt x="785940" y="255267"/>
                </a:cubicBezTo>
                <a:cubicBezTo>
                  <a:pt x="778481" y="250619"/>
                  <a:pt x="771079" y="245972"/>
                  <a:pt x="763678" y="241324"/>
                </a:cubicBezTo>
                <a:cubicBezTo>
                  <a:pt x="731145" y="220956"/>
                  <a:pt x="700449" y="201677"/>
                  <a:pt x="667056" y="184981"/>
                </a:cubicBezTo>
                <a:cubicBezTo>
                  <a:pt x="642728" y="172875"/>
                  <a:pt x="623680" y="154113"/>
                  <a:pt x="605205" y="135982"/>
                </a:cubicBezTo>
                <a:cubicBezTo>
                  <a:pt x="587705" y="118769"/>
                  <a:pt x="571180" y="102531"/>
                  <a:pt x="553623" y="95704"/>
                </a:cubicBezTo>
                <a:cubicBezTo>
                  <a:pt x="538705" y="89909"/>
                  <a:pt x="516099" y="93638"/>
                  <a:pt x="492231" y="97597"/>
                </a:cubicBezTo>
                <a:cubicBezTo>
                  <a:pt x="465206" y="102072"/>
                  <a:pt x="434567" y="107121"/>
                  <a:pt x="405765" y="98917"/>
                </a:cubicBezTo>
                <a:cubicBezTo>
                  <a:pt x="377937" y="90999"/>
                  <a:pt x="355790" y="72983"/>
                  <a:pt x="334331" y="55540"/>
                </a:cubicBezTo>
                <a:cubicBezTo>
                  <a:pt x="315512" y="40221"/>
                  <a:pt x="297668" y="25762"/>
                  <a:pt x="280857" y="22606"/>
                </a:cubicBezTo>
                <a:cubicBezTo>
                  <a:pt x="238456" y="14746"/>
                  <a:pt x="192841" y="10557"/>
                  <a:pt x="148662" y="6541"/>
                </a:cubicBezTo>
                <a:lnTo>
                  <a:pt x="140801" y="5852"/>
                </a:lnTo>
                <a:cubicBezTo>
                  <a:pt x="105974" y="2639"/>
                  <a:pt x="69368" y="689"/>
                  <a:pt x="31557" y="0"/>
                </a:cubicBezTo>
                <a:lnTo>
                  <a:pt x="0" y="0"/>
                </a:lnTo>
                <a:lnTo>
                  <a:pt x="0" y="3038416"/>
                </a:lnTo>
                <a:lnTo>
                  <a:pt x="31557" y="3038416"/>
                </a:lnTo>
                <a:close/>
              </a:path>
            </a:pathLst>
          </a:custGeom>
          <a:solidFill>
            <a:srgbClr val="858585"/>
          </a:solidFill>
          <a:ln w="0" cap="flat">
            <a:noFill/>
            <a:prstDash val="solid"/>
            <a:miter/>
          </a:ln>
        </p:spPr>
        <p:txBody>
          <a:bodyPr rtlCol="0" anchor="ctr"/>
          <a:lstStyle/>
          <a:p>
            <a:endParaRPr lang="sv-SE"/>
          </a:p>
        </p:txBody>
      </p:sp>
      <p:grpSp>
        <p:nvGrpSpPr>
          <p:cNvPr id="13" name="Group 12">
            <a:extLst>
              <a:ext uri="{FF2B5EF4-FFF2-40B4-BE49-F238E27FC236}">
                <a16:creationId xmlns:a16="http://schemas.microsoft.com/office/drawing/2014/main" id="{CFB2E472-66F2-31C2-3EFA-3CFB18FAF1E6}"/>
              </a:ext>
            </a:extLst>
          </p:cNvPr>
          <p:cNvGrpSpPr/>
          <p:nvPr/>
        </p:nvGrpSpPr>
        <p:grpSpPr>
          <a:xfrm>
            <a:off x="9129024" y="1749130"/>
            <a:ext cx="1792526" cy="3584979"/>
            <a:chOff x="9129024" y="1749130"/>
            <a:chExt cx="1792526" cy="3584979"/>
          </a:xfrm>
        </p:grpSpPr>
        <p:sp>
          <p:nvSpPr>
            <p:cNvPr id="19" name="Cement">
              <a:extLst>
                <a:ext uri="{FF2B5EF4-FFF2-40B4-BE49-F238E27FC236}">
                  <a16:creationId xmlns:a16="http://schemas.microsoft.com/office/drawing/2014/main" id="{76A6DA71-3E2A-2ABD-EAC7-16DE8A851412}"/>
                </a:ext>
              </a:extLst>
            </p:cNvPr>
            <p:cNvSpPr/>
            <p:nvPr/>
          </p:nvSpPr>
          <p:spPr>
            <a:xfrm>
              <a:off x="9129024" y="1749130"/>
              <a:ext cx="1792526" cy="3584979"/>
            </a:xfrm>
            <a:custGeom>
              <a:avLst/>
              <a:gdLst>
                <a:gd name="connsiteX0" fmla="*/ 0 w 1414553"/>
                <a:gd name="connsiteY0" fmla="*/ 0 h 2829049"/>
                <a:gd name="connsiteX1" fmla="*/ 0 w 1414553"/>
                <a:gd name="connsiteY1" fmla="*/ 2829050 h 2829049"/>
                <a:gd name="connsiteX2" fmla="*/ 1414554 w 1414553"/>
                <a:gd name="connsiteY2" fmla="*/ 1414496 h 2829049"/>
                <a:gd name="connsiteX3" fmla="*/ 0 w 1414553"/>
                <a:gd name="connsiteY3" fmla="*/ 0 h 2829049"/>
              </a:gdLst>
              <a:ahLst/>
              <a:cxnLst>
                <a:cxn ang="0">
                  <a:pos x="connsiteX0" y="connsiteY0"/>
                </a:cxn>
                <a:cxn ang="0">
                  <a:pos x="connsiteX1" y="connsiteY1"/>
                </a:cxn>
                <a:cxn ang="0">
                  <a:pos x="connsiteX2" y="connsiteY2"/>
                </a:cxn>
                <a:cxn ang="0">
                  <a:pos x="connsiteX3" y="connsiteY3"/>
                </a:cxn>
              </a:cxnLst>
              <a:rect l="l" t="t" r="r" b="b"/>
              <a:pathLst>
                <a:path w="1414553" h="2829049">
                  <a:moveTo>
                    <a:pt x="0" y="0"/>
                  </a:moveTo>
                  <a:lnTo>
                    <a:pt x="0" y="2829050"/>
                  </a:lnTo>
                  <a:cubicBezTo>
                    <a:pt x="781235" y="2829050"/>
                    <a:pt x="1414554" y="2195731"/>
                    <a:pt x="1414554" y="1414496"/>
                  </a:cubicBezTo>
                  <a:cubicBezTo>
                    <a:pt x="1414554" y="633261"/>
                    <a:pt x="781235" y="0"/>
                    <a:pt x="0" y="0"/>
                  </a:cubicBezTo>
                  <a:close/>
                </a:path>
              </a:pathLst>
            </a:custGeom>
            <a:solidFill>
              <a:schemeClr val="bg1">
                <a:lumMod val="85000"/>
              </a:schemeClr>
            </a:solidFill>
            <a:ln w="0" cap="flat">
              <a:noFill/>
              <a:prstDash val="solid"/>
              <a:miter/>
            </a:ln>
          </p:spPr>
          <p:txBody>
            <a:bodyPr rtlCol="0" anchor="ctr"/>
            <a:lstStyle/>
            <a:p>
              <a:endParaRPr lang="sv-SE"/>
            </a:p>
          </p:txBody>
        </p:sp>
        <p:grpSp>
          <p:nvGrpSpPr>
            <p:cNvPr id="263" name="Armering">
              <a:extLst>
                <a:ext uri="{FF2B5EF4-FFF2-40B4-BE49-F238E27FC236}">
                  <a16:creationId xmlns:a16="http://schemas.microsoft.com/office/drawing/2014/main" id="{26878D87-9C03-EAB1-E96A-D0C9FFF53B92}"/>
                </a:ext>
              </a:extLst>
            </p:cNvPr>
            <p:cNvGrpSpPr/>
            <p:nvPr/>
          </p:nvGrpSpPr>
          <p:grpSpPr>
            <a:xfrm>
              <a:off x="9129024" y="1881676"/>
              <a:ext cx="1659926" cy="3319831"/>
              <a:chOff x="14044674" y="2826914"/>
              <a:chExt cx="1309913" cy="2619811"/>
            </a:xfrm>
          </p:grpSpPr>
          <p:sp>
            <p:nvSpPr>
              <p:cNvPr id="24" name="Freeform 23">
                <a:extLst>
                  <a:ext uri="{FF2B5EF4-FFF2-40B4-BE49-F238E27FC236}">
                    <a16:creationId xmlns:a16="http://schemas.microsoft.com/office/drawing/2014/main" id="{2FFD7FFF-4C5D-19E6-985B-BB83E8918C11}"/>
                  </a:ext>
                </a:extLst>
              </p:cNvPr>
              <p:cNvSpPr/>
              <p:nvPr/>
            </p:nvSpPr>
            <p:spPr>
              <a:xfrm>
                <a:off x="14044674" y="2826914"/>
                <a:ext cx="1309899" cy="2619798"/>
              </a:xfrm>
              <a:custGeom>
                <a:avLst/>
                <a:gdLst>
                  <a:gd name="connsiteX0" fmla="*/ 0 w 1309899"/>
                  <a:gd name="connsiteY0" fmla="*/ 0 h 2619798"/>
                  <a:gd name="connsiteX1" fmla="*/ 1309899 w 1309899"/>
                  <a:gd name="connsiteY1" fmla="*/ 1309899 h 2619798"/>
                  <a:gd name="connsiteX2" fmla="*/ 0 w 1309899"/>
                  <a:gd name="connsiteY2" fmla="*/ 2619799 h 2619798"/>
                </a:gdLst>
                <a:ahLst/>
                <a:cxnLst>
                  <a:cxn ang="0">
                    <a:pos x="connsiteX0" y="connsiteY0"/>
                  </a:cxn>
                  <a:cxn ang="0">
                    <a:pos x="connsiteX1" y="connsiteY1"/>
                  </a:cxn>
                  <a:cxn ang="0">
                    <a:pos x="connsiteX2" y="connsiteY2"/>
                  </a:cxn>
                </a:cxnLst>
                <a:rect l="l" t="t" r="r" b="b"/>
                <a:pathLst>
                  <a:path w="1309899" h="2619798">
                    <a:moveTo>
                      <a:pt x="0" y="0"/>
                    </a:moveTo>
                    <a:cubicBezTo>
                      <a:pt x="723457" y="0"/>
                      <a:pt x="1309899" y="586500"/>
                      <a:pt x="1309899" y="1309899"/>
                    </a:cubicBezTo>
                    <a:cubicBezTo>
                      <a:pt x="1309899" y="2033299"/>
                      <a:pt x="723400" y="2619799"/>
                      <a:pt x="0" y="2619799"/>
                    </a:cubicBezTo>
                  </a:path>
                </a:pathLst>
              </a:custGeom>
              <a:noFill/>
              <a:ln w="5728" cap="flat">
                <a:solidFill>
                  <a:srgbClr val="858585"/>
                </a:solidFill>
                <a:prstDash val="solid"/>
                <a:miter/>
              </a:ln>
            </p:spPr>
            <p:txBody>
              <a:bodyPr rtlCol="0" anchor="ctr"/>
              <a:lstStyle/>
              <a:p>
                <a:endParaRPr lang="sv-SE"/>
              </a:p>
            </p:txBody>
          </p:sp>
          <p:sp>
            <p:nvSpPr>
              <p:cNvPr id="262" name="Freeform 261">
                <a:extLst>
                  <a:ext uri="{FF2B5EF4-FFF2-40B4-BE49-F238E27FC236}">
                    <a16:creationId xmlns:a16="http://schemas.microsoft.com/office/drawing/2014/main" id="{5055A64E-BD01-2FC6-7414-065AFCBE841C}"/>
                  </a:ext>
                </a:extLst>
              </p:cNvPr>
              <p:cNvSpPr/>
              <p:nvPr/>
            </p:nvSpPr>
            <p:spPr>
              <a:xfrm>
                <a:off x="14083561" y="2826957"/>
                <a:ext cx="1271026" cy="2619768"/>
              </a:xfrm>
              <a:custGeom>
                <a:avLst/>
                <a:gdLst>
                  <a:gd name="connsiteX0" fmla="*/ 13497 w 1271026"/>
                  <a:gd name="connsiteY0" fmla="*/ 2591641 h 2619768"/>
                  <a:gd name="connsiteX1" fmla="*/ 28128 w 1271026"/>
                  <a:gd name="connsiteY1" fmla="*/ 2605124 h 2619768"/>
                  <a:gd name="connsiteX2" fmla="*/ 14645 w 1271026"/>
                  <a:gd name="connsiteY2" fmla="*/ 2619755 h 2619768"/>
                  <a:gd name="connsiteX3" fmla="*/ 14 w 1271026"/>
                  <a:gd name="connsiteY3" fmla="*/ 2606272 h 2619768"/>
                  <a:gd name="connsiteX4" fmla="*/ 13497 w 1271026"/>
                  <a:gd name="connsiteY4" fmla="*/ 2591641 h 2619768"/>
                  <a:gd name="connsiteX5" fmla="*/ 119184 w 1271026"/>
                  <a:gd name="connsiteY5" fmla="*/ 2582977 h 2619768"/>
                  <a:gd name="connsiteX6" fmla="*/ 134905 w 1271026"/>
                  <a:gd name="connsiteY6" fmla="*/ 2595198 h 2619768"/>
                  <a:gd name="connsiteX7" fmla="*/ 122684 w 1271026"/>
                  <a:gd name="connsiteY7" fmla="*/ 2610919 h 2619768"/>
                  <a:gd name="connsiteX8" fmla="*/ 106963 w 1271026"/>
                  <a:gd name="connsiteY8" fmla="*/ 2598698 h 2619768"/>
                  <a:gd name="connsiteX9" fmla="*/ 119184 w 1271026"/>
                  <a:gd name="connsiteY9" fmla="*/ 2582977 h 2619768"/>
                  <a:gd name="connsiteX10" fmla="*/ 223782 w 1271026"/>
                  <a:gd name="connsiteY10" fmla="*/ 2565592 h 2619768"/>
                  <a:gd name="connsiteX11" fmla="*/ 240421 w 1271026"/>
                  <a:gd name="connsiteY11" fmla="*/ 2576494 h 2619768"/>
                  <a:gd name="connsiteX12" fmla="*/ 229519 w 1271026"/>
                  <a:gd name="connsiteY12" fmla="*/ 2593133 h 2619768"/>
                  <a:gd name="connsiteX13" fmla="*/ 212880 w 1271026"/>
                  <a:gd name="connsiteY13" fmla="*/ 2582231 h 2619768"/>
                  <a:gd name="connsiteX14" fmla="*/ 223782 w 1271026"/>
                  <a:gd name="connsiteY14" fmla="*/ 2565592 h 2619768"/>
                  <a:gd name="connsiteX15" fmla="*/ 326542 w 1271026"/>
                  <a:gd name="connsiteY15" fmla="*/ 2539600 h 2619768"/>
                  <a:gd name="connsiteX16" fmla="*/ 344042 w 1271026"/>
                  <a:gd name="connsiteY16" fmla="*/ 2549067 h 2619768"/>
                  <a:gd name="connsiteX17" fmla="*/ 334575 w 1271026"/>
                  <a:gd name="connsiteY17" fmla="*/ 2566567 h 2619768"/>
                  <a:gd name="connsiteX18" fmla="*/ 317075 w 1271026"/>
                  <a:gd name="connsiteY18" fmla="*/ 2557100 h 2619768"/>
                  <a:gd name="connsiteX19" fmla="*/ 326542 w 1271026"/>
                  <a:gd name="connsiteY19" fmla="*/ 2539600 h 2619768"/>
                  <a:gd name="connsiteX20" fmla="*/ 426893 w 1271026"/>
                  <a:gd name="connsiteY20" fmla="*/ 2505232 h 2619768"/>
                  <a:gd name="connsiteX21" fmla="*/ 445139 w 1271026"/>
                  <a:gd name="connsiteY21" fmla="*/ 2513265 h 2619768"/>
                  <a:gd name="connsiteX22" fmla="*/ 437106 w 1271026"/>
                  <a:gd name="connsiteY22" fmla="*/ 2531511 h 2619768"/>
                  <a:gd name="connsiteX23" fmla="*/ 418860 w 1271026"/>
                  <a:gd name="connsiteY23" fmla="*/ 2523478 h 2619768"/>
                  <a:gd name="connsiteX24" fmla="*/ 426893 w 1271026"/>
                  <a:gd name="connsiteY24" fmla="*/ 2505232 h 2619768"/>
                  <a:gd name="connsiteX25" fmla="*/ 534739 w 1271026"/>
                  <a:gd name="connsiteY25" fmla="*/ 2462007 h 2619768"/>
                  <a:gd name="connsiteX26" fmla="*/ 542793 w 1271026"/>
                  <a:gd name="connsiteY26" fmla="*/ 2469143 h 2619768"/>
                  <a:gd name="connsiteX27" fmla="*/ 536310 w 1271026"/>
                  <a:gd name="connsiteY27" fmla="*/ 2487962 h 2619768"/>
                  <a:gd name="connsiteX28" fmla="*/ 517491 w 1271026"/>
                  <a:gd name="connsiteY28" fmla="*/ 2481479 h 2619768"/>
                  <a:gd name="connsiteX29" fmla="*/ 523974 w 1271026"/>
                  <a:gd name="connsiteY29" fmla="*/ 2462660 h 2619768"/>
                  <a:gd name="connsiteX30" fmla="*/ 534739 w 1271026"/>
                  <a:gd name="connsiteY30" fmla="*/ 2462007 h 2619768"/>
                  <a:gd name="connsiteX31" fmla="*/ 627918 w 1271026"/>
                  <a:gd name="connsiteY31" fmla="*/ 2410661 h 2619768"/>
                  <a:gd name="connsiteX32" fmla="*/ 636546 w 1271026"/>
                  <a:gd name="connsiteY32" fmla="*/ 2417102 h 2619768"/>
                  <a:gd name="connsiteX33" fmla="*/ 631669 w 1271026"/>
                  <a:gd name="connsiteY33" fmla="*/ 2436380 h 2619768"/>
                  <a:gd name="connsiteX34" fmla="*/ 612391 w 1271026"/>
                  <a:gd name="connsiteY34" fmla="*/ 2431503 h 2619768"/>
                  <a:gd name="connsiteX35" fmla="*/ 617268 w 1271026"/>
                  <a:gd name="connsiteY35" fmla="*/ 2412225 h 2619768"/>
                  <a:gd name="connsiteX36" fmla="*/ 627918 w 1271026"/>
                  <a:gd name="connsiteY36" fmla="*/ 2410661 h 2619768"/>
                  <a:gd name="connsiteX37" fmla="*/ 714233 w 1271026"/>
                  <a:gd name="connsiteY37" fmla="*/ 2351694 h 2619768"/>
                  <a:gd name="connsiteX38" fmla="*/ 728290 w 1271026"/>
                  <a:gd name="connsiteY38" fmla="*/ 2365751 h 2619768"/>
                  <a:gd name="connsiteX39" fmla="*/ 714233 w 1271026"/>
                  <a:gd name="connsiteY39" fmla="*/ 2379808 h 2619768"/>
                  <a:gd name="connsiteX40" fmla="*/ 700176 w 1271026"/>
                  <a:gd name="connsiteY40" fmla="*/ 2365751 h 2619768"/>
                  <a:gd name="connsiteX41" fmla="*/ 714233 w 1271026"/>
                  <a:gd name="connsiteY41" fmla="*/ 2351694 h 2619768"/>
                  <a:gd name="connsiteX42" fmla="*/ 800011 w 1271026"/>
                  <a:gd name="connsiteY42" fmla="*/ 2285955 h 2619768"/>
                  <a:gd name="connsiteX43" fmla="*/ 809593 w 1271026"/>
                  <a:gd name="connsiteY43" fmla="*/ 2290875 h 2619768"/>
                  <a:gd name="connsiteX44" fmla="*/ 807929 w 1271026"/>
                  <a:gd name="connsiteY44" fmla="*/ 2310727 h 2619768"/>
                  <a:gd name="connsiteX45" fmla="*/ 788077 w 1271026"/>
                  <a:gd name="connsiteY45" fmla="*/ 2309063 h 2619768"/>
                  <a:gd name="connsiteX46" fmla="*/ 789741 w 1271026"/>
                  <a:gd name="connsiteY46" fmla="*/ 2289211 h 2619768"/>
                  <a:gd name="connsiteX47" fmla="*/ 800011 w 1271026"/>
                  <a:gd name="connsiteY47" fmla="*/ 2285955 h 2619768"/>
                  <a:gd name="connsiteX48" fmla="*/ 877727 w 1271026"/>
                  <a:gd name="connsiteY48" fmla="*/ 2213302 h 2619768"/>
                  <a:gd name="connsiteX49" fmla="*/ 887682 w 1271026"/>
                  <a:gd name="connsiteY49" fmla="*/ 2217433 h 2619768"/>
                  <a:gd name="connsiteX50" fmla="*/ 887682 w 1271026"/>
                  <a:gd name="connsiteY50" fmla="*/ 2237343 h 2619768"/>
                  <a:gd name="connsiteX51" fmla="*/ 867772 w 1271026"/>
                  <a:gd name="connsiteY51" fmla="*/ 2237343 h 2619768"/>
                  <a:gd name="connsiteX52" fmla="*/ 867772 w 1271026"/>
                  <a:gd name="connsiteY52" fmla="*/ 2217433 h 2619768"/>
                  <a:gd name="connsiteX53" fmla="*/ 877727 w 1271026"/>
                  <a:gd name="connsiteY53" fmla="*/ 2213302 h 2619768"/>
                  <a:gd name="connsiteX54" fmla="*/ 949268 w 1271026"/>
                  <a:gd name="connsiteY54" fmla="*/ 2134546 h 2619768"/>
                  <a:gd name="connsiteX55" fmla="*/ 959517 w 1271026"/>
                  <a:gd name="connsiteY55" fmla="*/ 2137852 h 2619768"/>
                  <a:gd name="connsiteX56" fmla="*/ 961123 w 1271026"/>
                  <a:gd name="connsiteY56" fmla="*/ 2157705 h 2619768"/>
                  <a:gd name="connsiteX57" fmla="*/ 941271 w 1271026"/>
                  <a:gd name="connsiteY57" fmla="*/ 2159311 h 2619768"/>
                  <a:gd name="connsiteX58" fmla="*/ 939665 w 1271026"/>
                  <a:gd name="connsiteY58" fmla="*/ 2139459 h 2619768"/>
                  <a:gd name="connsiteX59" fmla="*/ 949268 w 1271026"/>
                  <a:gd name="connsiteY59" fmla="*/ 2134546 h 2619768"/>
                  <a:gd name="connsiteX60" fmla="*/ 1013988 w 1271026"/>
                  <a:gd name="connsiteY60" fmla="*/ 2050159 h 2619768"/>
                  <a:gd name="connsiteX61" fmla="*/ 1024467 w 1271026"/>
                  <a:gd name="connsiteY61" fmla="*/ 2052591 h 2619768"/>
                  <a:gd name="connsiteX62" fmla="*/ 1027737 w 1271026"/>
                  <a:gd name="connsiteY62" fmla="*/ 2072213 h 2619768"/>
                  <a:gd name="connsiteX63" fmla="*/ 1008114 w 1271026"/>
                  <a:gd name="connsiteY63" fmla="*/ 2075484 h 2619768"/>
                  <a:gd name="connsiteX64" fmla="*/ 1004844 w 1271026"/>
                  <a:gd name="connsiteY64" fmla="*/ 2055861 h 2619768"/>
                  <a:gd name="connsiteX65" fmla="*/ 1013988 w 1271026"/>
                  <a:gd name="connsiteY65" fmla="*/ 2050159 h 2619768"/>
                  <a:gd name="connsiteX66" fmla="*/ 1071479 w 1271026"/>
                  <a:gd name="connsiteY66" fmla="*/ 1960682 h 2619768"/>
                  <a:gd name="connsiteX67" fmla="*/ 1082130 w 1271026"/>
                  <a:gd name="connsiteY67" fmla="*/ 1962224 h 2619768"/>
                  <a:gd name="connsiteX68" fmla="*/ 1087007 w 1271026"/>
                  <a:gd name="connsiteY68" fmla="*/ 1981502 h 2619768"/>
                  <a:gd name="connsiteX69" fmla="*/ 1067728 w 1271026"/>
                  <a:gd name="connsiteY69" fmla="*/ 1986379 h 2619768"/>
                  <a:gd name="connsiteX70" fmla="*/ 1062852 w 1271026"/>
                  <a:gd name="connsiteY70" fmla="*/ 1967101 h 2619768"/>
                  <a:gd name="connsiteX71" fmla="*/ 1071479 w 1271026"/>
                  <a:gd name="connsiteY71" fmla="*/ 1960682 h 2619768"/>
                  <a:gd name="connsiteX72" fmla="*/ 1121396 w 1271026"/>
                  <a:gd name="connsiteY72" fmla="*/ 1866756 h 2619768"/>
                  <a:gd name="connsiteX73" fmla="*/ 1132161 w 1271026"/>
                  <a:gd name="connsiteY73" fmla="*/ 1867438 h 2619768"/>
                  <a:gd name="connsiteX74" fmla="*/ 1138587 w 1271026"/>
                  <a:gd name="connsiteY74" fmla="*/ 1886257 h 2619768"/>
                  <a:gd name="connsiteX75" fmla="*/ 1119768 w 1271026"/>
                  <a:gd name="connsiteY75" fmla="*/ 1892683 h 2619768"/>
                  <a:gd name="connsiteX76" fmla="*/ 1113342 w 1271026"/>
                  <a:gd name="connsiteY76" fmla="*/ 1873864 h 2619768"/>
                  <a:gd name="connsiteX77" fmla="*/ 1121396 w 1271026"/>
                  <a:gd name="connsiteY77" fmla="*/ 1866756 h 2619768"/>
                  <a:gd name="connsiteX78" fmla="*/ 1174219 w 1271026"/>
                  <a:gd name="connsiteY78" fmla="*/ 1768808 h 2619768"/>
                  <a:gd name="connsiteX79" fmla="*/ 1182194 w 1271026"/>
                  <a:gd name="connsiteY79" fmla="*/ 1787054 h 2619768"/>
                  <a:gd name="connsiteX80" fmla="*/ 1163948 w 1271026"/>
                  <a:gd name="connsiteY80" fmla="*/ 1795029 h 2619768"/>
                  <a:gd name="connsiteX81" fmla="*/ 1155973 w 1271026"/>
                  <a:gd name="connsiteY81" fmla="*/ 1776783 h 2619768"/>
                  <a:gd name="connsiteX82" fmla="*/ 1174219 w 1271026"/>
                  <a:gd name="connsiteY82" fmla="*/ 1768808 h 2619768"/>
                  <a:gd name="connsiteX83" fmla="*/ 1208013 w 1271026"/>
                  <a:gd name="connsiteY83" fmla="*/ 1667080 h 2619768"/>
                  <a:gd name="connsiteX84" fmla="*/ 1217480 w 1271026"/>
                  <a:gd name="connsiteY84" fmla="*/ 1684580 h 2619768"/>
                  <a:gd name="connsiteX85" fmla="*/ 1199980 w 1271026"/>
                  <a:gd name="connsiteY85" fmla="*/ 1694047 h 2619768"/>
                  <a:gd name="connsiteX86" fmla="*/ 1190513 w 1271026"/>
                  <a:gd name="connsiteY86" fmla="*/ 1676547 h 2619768"/>
                  <a:gd name="connsiteX87" fmla="*/ 1208013 w 1271026"/>
                  <a:gd name="connsiteY87" fmla="*/ 1667080 h 2619768"/>
                  <a:gd name="connsiteX88" fmla="*/ 1233202 w 1271026"/>
                  <a:gd name="connsiteY88" fmla="*/ 1562885 h 2619768"/>
                  <a:gd name="connsiteX89" fmla="*/ 1244103 w 1271026"/>
                  <a:gd name="connsiteY89" fmla="*/ 1579582 h 2619768"/>
                  <a:gd name="connsiteX90" fmla="*/ 1227407 w 1271026"/>
                  <a:gd name="connsiteY90" fmla="*/ 1590483 h 2619768"/>
                  <a:gd name="connsiteX91" fmla="*/ 1216505 w 1271026"/>
                  <a:gd name="connsiteY91" fmla="*/ 1573787 h 2619768"/>
                  <a:gd name="connsiteX92" fmla="*/ 1233202 w 1271026"/>
                  <a:gd name="connsiteY92" fmla="*/ 1562885 h 2619768"/>
                  <a:gd name="connsiteX93" fmla="*/ 1249783 w 1271026"/>
                  <a:gd name="connsiteY93" fmla="*/ 1456969 h 2619768"/>
                  <a:gd name="connsiteX94" fmla="*/ 1262004 w 1271026"/>
                  <a:gd name="connsiteY94" fmla="*/ 1472690 h 2619768"/>
                  <a:gd name="connsiteX95" fmla="*/ 1246283 w 1271026"/>
                  <a:gd name="connsiteY95" fmla="*/ 1484911 h 2619768"/>
                  <a:gd name="connsiteX96" fmla="*/ 1234062 w 1271026"/>
                  <a:gd name="connsiteY96" fmla="*/ 1469190 h 2619768"/>
                  <a:gd name="connsiteX97" fmla="*/ 1249783 w 1271026"/>
                  <a:gd name="connsiteY97" fmla="*/ 1456969 h 2619768"/>
                  <a:gd name="connsiteX98" fmla="*/ 1257529 w 1271026"/>
                  <a:gd name="connsiteY98" fmla="*/ 1350077 h 2619768"/>
                  <a:gd name="connsiteX99" fmla="*/ 1271012 w 1271026"/>
                  <a:gd name="connsiteY99" fmla="*/ 1364708 h 2619768"/>
                  <a:gd name="connsiteX100" fmla="*/ 1256381 w 1271026"/>
                  <a:gd name="connsiteY100" fmla="*/ 1378191 h 2619768"/>
                  <a:gd name="connsiteX101" fmla="*/ 1242898 w 1271026"/>
                  <a:gd name="connsiteY101" fmla="*/ 1363560 h 2619768"/>
                  <a:gd name="connsiteX102" fmla="*/ 1257529 w 1271026"/>
                  <a:gd name="connsiteY102" fmla="*/ 1350077 h 2619768"/>
                  <a:gd name="connsiteX103" fmla="*/ 1256381 w 1271026"/>
                  <a:gd name="connsiteY103" fmla="*/ 1242898 h 2619768"/>
                  <a:gd name="connsiteX104" fmla="*/ 1271012 w 1271026"/>
                  <a:gd name="connsiteY104" fmla="*/ 1256381 h 2619768"/>
                  <a:gd name="connsiteX105" fmla="*/ 1257529 w 1271026"/>
                  <a:gd name="connsiteY105" fmla="*/ 1271012 h 2619768"/>
                  <a:gd name="connsiteX106" fmla="*/ 1242898 w 1271026"/>
                  <a:gd name="connsiteY106" fmla="*/ 1257529 h 2619768"/>
                  <a:gd name="connsiteX107" fmla="*/ 1256381 w 1271026"/>
                  <a:gd name="connsiteY107" fmla="*/ 1242898 h 2619768"/>
                  <a:gd name="connsiteX108" fmla="*/ 1246455 w 1271026"/>
                  <a:gd name="connsiteY108" fmla="*/ 1136121 h 2619768"/>
                  <a:gd name="connsiteX109" fmla="*/ 1262176 w 1271026"/>
                  <a:gd name="connsiteY109" fmla="*/ 1148342 h 2619768"/>
                  <a:gd name="connsiteX110" fmla="*/ 1249955 w 1271026"/>
                  <a:gd name="connsiteY110" fmla="*/ 1164063 h 2619768"/>
                  <a:gd name="connsiteX111" fmla="*/ 1234234 w 1271026"/>
                  <a:gd name="connsiteY111" fmla="*/ 1151842 h 2619768"/>
                  <a:gd name="connsiteX112" fmla="*/ 1246455 w 1271026"/>
                  <a:gd name="connsiteY112" fmla="*/ 1136121 h 2619768"/>
                  <a:gd name="connsiteX113" fmla="*/ 1227751 w 1271026"/>
                  <a:gd name="connsiteY113" fmla="*/ 1030606 h 2619768"/>
                  <a:gd name="connsiteX114" fmla="*/ 1244390 w 1271026"/>
                  <a:gd name="connsiteY114" fmla="*/ 1041508 h 2619768"/>
                  <a:gd name="connsiteX115" fmla="*/ 1233488 w 1271026"/>
                  <a:gd name="connsiteY115" fmla="*/ 1058147 h 2619768"/>
                  <a:gd name="connsiteX116" fmla="*/ 1216849 w 1271026"/>
                  <a:gd name="connsiteY116" fmla="*/ 1047245 h 2619768"/>
                  <a:gd name="connsiteX117" fmla="*/ 1227751 w 1271026"/>
                  <a:gd name="connsiteY117" fmla="*/ 1030606 h 2619768"/>
                  <a:gd name="connsiteX118" fmla="*/ 1200324 w 1271026"/>
                  <a:gd name="connsiteY118" fmla="*/ 926984 h 2619768"/>
                  <a:gd name="connsiteX119" fmla="*/ 1217824 w 1271026"/>
                  <a:gd name="connsiteY119" fmla="*/ 936451 h 2619768"/>
                  <a:gd name="connsiteX120" fmla="*/ 1208357 w 1271026"/>
                  <a:gd name="connsiteY120" fmla="*/ 953951 h 2619768"/>
                  <a:gd name="connsiteX121" fmla="*/ 1190857 w 1271026"/>
                  <a:gd name="connsiteY121" fmla="*/ 944484 h 2619768"/>
                  <a:gd name="connsiteX122" fmla="*/ 1200324 w 1271026"/>
                  <a:gd name="connsiteY122" fmla="*/ 926984 h 2619768"/>
                  <a:gd name="connsiteX123" fmla="*/ 1164465 w 1271026"/>
                  <a:gd name="connsiteY123" fmla="*/ 825945 h 2619768"/>
                  <a:gd name="connsiteX124" fmla="*/ 1182711 w 1271026"/>
                  <a:gd name="connsiteY124" fmla="*/ 833978 h 2619768"/>
                  <a:gd name="connsiteX125" fmla="*/ 1174678 w 1271026"/>
                  <a:gd name="connsiteY125" fmla="*/ 852224 h 2619768"/>
                  <a:gd name="connsiteX126" fmla="*/ 1156432 w 1271026"/>
                  <a:gd name="connsiteY126" fmla="*/ 844191 h 2619768"/>
                  <a:gd name="connsiteX127" fmla="*/ 1164465 w 1271026"/>
                  <a:gd name="connsiteY127" fmla="*/ 825945 h 2619768"/>
                  <a:gd name="connsiteX128" fmla="*/ 1131165 w 1271026"/>
                  <a:gd name="connsiteY128" fmla="*/ 727581 h 2619768"/>
                  <a:gd name="connsiteX129" fmla="*/ 1139219 w 1271026"/>
                  <a:gd name="connsiteY129" fmla="*/ 734717 h 2619768"/>
                  <a:gd name="connsiteX130" fmla="*/ 1132736 w 1271026"/>
                  <a:gd name="connsiteY130" fmla="*/ 753536 h 2619768"/>
                  <a:gd name="connsiteX131" fmla="*/ 1113917 w 1271026"/>
                  <a:gd name="connsiteY131" fmla="*/ 747053 h 2619768"/>
                  <a:gd name="connsiteX132" fmla="*/ 1120400 w 1271026"/>
                  <a:gd name="connsiteY132" fmla="*/ 728234 h 2619768"/>
                  <a:gd name="connsiteX133" fmla="*/ 1131165 w 1271026"/>
                  <a:gd name="connsiteY133" fmla="*/ 727581 h 2619768"/>
                  <a:gd name="connsiteX134" fmla="*/ 1068417 w 1271026"/>
                  <a:gd name="connsiteY134" fmla="*/ 634480 h 2619768"/>
                  <a:gd name="connsiteX135" fmla="*/ 1087695 w 1271026"/>
                  <a:gd name="connsiteY135" fmla="*/ 639357 h 2619768"/>
                  <a:gd name="connsiteX136" fmla="*/ 1082818 w 1271026"/>
                  <a:gd name="connsiteY136" fmla="*/ 658635 h 2619768"/>
                  <a:gd name="connsiteX137" fmla="*/ 1063540 w 1271026"/>
                  <a:gd name="connsiteY137" fmla="*/ 653758 h 2619768"/>
                  <a:gd name="connsiteX138" fmla="*/ 1068417 w 1271026"/>
                  <a:gd name="connsiteY138" fmla="*/ 634480 h 2619768"/>
                  <a:gd name="connsiteX139" fmla="*/ 1017008 w 1271026"/>
                  <a:gd name="connsiteY139" fmla="*/ 542736 h 2619768"/>
                  <a:gd name="connsiteX140" fmla="*/ 1031065 w 1271026"/>
                  <a:gd name="connsiteY140" fmla="*/ 556793 h 2619768"/>
                  <a:gd name="connsiteX141" fmla="*/ 1017008 w 1271026"/>
                  <a:gd name="connsiteY141" fmla="*/ 570850 h 2619768"/>
                  <a:gd name="connsiteX142" fmla="*/ 1002951 w 1271026"/>
                  <a:gd name="connsiteY142" fmla="*/ 556793 h 2619768"/>
                  <a:gd name="connsiteX143" fmla="*/ 1017008 w 1271026"/>
                  <a:gd name="connsiteY143" fmla="*/ 542736 h 2619768"/>
                  <a:gd name="connsiteX144" fmla="*/ 942132 w 1271026"/>
                  <a:gd name="connsiteY144" fmla="*/ 461434 h 2619768"/>
                  <a:gd name="connsiteX145" fmla="*/ 961984 w 1271026"/>
                  <a:gd name="connsiteY145" fmla="*/ 463098 h 2619768"/>
                  <a:gd name="connsiteX146" fmla="*/ 960320 w 1271026"/>
                  <a:gd name="connsiteY146" fmla="*/ 482950 h 2619768"/>
                  <a:gd name="connsiteX147" fmla="*/ 940468 w 1271026"/>
                  <a:gd name="connsiteY147" fmla="*/ 481286 h 2619768"/>
                  <a:gd name="connsiteX148" fmla="*/ 942132 w 1271026"/>
                  <a:gd name="connsiteY148" fmla="*/ 461434 h 2619768"/>
                  <a:gd name="connsiteX149" fmla="*/ 868690 w 1271026"/>
                  <a:gd name="connsiteY149" fmla="*/ 383287 h 2619768"/>
                  <a:gd name="connsiteX150" fmla="*/ 888600 w 1271026"/>
                  <a:gd name="connsiteY150" fmla="*/ 383287 h 2619768"/>
                  <a:gd name="connsiteX151" fmla="*/ 888600 w 1271026"/>
                  <a:gd name="connsiteY151" fmla="*/ 403197 h 2619768"/>
                  <a:gd name="connsiteX152" fmla="*/ 868690 w 1271026"/>
                  <a:gd name="connsiteY152" fmla="*/ 403197 h 2619768"/>
                  <a:gd name="connsiteX153" fmla="*/ 868690 w 1271026"/>
                  <a:gd name="connsiteY153" fmla="*/ 383287 h 2619768"/>
                  <a:gd name="connsiteX154" fmla="*/ 808962 w 1271026"/>
                  <a:gd name="connsiteY154" fmla="*/ 309904 h 2619768"/>
                  <a:gd name="connsiteX155" fmla="*/ 810568 w 1271026"/>
                  <a:gd name="connsiteY155" fmla="*/ 329756 h 2619768"/>
                  <a:gd name="connsiteX156" fmla="*/ 790716 w 1271026"/>
                  <a:gd name="connsiteY156" fmla="*/ 331362 h 2619768"/>
                  <a:gd name="connsiteX157" fmla="*/ 789109 w 1271026"/>
                  <a:gd name="connsiteY157" fmla="*/ 311510 h 2619768"/>
                  <a:gd name="connsiteX158" fmla="*/ 808962 w 1271026"/>
                  <a:gd name="connsiteY158" fmla="*/ 309904 h 2619768"/>
                  <a:gd name="connsiteX159" fmla="*/ 723470 w 1271026"/>
                  <a:gd name="connsiteY159" fmla="*/ 243290 h 2619768"/>
                  <a:gd name="connsiteX160" fmla="*/ 726741 w 1271026"/>
                  <a:gd name="connsiteY160" fmla="*/ 262912 h 2619768"/>
                  <a:gd name="connsiteX161" fmla="*/ 707118 w 1271026"/>
                  <a:gd name="connsiteY161" fmla="*/ 266183 h 2619768"/>
                  <a:gd name="connsiteX162" fmla="*/ 703848 w 1271026"/>
                  <a:gd name="connsiteY162" fmla="*/ 246560 h 2619768"/>
                  <a:gd name="connsiteX163" fmla="*/ 723470 w 1271026"/>
                  <a:gd name="connsiteY163" fmla="*/ 243290 h 2619768"/>
                  <a:gd name="connsiteX164" fmla="*/ 632759 w 1271026"/>
                  <a:gd name="connsiteY164" fmla="*/ 184020 h 2619768"/>
                  <a:gd name="connsiteX165" fmla="*/ 637636 w 1271026"/>
                  <a:gd name="connsiteY165" fmla="*/ 203298 h 2619768"/>
                  <a:gd name="connsiteX166" fmla="*/ 618358 w 1271026"/>
                  <a:gd name="connsiteY166" fmla="*/ 208175 h 2619768"/>
                  <a:gd name="connsiteX167" fmla="*/ 613481 w 1271026"/>
                  <a:gd name="connsiteY167" fmla="*/ 188896 h 2619768"/>
                  <a:gd name="connsiteX168" fmla="*/ 632759 w 1271026"/>
                  <a:gd name="connsiteY168" fmla="*/ 184020 h 2619768"/>
                  <a:gd name="connsiteX169" fmla="*/ 526749 w 1271026"/>
                  <a:gd name="connsiteY169" fmla="*/ 131700 h 2619768"/>
                  <a:gd name="connsiteX170" fmla="*/ 537514 w 1271026"/>
                  <a:gd name="connsiteY170" fmla="*/ 132381 h 2619768"/>
                  <a:gd name="connsiteX171" fmla="*/ 543940 w 1271026"/>
                  <a:gd name="connsiteY171" fmla="*/ 151200 h 2619768"/>
                  <a:gd name="connsiteX172" fmla="*/ 525121 w 1271026"/>
                  <a:gd name="connsiteY172" fmla="*/ 157626 h 2619768"/>
                  <a:gd name="connsiteX173" fmla="*/ 518695 w 1271026"/>
                  <a:gd name="connsiteY173" fmla="*/ 138807 h 2619768"/>
                  <a:gd name="connsiteX174" fmla="*/ 526749 w 1271026"/>
                  <a:gd name="connsiteY174" fmla="*/ 131700 h 2619768"/>
                  <a:gd name="connsiteX175" fmla="*/ 438311 w 1271026"/>
                  <a:gd name="connsiteY175" fmla="*/ 88775 h 2619768"/>
                  <a:gd name="connsiteX176" fmla="*/ 446286 w 1271026"/>
                  <a:gd name="connsiteY176" fmla="*/ 107021 h 2619768"/>
                  <a:gd name="connsiteX177" fmla="*/ 428040 w 1271026"/>
                  <a:gd name="connsiteY177" fmla="*/ 114996 h 2619768"/>
                  <a:gd name="connsiteX178" fmla="*/ 420065 w 1271026"/>
                  <a:gd name="connsiteY178" fmla="*/ 96750 h 2619768"/>
                  <a:gd name="connsiteX179" fmla="*/ 438311 w 1271026"/>
                  <a:gd name="connsiteY179" fmla="*/ 88775 h 2619768"/>
                  <a:gd name="connsiteX180" fmla="*/ 331821 w 1271026"/>
                  <a:gd name="connsiteY180" fmla="*/ 52972 h 2619768"/>
                  <a:gd name="connsiteX181" fmla="*/ 345878 w 1271026"/>
                  <a:gd name="connsiteY181" fmla="*/ 67029 h 2619768"/>
                  <a:gd name="connsiteX182" fmla="*/ 331821 w 1271026"/>
                  <a:gd name="connsiteY182" fmla="*/ 81086 h 2619768"/>
                  <a:gd name="connsiteX183" fmla="*/ 317764 w 1271026"/>
                  <a:gd name="connsiteY183" fmla="*/ 67029 h 2619768"/>
                  <a:gd name="connsiteX184" fmla="*/ 331821 w 1271026"/>
                  <a:gd name="connsiteY184" fmla="*/ 52972 h 2619768"/>
                  <a:gd name="connsiteX185" fmla="*/ 230839 w 1271026"/>
                  <a:gd name="connsiteY185" fmla="*/ 26924 h 2619768"/>
                  <a:gd name="connsiteX186" fmla="*/ 241740 w 1271026"/>
                  <a:gd name="connsiteY186" fmla="*/ 43621 h 2619768"/>
                  <a:gd name="connsiteX187" fmla="*/ 225044 w 1271026"/>
                  <a:gd name="connsiteY187" fmla="*/ 54522 h 2619768"/>
                  <a:gd name="connsiteX188" fmla="*/ 214142 w 1271026"/>
                  <a:gd name="connsiteY188" fmla="*/ 37826 h 2619768"/>
                  <a:gd name="connsiteX189" fmla="*/ 230839 w 1271026"/>
                  <a:gd name="connsiteY189" fmla="*/ 26924 h 2619768"/>
                  <a:gd name="connsiteX190" fmla="*/ 123947 w 1271026"/>
                  <a:gd name="connsiteY190" fmla="*/ 9022 h 2619768"/>
                  <a:gd name="connsiteX191" fmla="*/ 136168 w 1271026"/>
                  <a:gd name="connsiteY191" fmla="*/ 24743 h 2619768"/>
                  <a:gd name="connsiteX192" fmla="*/ 120447 w 1271026"/>
                  <a:gd name="connsiteY192" fmla="*/ 36964 h 2619768"/>
                  <a:gd name="connsiteX193" fmla="*/ 108226 w 1271026"/>
                  <a:gd name="connsiteY193" fmla="*/ 21243 h 2619768"/>
                  <a:gd name="connsiteX194" fmla="*/ 123947 w 1271026"/>
                  <a:gd name="connsiteY194" fmla="*/ 9022 h 2619768"/>
                  <a:gd name="connsiteX195" fmla="*/ 15965 w 1271026"/>
                  <a:gd name="connsiteY195" fmla="*/ 14 h 2619768"/>
                  <a:gd name="connsiteX196" fmla="*/ 29448 w 1271026"/>
                  <a:gd name="connsiteY196" fmla="*/ 14645 h 2619768"/>
                  <a:gd name="connsiteX197" fmla="*/ 14817 w 1271026"/>
                  <a:gd name="connsiteY197" fmla="*/ 28128 h 2619768"/>
                  <a:gd name="connsiteX198" fmla="*/ 1334 w 1271026"/>
                  <a:gd name="connsiteY198" fmla="*/ 13497 h 2619768"/>
                  <a:gd name="connsiteX199" fmla="*/ 15965 w 1271026"/>
                  <a:gd name="connsiteY199" fmla="*/ 14 h 261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271026" h="2619768">
                    <a:moveTo>
                      <a:pt x="13497" y="2591641"/>
                    </a:moveTo>
                    <a:cubicBezTo>
                      <a:pt x="21243" y="2591297"/>
                      <a:pt x="27784" y="2597379"/>
                      <a:pt x="28128" y="2605124"/>
                    </a:cubicBezTo>
                    <a:cubicBezTo>
                      <a:pt x="28473" y="2612870"/>
                      <a:pt x="22391" y="2619411"/>
                      <a:pt x="14645" y="2619755"/>
                    </a:cubicBezTo>
                    <a:cubicBezTo>
                      <a:pt x="6899" y="2620100"/>
                      <a:pt x="358" y="2614018"/>
                      <a:pt x="14" y="2606272"/>
                    </a:cubicBezTo>
                    <a:cubicBezTo>
                      <a:pt x="-330" y="2598526"/>
                      <a:pt x="5752" y="2591985"/>
                      <a:pt x="13497" y="2591641"/>
                    </a:cubicBezTo>
                    <a:close/>
                    <a:moveTo>
                      <a:pt x="119184" y="2582977"/>
                    </a:moveTo>
                    <a:cubicBezTo>
                      <a:pt x="126930" y="2582002"/>
                      <a:pt x="133930" y="2587510"/>
                      <a:pt x="134905" y="2595198"/>
                    </a:cubicBezTo>
                    <a:cubicBezTo>
                      <a:pt x="135881" y="2602944"/>
                      <a:pt x="130372" y="2609944"/>
                      <a:pt x="122684" y="2610919"/>
                    </a:cubicBezTo>
                    <a:cubicBezTo>
                      <a:pt x="114938" y="2611895"/>
                      <a:pt x="107938" y="2606386"/>
                      <a:pt x="106963" y="2598698"/>
                    </a:cubicBezTo>
                    <a:cubicBezTo>
                      <a:pt x="105988" y="2590952"/>
                      <a:pt x="111496" y="2583952"/>
                      <a:pt x="119184" y="2582977"/>
                    </a:cubicBezTo>
                    <a:close/>
                    <a:moveTo>
                      <a:pt x="223782" y="2565592"/>
                    </a:moveTo>
                    <a:cubicBezTo>
                      <a:pt x="231355" y="2563986"/>
                      <a:pt x="238814" y="2568863"/>
                      <a:pt x="240421" y="2576494"/>
                    </a:cubicBezTo>
                    <a:cubicBezTo>
                      <a:pt x="242027" y="2584067"/>
                      <a:pt x="237150" y="2591526"/>
                      <a:pt x="229519" y="2593133"/>
                    </a:cubicBezTo>
                    <a:cubicBezTo>
                      <a:pt x="221946" y="2594739"/>
                      <a:pt x="214487" y="2589862"/>
                      <a:pt x="212880" y="2582231"/>
                    </a:cubicBezTo>
                    <a:cubicBezTo>
                      <a:pt x="211274" y="2574657"/>
                      <a:pt x="216151" y="2567199"/>
                      <a:pt x="223782" y="2565592"/>
                    </a:cubicBezTo>
                    <a:close/>
                    <a:moveTo>
                      <a:pt x="326542" y="2539600"/>
                    </a:moveTo>
                    <a:cubicBezTo>
                      <a:pt x="334001" y="2537363"/>
                      <a:pt x="341804" y="2541608"/>
                      <a:pt x="344042" y="2549067"/>
                    </a:cubicBezTo>
                    <a:cubicBezTo>
                      <a:pt x="346280" y="2556526"/>
                      <a:pt x="342034" y="2564329"/>
                      <a:pt x="334575" y="2566567"/>
                    </a:cubicBezTo>
                    <a:cubicBezTo>
                      <a:pt x="327116" y="2568805"/>
                      <a:pt x="319313" y="2564559"/>
                      <a:pt x="317075" y="2557100"/>
                    </a:cubicBezTo>
                    <a:cubicBezTo>
                      <a:pt x="314838" y="2549641"/>
                      <a:pt x="319083" y="2541838"/>
                      <a:pt x="326542" y="2539600"/>
                    </a:cubicBezTo>
                    <a:close/>
                    <a:moveTo>
                      <a:pt x="426893" y="2505232"/>
                    </a:moveTo>
                    <a:cubicBezTo>
                      <a:pt x="434180" y="2502421"/>
                      <a:pt x="442327" y="2506036"/>
                      <a:pt x="445139" y="2513265"/>
                    </a:cubicBezTo>
                    <a:cubicBezTo>
                      <a:pt x="447950" y="2520552"/>
                      <a:pt x="444335" y="2528699"/>
                      <a:pt x="437106" y="2531511"/>
                    </a:cubicBezTo>
                    <a:cubicBezTo>
                      <a:pt x="429819" y="2534322"/>
                      <a:pt x="421672" y="2530765"/>
                      <a:pt x="418860" y="2523478"/>
                    </a:cubicBezTo>
                    <a:cubicBezTo>
                      <a:pt x="416049" y="2516191"/>
                      <a:pt x="419664" y="2508044"/>
                      <a:pt x="426893" y="2505232"/>
                    </a:cubicBezTo>
                    <a:close/>
                    <a:moveTo>
                      <a:pt x="534739" y="2462007"/>
                    </a:moveTo>
                    <a:cubicBezTo>
                      <a:pt x="538146" y="2463175"/>
                      <a:pt x="541101" y="2465643"/>
                      <a:pt x="542793" y="2469143"/>
                    </a:cubicBezTo>
                    <a:cubicBezTo>
                      <a:pt x="546179" y="2476143"/>
                      <a:pt x="543310" y="2484577"/>
                      <a:pt x="536310" y="2487962"/>
                    </a:cubicBezTo>
                    <a:cubicBezTo>
                      <a:pt x="529310" y="2491348"/>
                      <a:pt x="520876" y="2488479"/>
                      <a:pt x="517491" y="2481479"/>
                    </a:cubicBezTo>
                    <a:cubicBezTo>
                      <a:pt x="514105" y="2474479"/>
                      <a:pt x="516974" y="2466045"/>
                      <a:pt x="523974" y="2462660"/>
                    </a:cubicBezTo>
                    <a:cubicBezTo>
                      <a:pt x="527474" y="2460967"/>
                      <a:pt x="531333" y="2460838"/>
                      <a:pt x="534739" y="2462007"/>
                    </a:cubicBezTo>
                    <a:close/>
                    <a:moveTo>
                      <a:pt x="627918" y="2410661"/>
                    </a:moveTo>
                    <a:cubicBezTo>
                      <a:pt x="631411" y="2411550"/>
                      <a:pt x="634566" y="2413774"/>
                      <a:pt x="636546" y="2417102"/>
                    </a:cubicBezTo>
                    <a:cubicBezTo>
                      <a:pt x="640563" y="2423758"/>
                      <a:pt x="638325" y="2432421"/>
                      <a:pt x="631669" y="2436380"/>
                    </a:cubicBezTo>
                    <a:cubicBezTo>
                      <a:pt x="625014" y="2440397"/>
                      <a:pt x="616350" y="2438159"/>
                      <a:pt x="612391" y="2431503"/>
                    </a:cubicBezTo>
                    <a:cubicBezTo>
                      <a:pt x="608375" y="2424848"/>
                      <a:pt x="610612" y="2416184"/>
                      <a:pt x="617268" y="2412225"/>
                    </a:cubicBezTo>
                    <a:cubicBezTo>
                      <a:pt x="620596" y="2410217"/>
                      <a:pt x="624426" y="2409772"/>
                      <a:pt x="627918" y="2410661"/>
                    </a:cubicBezTo>
                    <a:close/>
                    <a:moveTo>
                      <a:pt x="714233" y="2351694"/>
                    </a:moveTo>
                    <a:cubicBezTo>
                      <a:pt x="721997" y="2351694"/>
                      <a:pt x="728290" y="2357987"/>
                      <a:pt x="728290" y="2365751"/>
                    </a:cubicBezTo>
                    <a:cubicBezTo>
                      <a:pt x="728290" y="2373515"/>
                      <a:pt x="721997" y="2379808"/>
                      <a:pt x="714233" y="2379808"/>
                    </a:cubicBezTo>
                    <a:cubicBezTo>
                      <a:pt x="706470" y="2379808"/>
                      <a:pt x="700176" y="2373515"/>
                      <a:pt x="700176" y="2365751"/>
                    </a:cubicBezTo>
                    <a:cubicBezTo>
                      <a:pt x="700176" y="2357988"/>
                      <a:pt x="706469" y="2351694"/>
                      <a:pt x="714233" y="2351694"/>
                    </a:cubicBezTo>
                    <a:close/>
                    <a:moveTo>
                      <a:pt x="800011" y="2285955"/>
                    </a:moveTo>
                    <a:cubicBezTo>
                      <a:pt x="803597" y="2286256"/>
                      <a:pt x="807069" y="2287920"/>
                      <a:pt x="809593" y="2290875"/>
                    </a:cubicBezTo>
                    <a:cubicBezTo>
                      <a:pt x="814585" y="2296842"/>
                      <a:pt x="813839" y="2305678"/>
                      <a:pt x="807929" y="2310727"/>
                    </a:cubicBezTo>
                    <a:cubicBezTo>
                      <a:pt x="801962" y="2315719"/>
                      <a:pt x="793069" y="2315030"/>
                      <a:pt x="788077" y="2309063"/>
                    </a:cubicBezTo>
                    <a:cubicBezTo>
                      <a:pt x="783085" y="2303096"/>
                      <a:pt x="783831" y="2294260"/>
                      <a:pt x="789741" y="2289211"/>
                    </a:cubicBezTo>
                    <a:cubicBezTo>
                      <a:pt x="792725" y="2286715"/>
                      <a:pt x="796425" y="2285653"/>
                      <a:pt x="800011" y="2285955"/>
                    </a:cubicBezTo>
                    <a:close/>
                    <a:moveTo>
                      <a:pt x="877727" y="2213302"/>
                    </a:moveTo>
                    <a:cubicBezTo>
                      <a:pt x="881327" y="2213302"/>
                      <a:pt x="884927" y="2214679"/>
                      <a:pt x="887682" y="2217433"/>
                    </a:cubicBezTo>
                    <a:cubicBezTo>
                      <a:pt x="893190" y="2222941"/>
                      <a:pt x="893190" y="2231834"/>
                      <a:pt x="887682" y="2237343"/>
                    </a:cubicBezTo>
                    <a:cubicBezTo>
                      <a:pt x="882173" y="2242851"/>
                      <a:pt x="873280" y="2242851"/>
                      <a:pt x="867772" y="2237343"/>
                    </a:cubicBezTo>
                    <a:cubicBezTo>
                      <a:pt x="862264" y="2231834"/>
                      <a:pt x="862264" y="2222941"/>
                      <a:pt x="867772" y="2217433"/>
                    </a:cubicBezTo>
                    <a:cubicBezTo>
                      <a:pt x="870526" y="2214679"/>
                      <a:pt x="874126" y="2213302"/>
                      <a:pt x="877727" y="2213302"/>
                    </a:cubicBezTo>
                    <a:close/>
                    <a:moveTo>
                      <a:pt x="949268" y="2134546"/>
                    </a:moveTo>
                    <a:cubicBezTo>
                      <a:pt x="952861" y="2134252"/>
                      <a:pt x="956562" y="2135328"/>
                      <a:pt x="959517" y="2137852"/>
                    </a:cubicBezTo>
                    <a:cubicBezTo>
                      <a:pt x="965426" y="2142902"/>
                      <a:pt x="966172" y="2151795"/>
                      <a:pt x="961123" y="2157705"/>
                    </a:cubicBezTo>
                    <a:cubicBezTo>
                      <a:pt x="956074" y="2163615"/>
                      <a:pt x="947181" y="2164360"/>
                      <a:pt x="941271" y="2159311"/>
                    </a:cubicBezTo>
                    <a:cubicBezTo>
                      <a:pt x="935361" y="2154262"/>
                      <a:pt x="934615" y="2145369"/>
                      <a:pt x="939665" y="2139459"/>
                    </a:cubicBezTo>
                    <a:cubicBezTo>
                      <a:pt x="942190" y="2136504"/>
                      <a:pt x="945675" y="2134840"/>
                      <a:pt x="949268" y="2134546"/>
                    </a:cubicBezTo>
                    <a:close/>
                    <a:moveTo>
                      <a:pt x="1013988" y="2050159"/>
                    </a:moveTo>
                    <a:cubicBezTo>
                      <a:pt x="1017538" y="2049564"/>
                      <a:pt x="1021311" y="2050324"/>
                      <a:pt x="1024467" y="2052591"/>
                    </a:cubicBezTo>
                    <a:cubicBezTo>
                      <a:pt x="1030778" y="2057124"/>
                      <a:pt x="1032270" y="2065902"/>
                      <a:pt x="1027737" y="2072213"/>
                    </a:cubicBezTo>
                    <a:cubicBezTo>
                      <a:pt x="1023204" y="2078525"/>
                      <a:pt x="1014426" y="2080017"/>
                      <a:pt x="1008114" y="2075484"/>
                    </a:cubicBezTo>
                    <a:cubicBezTo>
                      <a:pt x="1001803" y="2070951"/>
                      <a:pt x="1000311" y="2062173"/>
                      <a:pt x="1004844" y="2055861"/>
                    </a:cubicBezTo>
                    <a:cubicBezTo>
                      <a:pt x="1007111" y="2052705"/>
                      <a:pt x="1010438" y="2050755"/>
                      <a:pt x="1013988" y="2050159"/>
                    </a:cubicBezTo>
                    <a:close/>
                    <a:moveTo>
                      <a:pt x="1071479" y="1960682"/>
                    </a:moveTo>
                    <a:cubicBezTo>
                      <a:pt x="1074972" y="1959800"/>
                      <a:pt x="1078802" y="1960244"/>
                      <a:pt x="1082130" y="1962224"/>
                    </a:cubicBezTo>
                    <a:cubicBezTo>
                      <a:pt x="1088786" y="1966182"/>
                      <a:pt x="1090966" y="1974846"/>
                      <a:pt x="1087007" y="1981502"/>
                    </a:cubicBezTo>
                    <a:cubicBezTo>
                      <a:pt x="1083048" y="1988158"/>
                      <a:pt x="1074384" y="1990338"/>
                      <a:pt x="1067728" y="1986379"/>
                    </a:cubicBezTo>
                    <a:cubicBezTo>
                      <a:pt x="1061073" y="1982420"/>
                      <a:pt x="1058893" y="1973756"/>
                      <a:pt x="1062852" y="1967101"/>
                    </a:cubicBezTo>
                    <a:cubicBezTo>
                      <a:pt x="1064831" y="1963773"/>
                      <a:pt x="1067987" y="1961564"/>
                      <a:pt x="1071479" y="1960682"/>
                    </a:cubicBezTo>
                    <a:close/>
                    <a:moveTo>
                      <a:pt x="1121396" y="1866756"/>
                    </a:moveTo>
                    <a:cubicBezTo>
                      <a:pt x="1124802" y="1865587"/>
                      <a:pt x="1128661" y="1865716"/>
                      <a:pt x="1132161" y="1867438"/>
                    </a:cubicBezTo>
                    <a:cubicBezTo>
                      <a:pt x="1139104" y="1870823"/>
                      <a:pt x="1142030" y="1879257"/>
                      <a:pt x="1138587" y="1886257"/>
                    </a:cubicBezTo>
                    <a:cubicBezTo>
                      <a:pt x="1135202" y="1893200"/>
                      <a:pt x="1126768" y="1896126"/>
                      <a:pt x="1119768" y="1892683"/>
                    </a:cubicBezTo>
                    <a:cubicBezTo>
                      <a:pt x="1112826" y="1889298"/>
                      <a:pt x="1109899" y="1880864"/>
                      <a:pt x="1113342" y="1873864"/>
                    </a:cubicBezTo>
                    <a:cubicBezTo>
                      <a:pt x="1115035" y="1870392"/>
                      <a:pt x="1117989" y="1867925"/>
                      <a:pt x="1121396" y="1866756"/>
                    </a:cubicBezTo>
                    <a:close/>
                    <a:moveTo>
                      <a:pt x="1174219" y="1768808"/>
                    </a:moveTo>
                    <a:cubicBezTo>
                      <a:pt x="1181448" y="1771677"/>
                      <a:pt x="1185063" y="1779824"/>
                      <a:pt x="1182194" y="1787054"/>
                    </a:cubicBezTo>
                    <a:cubicBezTo>
                      <a:pt x="1179325" y="1794283"/>
                      <a:pt x="1171178" y="1797898"/>
                      <a:pt x="1163948" y="1795029"/>
                    </a:cubicBezTo>
                    <a:cubicBezTo>
                      <a:pt x="1156719" y="1792160"/>
                      <a:pt x="1153162" y="1784013"/>
                      <a:pt x="1155973" y="1776783"/>
                    </a:cubicBezTo>
                    <a:cubicBezTo>
                      <a:pt x="1158842" y="1769554"/>
                      <a:pt x="1166989" y="1765997"/>
                      <a:pt x="1174219" y="1768808"/>
                    </a:cubicBezTo>
                    <a:close/>
                    <a:moveTo>
                      <a:pt x="1208013" y="1667080"/>
                    </a:moveTo>
                    <a:cubicBezTo>
                      <a:pt x="1215472" y="1669318"/>
                      <a:pt x="1219718" y="1677121"/>
                      <a:pt x="1217480" y="1684580"/>
                    </a:cubicBezTo>
                    <a:cubicBezTo>
                      <a:pt x="1215242" y="1692039"/>
                      <a:pt x="1207439" y="1696285"/>
                      <a:pt x="1199980" y="1694047"/>
                    </a:cubicBezTo>
                    <a:cubicBezTo>
                      <a:pt x="1192521" y="1691809"/>
                      <a:pt x="1188276" y="1684006"/>
                      <a:pt x="1190513" y="1676547"/>
                    </a:cubicBezTo>
                    <a:cubicBezTo>
                      <a:pt x="1192751" y="1669088"/>
                      <a:pt x="1200554" y="1664843"/>
                      <a:pt x="1208013" y="1667080"/>
                    </a:cubicBezTo>
                    <a:close/>
                    <a:moveTo>
                      <a:pt x="1233202" y="1562885"/>
                    </a:moveTo>
                    <a:cubicBezTo>
                      <a:pt x="1240833" y="1564492"/>
                      <a:pt x="1245710" y="1571951"/>
                      <a:pt x="1244103" y="1579582"/>
                    </a:cubicBezTo>
                    <a:cubicBezTo>
                      <a:pt x="1242496" y="1587213"/>
                      <a:pt x="1235037" y="1592090"/>
                      <a:pt x="1227407" y="1590483"/>
                    </a:cubicBezTo>
                    <a:cubicBezTo>
                      <a:pt x="1219775" y="1588876"/>
                      <a:pt x="1214899" y="1581418"/>
                      <a:pt x="1216505" y="1573787"/>
                    </a:cubicBezTo>
                    <a:cubicBezTo>
                      <a:pt x="1218112" y="1566156"/>
                      <a:pt x="1225570" y="1561279"/>
                      <a:pt x="1233202" y="1562885"/>
                    </a:cubicBezTo>
                    <a:close/>
                    <a:moveTo>
                      <a:pt x="1249783" y="1456969"/>
                    </a:moveTo>
                    <a:cubicBezTo>
                      <a:pt x="1257471" y="1457944"/>
                      <a:pt x="1262979" y="1465002"/>
                      <a:pt x="1262004" y="1472690"/>
                    </a:cubicBezTo>
                    <a:cubicBezTo>
                      <a:pt x="1261029" y="1480378"/>
                      <a:pt x="1253972" y="1485887"/>
                      <a:pt x="1246283" y="1484911"/>
                    </a:cubicBezTo>
                    <a:cubicBezTo>
                      <a:pt x="1238595" y="1483936"/>
                      <a:pt x="1233087" y="1476879"/>
                      <a:pt x="1234062" y="1469190"/>
                    </a:cubicBezTo>
                    <a:cubicBezTo>
                      <a:pt x="1235037" y="1461502"/>
                      <a:pt x="1242095" y="1455994"/>
                      <a:pt x="1249783" y="1456969"/>
                    </a:cubicBezTo>
                    <a:close/>
                    <a:moveTo>
                      <a:pt x="1257529" y="1350077"/>
                    </a:moveTo>
                    <a:cubicBezTo>
                      <a:pt x="1265332" y="1350364"/>
                      <a:pt x="1271357" y="1356962"/>
                      <a:pt x="1271012" y="1364708"/>
                    </a:cubicBezTo>
                    <a:cubicBezTo>
                      <a:pt x="1270725" y="1372511"/>
                      <a:pt x="1264127" y="1378536"/>
                      <a:pt x="1256381" y="1378191"/>
                    </a:cubicBezTo>
                    <a:cubicBezTo>
                      <a:pt x="1248578" y="1377905"/>
                      <a:pt x="1242611" y="1371364"/>
                      <a:pt x="1242898" y="1363560"/>
                    </a:cubicBezTo>
                    <a:cubicBezTo>
                      <a:pt x="1243185" y="1355757"/>
                      <a:pt x="1249783" y="1349733"/>
                      <a:pt x="1257529" y="1350077"/>
                    </a:cubicBezTo>
                    <a:close/>
                    <a:moveTo>
                      <a:pt x="1256381" y="1242898"/>
                    </a:moveTo>
                    <a:cubicBezTo>
                      <a:pt x="1264127" y="1242554"/>
                      <a:pt x="1270668" y="1248636"/>
                      <a:pt x="1271012" y="1256381"/>
                    </a:cubicBezTo>
                    <a:cubicBezTo>
                      <a:pt x="1271357" y="1264127"/>
                      <a:pt x="1265275" y="1270668"/>
                      <a:pt x="1257529" y="1271012"/>
                    </a:cubicBezTo>
                    <a:cubicBezTo>
                      <a:pt x="1249783" y="1271356"/>
                      <a:pt x="1243242" y="1265275"/>
                      <a:pt x="1242898" y="1257529"/>
                    </a:cubicBezTo>
                    <a:cubicBezTo>
                      <a:pt x="1242554" y="1249783"/>
                      <a:pt x="1248636" y="1243242"/>
                      <a:pt x="1256381" y="1242898"/>
                    </a:cubicBezTo>
                    <a:close/>
                    <a:moveTo>
                      <a:pt x="1246455" y="1136121"/>
                    </a:moveTo>
                    <a:cubicBezTo>
                      <a:pt x="1254201" y="1135146"/>
                      <a:pt x="1261201" y="1140654"/>
                      <a:pt x="1262176" y="1148342"/>
                    </a:cubicBezTo>
                    <a:cubicBezTo>
                      <a:pt x="1263152" y="1156088"/>
                      <a:pt x="1257643" y="1163088"/>
                      <a:pt x="1249955" y="1164063"/>
                    </a:cubicBezTo>
                    <a:cubicBezTo>
                      <a:pt x="1242209" y="1165039"/>
                      <a:pt x="1235209" y="1159531"/>
                      <a:pt x="1234234" y="1151842"/>
                    </a:cubicBezTo>
                    <a:cubicBezTo>
                      <a:pt x="1233259" y="1144096"/>
                      <a:pt x="1238767" y="1137096"/>
                      <a:pt x="1246455" y="1136121"/>
                    </a:cubicBezTo>
                    <a:close/>
                    <a:moveTo>
                      <a:pt x="1227751" y="1030606"/>
                    </a:moveTo>
                    <a:cubicBezTo>
                      <a:pt x="1235324" y="1029000"/>
                      <a:pt x="1242783" y="1033877"/>
                      <a:pt x="1244390" y="1041508"/>
                    </a:cubicBezTo>
                    <a:cubicBezTo>
                      <a:pt x="1245996" y="1049081"/>
                      <a:pt x="1241119" y="1056540"/>
                      <a:pt x="1233488" y="1058147"/>
                    </a:cubicBezTo>
                    <a:cubicBezTo>
                      <a:pt x="1225914" y="1059753"/>
                      <a:pt x="1218456" y="1054876"/>
                      <a:pt x="1216849" y="1047245"/>
                    </a:cubicBezTo>
                    <a:cubicBezTo>
                      <a:pt x="1215243" y="1039672"/>
                      <a:pt x="1220120" y="1032213"/>
                      <a:pt x="1227751" y="1030606"/>
                    </a:cubicBezTo>
                    <a:close/>
                    <a:moveTo>
                      <a:pt x="1200324" y="926984"/>
                    </a:moveTo>
                    <a:cubicBezTo>
                      <a:pt x="1207783" y="924747"/>
                      <a:pt x="1215586" y="928992"/>
                      <a:pt x="1217824" y="936451"/>
                    </a:cubicBezTo>
                    <a:cubicBezTo>
                      <a:pt x="1220062" y="943910"/>
                      <a:pt x="1215816" y="951713"/>
                      <a:pt x="1208357" y="953951"/>
                    </a:cubicBezTo>
                    <a:cubicBezTo>
                      <a:pt x="1200898" y="956189"/>
                      <a:pt x="1193095" y="951943"/>
                      <a:pt x="1190857" y="944484"/>
                    </a:cubicBezTo>
                    <a:cubicBezTo>
                      <a:pt x="1188620" y="937025"/>
                      <a:pt x="1192865" y="929222"/>
                      <a:pt x="1200324" y="926984"/>
                    </a:cubicBezTo>
                    <a:close/>
                    <a:moveTo>
                      <a:pt x="1164465" y="825945"/>
                    </a:moveTo>
                    <a:cubicBezTo>
                      <a:pt x="1171752" y="823134"/>
                      <a:pt x="1179899" y="826749"/>
                      <a:pt x="1182711" y="833978"/>
                    </a:cubicBezTo>
                    <a:cubicBezTo>
                      <a:pt x="1185522" y="841265"/>
                      <a:pt x="1181907" y="849412"/>
                      <a:pt x="1174678" y="852224"/>
                    </a:cubicBezTo>
                    <a:cubicBezTo>
                      <a:pt x="1167391" y="855035"/>
                      <a:pt x="1159244" y="851420"/>
                      <a:pt x="1156432" y="844191"/>
                    </a:cubicBezTo>
                    <a:cubicBezTo>
                      <a:pt x="1153621" y="836904"/>
                      <a:pt x="1157236" y="828757"/>
                      <a:pt x="1164465" y="825945"/>
                    </a:cubicBezTo>
                    <a:close/>
                    <a:moveTo>
                      <a:pt x="1131165" y="727581"/>
                    </a:moveTo>
                    <a:cubicBezTo>
                      <a:pt x="1134572" y="728750"/>
                      <a:pt x="1137527" y="731217"/>
                      <a:pt x="1139219" y="734717"/>
                    </a:cubicBezTo>
                    <a:cubicBezTo>
                      <a:pt x="1142605" y="741717"/>
                      <a:pt x="1139736" y="750151"/>
                      <a:pt x="1132736" y="753536"/>
                    </a:cubicBezTo>
                    <a:cubicBezTo>
                      <a:pt x="1125736" y="756922"/>
                      <a:pt x="1117302" y="754053"/>
                      <a:pt x="1113917" y="747053"/>
                    </a:cubicBezTo>
                    <a:cubicBezTo>
                      <a:pt x="1110531" y="740053"/>
                      <a:pt x="1113400" y="731619"/>
                      <a:pt x="1120400" y="728234"/>
                    </a:cubicBezTo>
                    <a:cubicBezTo>
                      <a:pt x="1123900" y="726541"/>
                      <a:pt x="1127758" y="726412"/>
                      <a:pt x="1131165" y="727581"/>
                    </a:cubicBezTo>
                    <a:close/>
                    <a:moveTo>
                      <a:pt x="1068417" y="634480"/>
                    </a:moveTo>
                    <a:cubicBezTo>
                      <a:pt x="1075073" y="630464"/>
                      <a:pt x="1083736" y="632701"/>
                      <a:pt x="1087695" y="639357"/>
                    </a:cubicBezTo>
                    <a:cubicBezTo>
                      <a:pt x="1091712" y="646013"/>
                      <a:pt x="1089474" y="654676"/>
                      <a:pt x="1082818" y="658635"/>
                    </a:cubicBezTo>
                    <a:cubicBezTo>
                      <a:pt x="1076163" y="662652"/>
                      <a:pt x="1067499" y="660414"/>
                      <a:pt x="1063540" y="653758"/>
                    </a:cubicBezTo>
                    <a:cubicBezTo>
                      <a:pt x="1059524" y="647103"/>
                      <a:pt x="1061761" y="638439"/>
                      <a:pt x="1068417" y="634480"/>
                    </a:cubicBezTo>
                    <a:close/>
                    <a:moveTo>
                      <a:pt x="1017008" y="542736"/>
                    </a:moveTo>
                    <a:cubicBezTo>
                      <a:pt x="1024772" y="542736"/>
                      <a:pt x="1031065" y="549030"/>
                      <a:pt x="1031065" y="556793"/>
                    </a:cubicBezTo>
                    <a:cubicBezTo>
                      <a:pt x="1031065" y="564557"/>
                      <a:pt x="1024772" y="570850"/>
                      <a:pt x="1017008" y="570850"/>
                    </a:cubicBezTo>
                    <a:cubicBezTo>
                      <a:pt x="1009245" y="570850"/>
                      <a:pt x="1002951" y="564557"/>
                      <a:pt x="1002951" y="556793"/>
                    </a:cubicBezTo>
                    <a:cubicBezTo>
                      <a:pt x="1002951" y="549030"/>
                      <a:pt x="1009244" y="542736"/>
                      <a:pt x="1017008" y="542736"/>
                    </a:cubicBezTo>
                    <a:close/>
                    <a:moveTo>
                      <a:pt x="942132" y="461434"/>
                    </a:moveTo>
                    <a:cubicBezTo>
                      <a:pt x="948099" y="456442"/>
                      <a:pt x="956992" y="457131"/>
                      <a:pt x="961984" y="463098"/>
                    </a:cubicBezTo>
                    <a:cubicBezTo>
                      <a:pt x="966976" y="469065"/>
                      <a:pt x="966287" y="477958"/>
                      <a:pt x="960320" y="482950"/>
                    </a:cubicBezTo>
                    <a:cubicBezTo>
                      <a:pt x="954353" y="487942"/>
                      <a:pt x="945517" y="487196"/>
                      <a:pt x="940468" y="481286"/>
                    </a:cubicBezTo>
                    <a:cubicBezTo>
                      <a:pt x="935476" y="475319"/>
                      <a:pt x="936222" y="466483"/>
                      <a:pt x="942132" y="461434"/>
                    </a:cubicBezTo>
                    <a:close/>
                    <a:moveTo>
                      <a:pt x="868690" y="383287"/>
                    </a:moveTo>
                    <a:cubicBezTo>
                      <a:pt x="874198" y="377779"/>
                      <a:pt x="883091" y="377779"/>
                      <a:pt x="888600" y="383287"/>
                    </a:cubicBezTo>
                    <a:cubicBezTo>
                      <a:pt x="894108" y="388795"/>
                      <a:pt x="894108" y="397689"/>
                      <a:pt x="888600" y="403197"/>
                    </a:cubicBezTo>
                    <a:cubicBezTo>
                      <a:pt x="883091" y="408705"/>
                      <a:pt x="874198" y="408705"/>
                      <a:pt x="868690" y="403197"/>
                    </a:cubicBezTo>
                    <a:cubicBezTo>
                      <a:pt x="863182" y="397689"/>
                      <a:pt x="863182" y="388795"/>
                      <a:pt x="868690" y="383287"/>
                    </a:cubicBezTo>
                    <a:close/>
                    <a:moveTo>
                      <a:pt x="808962" y="309904"/>
                    </a:moveTo>
                    <a:cubicBezTo>
                      <a:pt x="814872" y="314953"/>
                      <a:pt x="815617" y="323846"/>
                      <a:pt x="810568" y="329756"/>
                    </a:cubicBezTo>
                    <a:cubicBezTo>
                      <a:pt x="805519" y="335665"/>
                      <a:pt x="796626" y="336411"/>
                      <a:pt x="790716" y="331362"/>
                    </a:cubicBezTo>
                    <a:cubicBezTo>
                      <a:pt x="784806" y="326313"/>
                      <a:pt x="784061" y="317420"/>
                      <a:pt x="789109" y="311510"/>
                    </a:cubicBezTo>
                    <a:cubicBezTo>
                      <a:pt x="794159" y="305600"/>
                      <a:pt x="803052" y="304854"/>
                      <a:pt x="808962" y="309904"/>
                    </a:cubicBezTo>
                    <a:close/>
                    <a:moveTo>
                      <a:pt x="723470" y="243290"/>
                    </a:moveTo>
                    <a:cubicBezTo>
                      <a:pt x="729782" y="247823"/>
                      <a:pt x="731274" y="256601"/>
                      <a:pt x="726741" y="262912"/>
                    </a:cubicBezTo>
                    <a:cubicBezTo>
                      <a:pt x="722208" y="269224"/>
                      <a:pt x="713430" y="270716"/>
                      <a:pt x="707118" y="266183"/>
                    </a:cubicBezTo>
                    <a:cubicBezTo>
                      <a:pt x="700807" y="261650"/>
                      <a:pt x="699315" y="252872"/>
                      <a:pt x="703848" y="246560"/>
                    </a:cubicBezTo>
                    <a:cubicBezTo>
                      <a:pt x="708381" y="240249"/>
                      <a:pt x="717159" y="238757"/>
                      <a:pt x="723470" y="243290"/>
                    </a:cubicBezTo>
                    <a:close/>
                    <a:moveTo>
                      <a:pt x="632759" y="184020"/>
                    </a:moveTo>
                    <a:cubicBezTo>
                      <a:pt x="639415" y="187978"/>
                      <a:pt x="641595" y="196642"/>
                      <a:pt x="637636" y="203298"/>
                    </a:cubicBezTo>
                    <a:cubicBezTo>
                      <a:pt x="633677" y="209954"/>
                      <a:pt x="625013" y="212134"/>
                      <a:pt x="618358" y="208175"/>
                    </a:cubicBezTo>
                    <a:cubicBezTo>
                      <a:pt x="611702" y="204216"/>
                      <a:pt x="609522" y="195552"/>
                      <a:pt x="613481" y="188896"/>
                    </a:cubicBezTo>
                    <a:cubicBezTo>
                      <a:pt x="617439" y="182241"/>
                      <a:pt x="626103" y="180061"/>
                      <a:pt x="632759" y="184020"/>
                    </a:cubicBezTo>
                    <a:close/>
                    <a:moveTo>
                      <a:pt x="526749" y="131700"/>
                    </a:moveTo>
                    <a:cubicBezTo>
                      <a:pt x="530156" y="130530"/>
                      <a:pt x="534014" y="130659"/>
                      <a:pt x="537514" y="132381"/>
                    </a:cubicBezTo>
                    <a:cubicBezTo>
                      <a:pt x="544457" y="135766"/>
                      <a:pt x="547383" y="144200"/>
                      <a:pt x="543940" y="151200"/>
                    </a:cubicBezTo>
                    <a:cubicBezTo>
                      <a:pt x="540555" y="158143"/>
                      <a:pt x="532121" y="161069"/>
                      <a:pt x="525121" y="157626"/>
                    </a:cubicBezTo>
                    <a:cubicBezTo>
                      <a:pt x="518178" y="154241"/>
                      <a:pt x="515252" y="145807"/>
                      <a:pt x="518695" y="138807"/>
                    </a:cubicBezTo>
                    <a:cubicBezTo>
                      <a:pt x="520388" y="135336"/>
                      <a:pt x="523342" y="132869"/>
                      <a:pt x="526749" y="131700"/>
                    </a:cubicBezTo>
                    <a:close/>
                    <a:moveTo>
                      <a:pt x="438311" y="88775"/>
                    </a:moveTo>
                    <a:cubicBezTo>
                      <a:pt x="445540" y="91644"/>
                      <a:pt x="449155" y="99791"/>
                      <a:pt x="446286" y="107021"/>
                    </a:cubicBezTo>
                    <a:cubicBezTo>
                      <a:pt x="443417" y="114250"/>
                      <a:pt x="435270" y="117807"/>
                      <a:pt x="428040" y="114996"/>
                    </a:cubicBezTo>
                    <a:cubicBezTo>
                      <a:pt x="420811" y="112127"/>
                      <a:pt x="417254" y="103980"/>
                      <a:pt x="420065" y="96750"/>
                    </a:cubicBezTo>
                    <a:cubicBezTo>
                      <a:pt x="422934" y="89521"/>
                      <a:pt x="431081" y="85964"/>
                      <a:pt x="438311" y="88775"/>
                    </a:cubicBezTo>
                    <a:close/>
                    <a:moveTo>
                      <a:pt x="331821" y="52972"/>
                    </a:moveTo>
                    <a:cubicBezTo>
                      <a:pt x="339585" y="52972"/>
                      <a:pt x="345878" y="59266"/>
                      <a:pt x="345878" y="67029"/>
                    </a:cubicBezTo>
                    <a:cubicBezTo>
                      <a:pt x="345878" y="74793"/>
                      <a:pt x="339585" y="81086"/>
                      <a:pt x="331821" y="81086"/>
                    </a:cubicBezTo>
                    <a:cubicBezTo>
                      <a:pt x="324058" y="81086"/>
                      <a:pt x="317764" y="74793"/>
                      <a:pt x="317764" y="67029"/>
                    </a:cubicBezTo>
                    <a:cubicBezTo>
                      <a:pt x="317764" y="59266"/>
                      <a:pt x="324057" y="52972"/>
                      <a:pt x="331821" y="52972"/>
                    </a:cubicBezTo>
                    <a:close/>
                    <a:moveTo>
                      <a:pt x="230839" y="26924"/>
                    </a:moveTo>
                    <a:cubicBezTo>
                      <a:pt x="238470" y="28531"/>
                      <a:pt x="243347" y="35989"/>
                      <a:pt x="241740" y="43621"/>
                    </a:cubicBezTo>
                    <a:cubicBezTo>
                      <a:pt x="240133" y="51252"/>
                      <a:pt x="232675" y="56129"/>
                      <a:pt x="225044" y="54522"/>
                    </a:cubicBezTo>
                    <a:cubicBezTo>
                      <a:pt x="217413" y="52915"/>
                      <a:pt x="212536" y="45457"/>
                      <a:pt x="214142" y="37826"/>
                    </a:cubicBezTo>
                    <a:cubicBezTo>
                      <a:pt x="215749" y="30195"/>
                      <a:pt x="223208" y="25318"/>
                      <a:pt x="230839" y="26924"/>
                    </a:cubicBezTo>
                    <a:close/>
                    <a:moveTo>
                      <a:pt x="123947" y="9022"/>
                    </a:moveTo>
                    <a:cubicBezTo>
                      <a:pt x="131635" y="9997"/>
                      <a:pt x="137144" y="17055"/>
                      <a:pt x="136168" y="24743"/>
                    </a:cubicBezTo>
                    <a:cubicBezTo>
                      <a:pt x="135193" y="32431"/>
                      <a:pt x="128136" y="37940"/>
                      <a:pt x="120447" y="36964"/>
                    </a:cubicBezTo>
                    <a:cubicBezTo>
                      <a:pt x="112759" y="35989"/>
                      <a:pt x="107251" y="28931"/>
                      <a:pt x="108226" y="21243"/>
                    </a:cubicBezTo>
                    <a:cubicBezTo>
                      <a:pt x="109201" y="13555"/>
                      <a:pt x="116259" y="8047"/>
                      <a:pt x="123947" y="9022"/>
                    </a:cubicBezTo>
                    <a:close/>
                    <a:moveTo>
                      <a:pt x="15965" y="14"/>
                    </a:moveTo>
                    <a:cubicBezTo>
                      <a:pt x="23768" y="301"/>
                      <a:pt x="29793" y="6899"/>
                      <a:pt x="29448" y="14645"/>
                    </a:cubicBezTo>
                    <a:cubicBezTo>
                      <a:pt x="29162" y="22448"/>
                      <a:pt x="22621" y="28415"/>
                      <a:pt x="14817" y="28128"/>
                    </a:cubicBezTo>
                    <a:cubicBezTo>
                      <a:pt x="7014" y="27842"/>
                      <a:pt x="990" y="21243"/>
                      <a:pt x="1334" y="13497"/>
                    </a:cubicBezTo>
                    <a:cubicBezTo>
                      <a:pt x="1621" y="5694"/>
                      <a:pt x="8219" y="-330"/>
                      <a:pt x="15965" y="14"/>
                    </a:cubicBezTo>
                    <a:close/>
                  </a:path>
                </a:pathLst>
              </a:custGeom>
              <a:solidFill>
                <a:srgbClr val="858585"/>
              </a:solidFill>
              <a:ln w="0" cap="flat">
                <a:noFill/>
                <a:prstDash val="solid"/>
                <a:miter/>
              </a:ln>
            </p:spPr>
            <p:txBody>
              <a:bodyPr rtlCol="0" anchor="ctr"/>
              <a:lstStyle/>
              <a:p>
                <a:endParaRPr lang="sv-SE"/>
              </a:p>
            </p:txBody>
          </p:sp>
        </p:grpSp>
      </p:grpSp>
      <p:sp>
        <p:nvSpPr>
          <p:cNvPr id="21" name="Glid">
            <a:extLst>
              <a:ext uri="{FF2B5EF4-FFF2-40B4-BE49-F238E27FC236}">
                <a16:creationId xmlns:a16="http://schemas.microsoft.com/office/drawing/2014/main" id="{A5F1768A-1CBB-F144-E900-B1CE2B23418A}"/>
              </a:ext>
            </a:extLst>
          </p:cNvPr>
          <p:cNvSpPr/>
          <p:nvPr/>
        </p:nvSpPr>
        <p:spPr>
          <a:xfrm>
            <a:off x="9129024" y="1993281"/>
            <a:ext cx="1548301" cy="3096604"/>
          </a:xfrm>
          <a:custGeom>
            <a:avLst/>
            <a:gdLst>
              <a:gd name="connsiteX0" fmla="*/ 0 w 1221826"/>
              <a:gd name="connsiteY0" fmla="*/ 0 h 2443653"/>
              <a:gd name="connsiteX1" fmla="*/ 0 w 1221826"/>
              <a:gd name="connsiteY1" fmla="*/ 2443654 h 2443653"/>
              <a:gd name="connsiteX2" fmla="*/ 1221827 w 1221826"/>
              <a:gd name="connsiteY2" fmla="*/ 1221827 h 2443653"/>
              <a:gd name="connsiteX3" fmla="*/ 0 w 1221826"/>
              <a:gd name="connsiteY3" fmla="*/ 0 h 2443653"/>
            </a:gdLst>
            <a:ahLst/>
            <a:cxnLst>
              <a:cxn ang="0">
                <a:pos x="connsiteX0" y="connsiteY0"/>
              </a:cxn>
              <a:cxn ang="0">
                <a:pos x="connsiteX1" y="connsiteY1"/>
              </a:cxn>
              <a:cxn ang="0">
                <a:pos x="connsiteX2" y="connsiteY2"/>
              </a:cxn>
              <a:cxn ang="0">
                <a:pos x="connsiteX3" y="connsiteY3"/>
              </a:cxn>
            </a:cxnLst>
            <a:rect l="l" t="t" r="r" b="b"/>
            <a:pathLst>
              <a:path w="1221826" h="2443653">
                <a:moveTo>
                  <a:pt x="0" y="0"/>
                </a:moveTo>
                <a:lnTo>
                  <a:pt x="0" y="2443654"/>
                </a:lnTo>
                <a:cubicBezTo>
                  <a:pt x="674802" y="2443654"/>
                  <a:pt x="1221827" y="1896629"/>
                  <a:pt x="1221827" y="1221827"/>
                </a:cubicBezTo>
                <a:cubicBezTo>
                  <a:pt x="1221827" y="547025"/>
                  <a:pt x="674802" y="0"/>
                  <a:pt x="0" y="0"/>
                </a:cubicBezTo>
                <a:close/>
              </a:path>
            </a:pathLst>
          </a:custGeom>
          <a:solidFill>
            <a:schemeClr val="accent4"/>
          </a:solidFill>
          <a:ln w="0" cap="flat">
            <a:noFill/>
            <a:prstDash val="solid"/>
            <a:miter/>
          </a:ln>
        </p:spPr>
        <p:txBody>
          <a:bodyPr rtlCol="0" anchor="ctr"/>
          <a:lstStyle/>
          <a:p>
            <a:endParaRPr lang="sv-SE"/>
          </a:p>
        </p:txBody>
      </p:sp>
      <p:sp>
        <p:nvSpPr>
          <p:cNvPr id="22" name="Stål">
            <a:extLst>
              <a:ext uri="{FF2B5EF4-FFF2-40B4-BE49-F238E27FC236}">
                <a16:creationId xmlns:a16="http://schemas.microsoft.com/office/drawing/2014/main" id="{24A46709-5131-2908-F939-9B6689B3BCF3}"/>
              </a:ext>
            </a:extLst>
          </p:cNvPr>
          <p:cNvSpPr/>
          <p:nvPr/>
        </p:nvSpPr>
        <p:spPr>
          <a:xfrm>
            <a:off x="9129024" y="2044759"/>
            <a:ext cx="1496825" cy="2993649"/>
          </a:xfrm>
          <a:custGeom>
            <a:avLst/>
            <a:gdLst>
              <a:gd name="connsiteX0" fmla="*/ 0 w 1181204"/>
              <a:gd name="connsiteY0" fmla="*/ 57 h 2362408"/>
              <a:gd name="connsiteX1" fmla="*/ 0 w 1181204"/>
              <a:gd name="connsiteY1" fmla="*/ 2362409 h 2362408"/>
              <a:gd name="connsiteX2" fmla="*/ 1181204 w 1181204"/>
              <a:gd name="connsiteY2" fmla="*/ 1181204 h 2362408"/>
              <a:gd name="connsiteX3" fmla="*/ 0 w 1181204"/>
              <a:gd name="connsiteY3" fmla="*/ 0 h 2362408"/>
            </a:gdLst>
            <a:ahLst/>
            <a:cxnLst>
              <a:cxn ang="0">
                <a:pos x="connsiteX0" y="connsiteY0"/>
              </a:cxn>
              <a:cxn ang="0">
                <a:pos x="connsiteX1" y="connsiteY1"/>
              </a:cxn>
              <a:cxn ang="0">
                <a:pos x="connsiteX2" y="connsiteY2"/>
              </a:cxn>
              <a:cxn ang="0">
                <a:pos x="connsiteX3" y="connsiteY3"/>
              </a:cxn>
            </a:cxnLst>
            <a:rect l="l" t="t" r="r" b="b"/>
            <a:pathLst>
              <a:path w="1181204" h="2362408">
                <a:moveTo>
                  <a:pt x="0" y="57"/>
                </a:moveTo>
                <a:lnTo>
                  <a:pt x="0" y="2362409"/>
                </a:lnTo>
                <a:cubicBezTo>
                  <a:pt x="652368" y="2362409"/>
                  <a:pt x="1181204" y="1833572"/>
                  <a:pt x="1181204" y="1181204"/>
                </a:cubicBezTo>
                <a:cubicBezTo>
                  <a:pt x="1181204" y="528837"/>
                  <a:pt x="652368" y="0"/>
                  <a:pt x="0" y="0"/>
                </a:cubicBezTo>
                <a:close/>
              </a:path>
            </a:pathLst>
          </a:custGeom>
          <a:solidFill>
            <a:schemeClr val="tx1"/>
          </a:solidFill>
          <a:ln w="0" cap="flat">
            <a:noFill/>
            <a:prstDash val="solid"/>
            <a:miter/>
          </a:ln>
        </p:spPr>
        <p:txBody>
          <a:bodyPr rtlCol="0" anchor="ctr"/>
          <a:lstStyle/>
          <a:p>
            <a:endParaRPr lang="sv-SE"/>
          </a:p>
        </p:txBody>
      </p:sp>
      <p:sp>
        <p:nvSpPr>
          <p:cNvPr id="14" name="Rectangle 13">
            <a:extLst>
              <a:ext uri="{FF2B5EF4-FFF2-40B4-BE49-F238E27FC236}">
                <a16:creationId xmlns:a16="http://schemas.microsoft.com/office/drawing/2014/main" id="{D1051CE8-0193-D4B4-54CF-14B355C53FDC}"/>
              </a:ext>
            </a:extLst>
          </p:cNvPr>
          <p:cNvSpPr/>
          <p:nvPr/>
        </p:nvSpPr>
        <p:spPr>
          <a:xfrm>
            <a:off x="0" y="0"/>
            <a:ext cx="912749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6">
            <a:extLst>
              <a:ext uri="{FF2B5EF4-FFF2-40B4-BE49-F238E27FC236}">
                <a16:creationId xmlns:a16="http://schemas.microsoft.com/office/drawing/2014/main" id="{8493DA3B-45FA-B31C-044B-55D4A06FEC13}"/>
              </a:ext>
            </a:extLst>
          </p:cNvPr>
          <p:cNvSpPr>
            <a:spLocks noGrp="1"/>
          </p:cNvSpPr>
          <p:nvPr>
            <p:ph type="title"/>
          </p:nvPr>
        </p:nvSpPr>
        <p:spPr>
          <a:xfrm>
            <a:off x="546100" y="752400"/>
            <a:ext cx="6154951" cy="1356708"/>
          </a:xfrm>
        </p:spPr>
        <p:txBody>
          <a:bodyPr anchor="t">
            <a:noAutofit/>
          </a:bodyPr>
          <a:lstStyle/>
          <a:p>
            <a:r>
              <a:rPr lang="sv-SE" dirty="0">
                <a:solidFill>
                  <a:schemeClr val="bg1"/>
                </a:solidFill>
              </a:rPr>
              <a:t>Uppbyggnad av lagerutrymmet</a:t>
            </a:r>
          </a:p>
        </p:txBody>
      </p:sp>
      <p:sp>
        <p:nvSpPr>
          <p:cNvPr id="49" name="!!TextBox 90">
            <a:extLst>
              <a:ext uri="{FF2B5EF4-FFF2-40B4-BE49-F238E27FC236}">
                <a16:creationId xmlns:a16="http://schemas.microsoft.com/office/drawing/2014/main" id="{E482B3AC-8457-C0E3-B8CC-00A04BAC5A94}"/>
              </a:ext>
            </a:extLst>
          </p:cNvPr>
          <p:cNvSpPr txBox="1"/>
          <p:nvPr/>
        </p:nvSpPr>
        <p:spPr>
          <a:xfrm>
            <a:off x="571859" y="2407809"/>
            <a:ext cx="5012630" cy="3577903"/>
          </a:xfrm>
          <a:prstGeom prst="rect">
            <a:avLst/>
          </a:prstGeom>
          <a:noFill/>
        </p:spPr>
        <p:txBody>
          <a:bodyPr wrap="square" lIns="0" tIns="0" rIns="0" bIns="0" rtlCol="0">
            <a:spAutoFit/>
          </a:bodyPr>
          <a:lstStyle/>
          <a:p>
            <a:pPr lvl="0">
              <a:spcAft>
                <a:spcPts val="1200"/>
              </a:spcAft>
              <a:defRPr/>
            </a:pPr>
            <a:r>
              <a:rPr lang="sv-SE" dirty="0">
                <a:solidFill>
                  <a:schemeClr val="bg1"/>
                </a:solidFill>
              </a:rPr>
              <a:t>Ett utsprängt bergrum, format som en vertikal cylinder med avrundad topp och botten, som förses med en gastät inklädnad</a:t>
            </a:r>
            <a:br>
              <a:rPr lang="sv-SE" sz="2000" b="1" dirty="0">
                <a:solidFill>
                  <a:schemeClr val="bg1"/>
                </a:solidFill>
              </a:rPr>
            </a:br>
            <a:endParaRPr lang="sv-SE" sz="1050" b="1" dirty="0">
              <a:solidFill>
                <a:schemeClr val="bg1"/>
              </a:solidFill>
            </a:endParaRPr>
          </a:p>
          <a:p>
            <a:pPr marL="342900" lvl="0" indent="-342900">
              <a:spcAft>
                <a:spcPts val="1200"/>
              </a:spcAft>
              <a:buFont typeface="+mj-lt"/>
              <a:buAutoNum type="arabicPeriod"/>
              <a:defRPr/>
            </a:pPr>
            <a:r>
              <a:rPr lang="sv-SE" sz="1600" b="1" dirty="0">
                <a:solidFill>
                  <a:schemeClr val="bg1"/>
                </a:solidFill>
              </a:rPr>
              <a:t>Tätskikt av stålplåt </a:t>
            </a:r>
            <a:br>
              <a:rPr lang="sv-SE" sz="1600" dirty="0">
                <a:solidFill>
                  <a:schemeClr val="bg1"/>
                </a:solidFill>
              </a:rPr>
            </a:br>
            <a:r>
              <a:rPr lang="sv-SE" sz="1600" dirty="0">
                <a:solidFill>
                  <a:schemeClr val="bg1"/>
                </a:solidFill>
              </a:rPr>
              <a:t>mot gasen</a:t>
            </a:r>
          </a:p>
          <a:p>
            <a:pPr marL="342900" lvl="0" indent="-342900">
              <a:spcAft>
                <a:spcPts val="1200"/>
              </a:spcAft>
              <a:buFont typeface="+mj-lt"/>
              <a:buAutoNum type="arabicPeriod"/>
              <a:defRPr/>
            </a:pPr>
            <a:r>
              <a:rPr lang="sv-SE" sz="1600" b="1" dirty="0">
                <a:solidFill>
                  <a:schemeClr val="bg1"/>
                </a:solidFill>
              </a:rPr>
              <a:t>Kraftöverförande armerad betong </a:t>
            </a:r>
            <a:br>
              <a:rPr lang="sv-SE" sz="1600" dirty="0">
                <a:solidFill>
                  <a:schemeClr val="bg1"/>
                </a:solidFill>
              </a:rPr>
            </a:br>
            <a:r>
              <a:rPr lang="sv-SE" sz="1600" dirty="0">
                <a:solidFill>
                  <a:schemeClr val="bg1"/>
                </a:solidFill>
              </a:rPr>
              <a:t>mellan plåt och berg</a:t>
            </a:r>
          </a:p>
          <a:p>
            <a:pPr marL="342900" lvl="0" indent="-342900">
              <a:spcAft>
                <a:spcPts val="1200"/>
              </a:spcAft>
              <a:buFont typeface="+mj-lt"/>
              <a:buAutoNum type="arabicPeriod"/>
              <a:defRPr/>
            </a:pPr>
            <a:r>
              <a:rPr lang="sv-SE" sz="1600" b="1" dirty="0">
                <a:solidFill>
                  <a:schemeClr val="bg1"/>
                </a:solidFill>
              </a:rPr>
              <a:t>Glidskikt </a:t>
            </a:r>
            <a:br>
              <a:rPr lang="sv-SE" sz="1600" dirty="0">
                <a:solidFill>
                  <a:schemeClr val="bg1"/>
                </a:solidFill>
              </a:rPr>
            </a:br>
            <a:r>
              <a:rPr lang="sv-SE" sz="1600" dirty="0">
                <a:solidFill>
                  <a:schemeClr val="bg1"/>
                </a:solidFill>
              </a:rPr>
              <a:t>för att reducera friktionen</a:t>
            </a:r>
            <a:endParaRPr lang="sv-SE" sz="1200" dirty="0">
              <a:solidFill>
                <a:schemeClr val="bg1"/>
              </a:solidFill>
            </a:endParaRPr>
          </a:p>
          <a:p>
            <a:pPr marL="342900" lvl="0" indent="-342900">
              <a:spcAft>
                <a:spcPts val="1200"/>
              </a:spcAft>
              <a:buBlip>
                <a:blip r:embed="rId4">
                  <a:extLst>
                    <a:ext uri="{96DAC541-7B7A-43D3-8B79-37D633B846F1}">
                      <asvg:svgBlip xmlns:asvg="http://schemas.microsoft.com/office/drawing/2016/SVG/main" r:embed="rId5"/>
                    </a:ext>
                  </a:extLst>
                </a:blip>
              </a:buBlip>
              <a:defRPr/>
            </a:pPr>
            <a:r>
              <a:rPr lang="sv-SE" sz="1600" b="1" dirty="0">
                <a:solidFill>
                  <a:schemeClr val="bg1"/>
                </a:solidFill>
              </a:rPr>
              <a:t>Materialvalet viktigt</a:t>
            </a:r>
            <a:br>
              <a:rPr lang="sv-SE" sz="1600" dirty="0">
                <a:solidFill>
                  <a:schemeClr val="bg1"/>
                </a:solidFill>
              </a:rPr>
            </a:br>
            <a:r>
              <a:rPr lang="sv-SE" sz="1600" dirty="0">
                <a:solidFill>
                  <a:schemeClr val="bg1"/>
                </a:solidFill>
              </a:rPr>
              <a:t>beständigt mot vätgas, klarar cyklisk belastning</a:t>
            </a:r>
          </a:p>
        </p:txBody>
      </p:sp>
      <p:grpSp>
        <p:nvGrpSpPr>
          <p:cNvPr id="312" name="!!Hybrit_logo">
            <a:extLst>
              <a:ext uri="{FF2B5EF4-FFF2-40B4-BE49-F238E27FC236}">
                <a16:creationId xmlns:a16="http://schemas.microsoft.com/office/drawing/2014/main" id="{E77EC176-E6FD-983A-EA14-9D816D3D9A1E}"/>
              </a:ext>
            </a:extLst>
          </p:cNvPr>
          <p:cNvGrpSpPr/>
          <p:nvPr/>
        </p:nvGrpSpPr>
        <p:grpSpPr>
          <a:xfrm>
            <a:off x="10823330" y="6338104"/>
            <a:ext cx="1018484" cy="320220"/>
            <a:chOff x="1343025" y="-3013942"/>
            <a:chExt cx="7772397" cy="2443713"/>
          </a:xfrm>
          <a:solidFill>
            <a:schemeClr val="bg1"/>
          </a:solidFill>
        </p:grpSpPr>
        <p:sp>
          <p:nvSpPr>
            <p:cNvPr id="313" name="Freeform 312">
              <a:extLst>
                <a:ext uri="{FF2B5EF4-FFF2-40B4-BE49-F238E27FC236}">
                  <a16:creationId xmlns:a16="http://schemas.microsoft.com/office/drawing/2014/main" id="{012062A8-3FD3-FFCE-E4F5-8C2F102A9E2D}"/>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4" name="Freeform 313">
              <a:extLst>
                <a:ext uri="{FF2B5EF4-FFF2-40B4-BE49-F238E27FC236}">
                  <a16:creationId xmlns:a16="http://schemas.microsoft.com/office/drawing/2014/main" id="{D80860CE-2AC9-5226-4DD4-73DD9F86335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5" name="Freeform 314">
              <a:extLst>
                <a:ext uri="{FF2B5EF4-FFF2-40B4-BE49-F238E27FC236}">
                  <a16:creationId xmlns:a16="http://schemas.microsoft.com/office/drawing/2014/main" id="{20461126-6325-9775-2DD0-813B12396467}"/>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6" name="Freeform 315">
              <a:extLst>
                <a:ext uri="{FF2B5EF4-FFF2-40B4-BE49-F238E27FC236}">
                  <a16:creationId xmlns:a16="http://schemas.microsoft.com/office/drawing/2014/main" id="{C233BF39-F2F4-2FCF-A734-BEC775A93A1C}"/>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7" name="Freeform 316">
              <a:extLst>
                <a:ext uri="{FF2B5EF4-FFF2-40B4-BE49-F238E27FC236}">
                  <a16:creationId xmlns:a16="http://schemas.microsoft.com/office/drawing/2014/main" id="{B56B53C1-FE40-E3B8-C460-DCDF275001A0}"/>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4" name="!!Mask" hidden="1">
            <a:extLst>
              <a:ext uri="{FF2B5EF4-FFF2-40B4-BE49-F238E27FC236}">
                <a16:creationId xmlns:a16="http://schemas.microsoft.com/office/drawing/2014/main" id="{07E1277E-292C-2E09-B08A-D7CB737B2270}"/>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cxnSp>
        <p:nvCxnSpPr>
          <p:cNvPr id="289" name="Straight Connector 288">
            <a:extLst>
              <a:ext uri="{FF2B5EF4-FFF2-40B4-BE49-F238E27FC236}">
                <a16:creationId xmlns:a16="http://schemas.microsoft.com/office/drawing/2014/main" id="{75871A22-4FB8-6700-B1DD-E9413F2826BD}"/>
              </a:ext>
            </a:extLst>
          </p:cNvPr>
          <p:cNvCxnSpPr>
            <a:cxnSpLocks/>
          </p:cNvCxnSpPr>
          <p:nvPr/>
        </p:nvCxnSpPr>
        <p:spPr>
          <a:xfrm>
            <a:off x="7838151" y="2014975"/>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8030951F-2EA2-7EDD-E6D9-089E19E723AD}"/>
              </a:ext>
            </a:extLst>
          </p:cNvPr>
          <p:cNvCxnSpPr>
            <a:cxnSpLocks/>
          </p:cNvCxnSpPr>
          <p:nvPr/>
        </p:nvCxnSpPr>
        <p:spPr>
          <a:xfrm>
            <a:off x="7838151" y="4997382"/>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68F58D2E-EA2F-8FE9-C492-305FAEE165EF}"/>
              </a:ext>
            </a:extLst>
          </p:cNvPr>
          <p:cNvCxnSpPr>
            <a:cxnSpLocks/>
          </p:cNvCxnSpPr>
          <p:nvPr/>
        </p:nvCxnSpPr>
        <p:spPr>
          <a:xfrm>
            <a:off x="7838151" y="5221252"/>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D0D2291F-B717-0D62-67CD-DBF958E9AF8E}"/>
              </a:ext>
            </a:extLst>
          </p:cNvPr>
          <p:cNvCxnSpPr>
            <a:cxnSpLocks/>
          </p:cNvCxnSpPr>
          <p:nvPr/>
        </p:nvCxnSpPr>
        <p:spPr>
          <a:xfrm>
            <a:off x="7090517" y="5400531"/>
            <a:ext cx="20304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CD39D2A-5741-FB19-0C61-123B3C39CC4D}"/>
              </a:ext>
            </a:extLst>
          </p:cNvPr>
          <p:cNvCxnSpPr>
            <a:cxnSpLocks/>
          </p:cNvCxnSpPr>
          <p:nvPr/>
        </p:nvCxnSpPr>
        <p:spPr>
          <a:xfrm>
            <a:off x="7090517" y="1673961"/>
            <a:ext cx="20304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0" name="!!Divider">
            <a:extLst>
              <a:ext uri="{FF2B5EF4-FFF2-40B4-BE49-F238E27FC236}">
                <a16:creationId xmlns:a16="http://schemas.microsoft.com/office/drawing/2014/main" id="{64544B49-1421-671F-6793-3A5B46A71A2C}"/>
              </a:ext>
            </a:extLst>
          </p:cNvPr>
          <p:cNvCxnSpPr/>
          <p:nvPr/>
        </p:nvCxnSpPr>
        <p:spPr>
          <a:xfrm>
            <a:off x="9125489" y="0"/>
            <a:ext cx="0" cy="685800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93" name="Oval 292">
            <a:extLst>
              <a:ext uri="{FF2B5EF4-FFF2-40B4-BE49-F238E27FC236}">
                <a16:creationId xmlns:a16="http://schemas.microsoft.com/office/drawing/2014/main" id="{66356E92-76A6-D046-652A-22ACAFD6244C}"/>
              </a:ext>
            </a:extLst>
          </p:cNvPr>
          <p:cNvSpPr/>
          <p:nvPr/>
        </p:nvSpPr>
        <p:spPr>
          <a:xfrm>
            <a:off x="7650049" y="1918240"/>
            <a:ext cx="193470" cy="1934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3</a:t>
            </a:r>
          </a:p>
        </p:txBody>
      </p:sp>
      <p:sp>
        <p:nvSpPr>
          <p:cNvPr id="294" name="Oval 293">
            <a:extLst>
              <a:ext uri="{FF2B5EF4-FFF2-40B4-BE49-F238E27FC236}">
                <a16:creationId xmlns:a16="http://schemas.microsoft.com/office/drawing/2014/main" id="{E600CCCE-0DAF-48A2-75D7-F0EA0736058A}"/>
              </a:ext>
            </a:extLst>
          </p:cNvPr>
          <p:cNvSpPr/>
          <p:nvPr/>
        </p:nvSpPr>
        <p:spPr>
          <a:xfrm>
            <a:off x="7650049" y="5124517"/>
            <a:ext cx="193470" cy="1934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2</a:t>
            </a:r>
          </a:p>
        </p:txBody>
      </p:sp>
      <p:sp>
        <p:nvSpPr>
          <p:cNvPr id="295" name="Oval 294">
            <a:extLst>
              <a:ext uri="{FF2B5EF4-FFF2-40B4-BE49-F238E27FC236}">
                <a16:creationId xmlns:a16="http://schemas.microsoft.com/office/drawing/2014/main" id="{72D3017A-B77D-1CD6-D06D-A6DD7EBF0F92}"/>
              </a:ext>
            </a:extLst>
          </p:cNvPr>
          <p:cNvSpPr/>
          <p:nvPr/>
        </p:nvSpPr>
        <p:spPr>
          <a:xfrm>
            <a:off x="7650049" y="4900647"/>
            <a:ext cx="193470" cy="1934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1</a:t>
            </a:r>
          </a:p>
        </p:txBody>
      </p:sp>
      <p:sp>
        <p:nvSpPr>
          <p:cNvPr id="298" name="TextBox 297">
            <a:extLst>
              <a:ext uri="{FF2B5EF4-FFF2-40B4-BE49-F238E27FC236}">
                <a16:creationId xmlns:a16="http://schemas.microsoft.com/office/drawing/2014/main" id="{F93A62DA-0662-1B36-3F95-3D1F4626F347}"/>
              </a:ext>
            </a:extLst>
          </p:cNvPr>
          <p:cNvSpPr txBox="1"/>
          <p:nvPr/>
        </p:nvSpPr>
        <p:spPr>
          <a:xfrm>
            <a:off x="5463931" y="5316918"/>
            <a:ext cx="1559729" cy="167225"/>
          </a:xfrm>
          <a:prstGeom prst="rect">
            <a:avLst/>
          </a:prstGeom>
          <a:noFill/>
        </p:spPr>
        <p:txBody>
          <a:bodyPr wrap="square" lIns="0" tIns="0" rIns="0" bIns="0" rtlCol="0" anchor="ctr">
            <a:spAutoFit/>
          </a:bodyPr>
          <a:lstStyle/>
          <a:p>
            <a:pPr algn="r">
              <a:lnSpc>
                <a:spcPct val="90000"/>
              </a:lnSpc>
            </a:pPr>
            <a:r>
              <a:rPr lang="sv-SE" sz="1200" dirty="0">
                <a:solidFill>
                  <a:schemeClr val="bg1"/>
                </a:solidFill>
              </a:rPr>
              <a:t>Dräneringsrör</a:t>
            </a:r>
          </a:p>
        </p:txBody>
      </p:sp>
      <p:sp>
        <p:nvSpPr>
          <p:cNvPr id="300" name="TextBox 299">
            <a:extLst>
              <a:ext uri="{FF2B5EF4-FFF2-40B4-BE49-F238E27FC236}">
                <a16:creationId xmlns:a16="http://schemas.microsoft.com/office/drawing/2014/main" id="{1E1B366B-BA7D-2405-DF08-0FF9BA497152}"/>
              </a:ext>
            </a:extLst>
          </p:cNvPr>
          <p:cNvSpPr txBox="1"/>
          <p:nvPr/>
        </p:nvSpPr>
        <p:spPr>
          <a:xfrm>
            <a:off x="5463931" y="5566757"/>
            <a:ext cx="1559729" cy="301048"/>
          </a:xfrm>
          <a:prstGeom prst="rect">
            <a:avLst/>
          </a:prstGeom>
          <a:noFill/>
        </p:spPr>
        <p:txBody>
          <a:bodyPr wrap="square" lIns="0" tIns="0" rIns="0" bIns="0" rtlCol="0" anchor="ctr">
            <a:spAutoFit/>
          </a:bodyPr>
          <a:lstStyle/>
          <a:p>
            <a:pPr algn="r">
              <a:lnSpc>
                <a:spcPct val="90000"/>
              </a:lnSpc>
            </a:pPr>
            <a:r>
              <a:rPr lang="sv-SE" sz="1200" dirty="0">
                <a:solidFill>
                  <a:schemeClr val="bg1"/>
                </a:solidFill>
              </a:rPr>
              <a:t>Bergmassa</a:t>
            </a:r>
          </a:p>
        </p:txBody>
      </p:sp>
      <p:sp>
        <p:nvSpPr>
          <p:cNvPr id="3" name="TextBox 2">
            <a:extLst>
              <a:ext uri="{FF2B5EF4-FFF2-40B4-BE49-F238E27FC236}">
                <a16:creationId xmlns:a16="http://schemas.microsoft.com/office/drawing/2014/main" id="{242F2DC1-04E2-CA07-67CA-632096B2ED9B}"/>
              </a:ext>
            </a:extLst>
          </p:cNvPr>
          <p:cNvSpPr txBox="1"/>
          <p:nvPr/>
        </p:nvSpPr>
        <p:spPr>
          <a:xfrm>
            <a:off x="5463931" y="1523437"/>
            <a:ext cx="1559729" cy="301048"/>
          </a:xfrm>
          <a:prstGeom prst="rect">
            <a:avLst/>
          </a:prstGeom>
          <a:noFill/>
        </p:spPr>
        <p:txBody>
          <a:bodyPr wrap="square" lIns="0" tIns="0" rIns="0" bIns="0" rtlCol="0" anchor="ctr">
            <a:spAutoFit/>
          </a:bodyPr>
          <a:lstStyle/>
          <a:p>
            <a:pPr algn="r">
              <a:lnSpc>
                <a:spcPct val="90000"/>
              </a:lnSpc>
            </a:pPr>
            <a:r>
              <a:rPr lang="sv-SE" sz="1200" dirty="0">
                <a:solidFill>
                  <a:schemeClr val="bg1"/>
                </a:solidFill>
              </a:rPr>
              <a:t>Sprutbetong</a:t>
            </a:r>
          </a:p>
        </p:txBody>
      </p:sp>
      <p:sp>
        <p:nvSpPr>
          <p:cNvPr id="23" name="Lager">
            <a:extLst>
              <a:ext uri="{FF2B5EF4-FFF2-40B4-BE49-F238E27FC236}">
                <a16:creationId xmlns:a16="http://schemas.microsoft.com/office/drawing/2014/main" id="{4E5FCAA5-AED9-BC07-B5A4-EFB78F2558C9}"/>
              </a:ext>
            </a:extLst>
          </p:cNvPr>
          <p:cNvSpPr/>
          <p:nvPr/>
        </p:nvSpPr>
        <p:spPr>
          <a:xfrm>
            <a:off x="7709486" y="2122046"/>
            <a:ext cx="2839076" cy="2839075"/>
          </a:xfrm>
          <a:custGeom>
            <a:avLst/>
            <a:gdLst>
              <a:gd name="connsiteX0" fmla="*/ 2240427 w 2240426"/>
              <a:gd name="connsiteY0" fmla="*/ 1120213 h 2240426"/>
              <a:gd name="connsiteX1" fmla="*/ 1120214 w 2240426"/>
              <a:gd name="connsiteY1" fmla="*/ 2240427 h 2240426"/>
              <a:gd name="connsiteX2" fmla="*/ 0 w 2240426"/>
              <a:gd name="connsiteY2" fmla="*/ 1120213 h 2240426"/>
              <a:gd name="connsiteX3" fmla="*/ 1120214 w 2240426"/>
              <a:gd name="connsiteY3" fmla="*/ 0 h 2240426"/>
              <a:gd name="connsiteX4" fmla="*/ 2240427 w 2240426"/>
              <a:gd name="connsiteY4" fmla="*/ 1120213 h 2240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0426" h="2240426">
                <a:moveTo>
                  <a:pt x="2240427" y="1120213"/>
                </a:moveTo>
                <a:cubicBezTo>
                  <a:pt x="2240427" y="1738890"/>
                  <a:pt x="1738890" y="2240427"/>
                  <a:pt x="1120214" y="2240427"/>
                </a:cubicBezTo>
                <a:cubicBezTo>
                  <a:pt x="501537" y="2240427"/>
                  <a:pt x="0" y="1738890"/>
                  <a:pt x="0" y="1120213"/>
                </a:cubicBezTo>
                <a:cubicBezTo>
                  <a:pt x="0" y="501537"/>
                  <a:pt x="501537" y="0"/>
                  <a:pt x="1120214" y="0"/>
                </a:cubicBezTo>
                <a:cubicBezTo>
                  <a:pt x="1738890" y="0"/>
                  <a:pt x="2240427" y="501537"/>
                  <a:pt x="2240427" y="1120213"/>
                </a:cubicBezTo>
                <a:close/>
              </a:path>
            </a:pathLst>
          </a:custGeom>
          <a:solidFill>
            <a:schemeClr val="bg1">
              <a:lumMod val="95000"/>
            </a:schemeClr>
          </a:solidFill>
          <a:ln w="0" cap="flat">
            <a:noFill/>
            <a:prstDash val="solid"/>
            <a:miter/>
          </a:ln>
        </p:spPr>
        <p:txBody>
          <a:bodyPr rtlCol="0" anchor="ctr"/>
          <a:lstStyle/>
          <a:p>
            <a:pPr algn="ctr"/>
            <a:r>
              <a:rPr lang="sv-SE" sz="1200" dirty="0"/>
              <a:t>Vätgas</a:t>
            </a:r>
          </a:p>
        </p:txBody>
      </p:sp>
      <p:sp>
        <p:nvSpPr>
          <p:cNvPr id="25" name="Freeform 24">
            <a:extLst>
              <a:ext uri="{FF2B5EF4-FFF2-40B4-BE49-F238E27FC236}">
                <a16:creationId xmlns:a16="http://schemas.microsoft.com/office/drawing/2014/main" id="{67910F92-2B73-CF7E-7BD7-8A0387C7E3D1}"/>
              </a:ext>
            </a:extLst>
          </p:cNvPr>
          <p:cNvSpPr/>
          <p:nvPr/>
        </p:nvSpPr>
        <p:spPr>
          <a:xfrm>
            <a:off x="9069561" y="5342598"/>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6"/>
                  <a:pt x="57535" y="74130"/>
                  <a:pt x="37065" y="74130"/>
                </a:cubicBezTo>
                <a:cubicBezTo>
                  <a:pt x="16595" y="74130"/>
                  <a:pt x="0" y="57536"/>
                  <a:pt x="0" y="37065"/>
                </a:cubicBezTo>
                <a:cubicBezTo>
                  <a:pt x="0" y="16595"/>
                  <a:pt x="16595" y="0"/>
                  <a:pt x="37065" y="0"/>
                </a:cubicBezTo>
                <a:cubicBezTo>
                  <a:pt x="57535" y="0"/>
                  <a:pt x="74130" y="16594"/>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sp>
        <p:nvSpPr>
          <p:cNvPr id="257" name="Freeform 256">
            <a:extLst>
              <a:ext uri="{FF2B5EF4-FFF2-40B4-BE49-F238E27FC236}">
                <a16:creationId xmlns:a16="http://schemas.microsoft.com/office/drawing/2014/main" id="{1E719175-AE0A-0A0B-17CF-D9986F3F8A36}"/>
              </a:ext>
            </a:extLst>
          </p:cNvPr>
          <p:cNvSpPr/>
          <p:nvPr/>
        </p:nvSpPr>
        <p:spPr>
          <a:xfrm>
            <a:off x="10223105" y="4964011"/>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5"/>
                  <a:pt x="57535" y="74130"/>
                  <a:pt x="37065" y="74130"/>
                </a:cubicBezTo>
                <a:cubicBezTo>
                  <a:pt x="16595" y="74130"/>
                  <a:pt x="0" y="57535"/>
                  <a:pt x="0" y="37065"/>
                </a:cubicBezTo>
                <a:cubicBezTo>
                  <a:pt x="0" y="16595"/>
                  <a:pt x="16595" y="0"/>
                  <a:pt x="37065" y="0"/>
                </a:cubicBezTo>
                <a:cubicBezTo>
                  <a:pt x="57535" y="0"/>
                  <a:pt x="74130" y="16595"/>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sp>
        <p:nvSpPr>
          <p:cNvPr id="258" name="Freeform 257">
            <a:extLst>
              <a:ext uri="{FF2B5EF4-FFF2-40B4-BE49-F238E27FC236}">
                <a16:creationId xmlns:a16="http://schemas.microsoft.com/office/drawing/2014/main" id="{49D42E79-9991-27CB-99F9-1A5E05B6EB8C}"/>
              </a:ext>
            </a:extLst>
          </p:cNvPr>
          <p:cNvSpPr/>
          <p:nvPr/>
        </p:nvSpPr>
        <p:spPr>
          <a:xfrm>
            <a:off x="10765138" y="4302666"/>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5"/>
                  <a:pt x="57536" y="74130"/>
                  <a:pt x="37065" y="74130"/>
                </a:cubicBezTo>
                <a:cubicBezTo>
                  <a:pt x="16594" y="74130"/>
                  <a:pt x="0" y="57535"/>
                  <a:pt x="0" y="37065"/>
                </a:cubicBezTo>
                <a:cubicBezTo>
                  <a:pt x="0" y="16595"/>
                  <a:pt x="16594" y="0"/>
                  <a:pt x="37065" y="0"/>
                </a:cubicBezTo>
                <a:cubicBezTo>
                  <a:pt x="57535" y="0"/>
                  <a:pt x="74130" y="16595"/>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sp>
        <p:nvSpPr>
          <p:cNvPr id="259" name="Freeform 258">
            <a:extLst>
              <a:ext uri="{FF2B5EF4-FFF2-40B4-BE49-F238E27FC236}">
                <a16:creationId xmlns:a16="http://schemas.microsoft.com/office/drawing/2014/main" id="{71A9F5C7-08A4-0C9A-96FB-56CDD031A0AB}"/>
              </a:ext>
            </a:extLst>
          </p:cNvPr>
          <p:cNvSpPr/>
          <p:nvPr/>
        </p:nvSpPr>
        <p:spPr>
          <a:xfrm>
            <a:off x="10902119" y="3147346"/>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6"/>
                  <a:pt x="57536" y="74130"/>
                  <a:pt x="37065" y="74130"/>
                </a:cubicBezTo>
                <a:cubicBezTo>
                  <a:pt x="16595" y="74130"/>
                  <a:pt x="0" y="57536"/>
                  <a:pt x="0" y="37065"/>
                </a:cubicBezTo>
                <a:cubicBezTo>
                  <a:pt x="0" y="16595"/>
                  <a:pt x="16594" y="0"/>
                  <a:pt x="37065" y="0"/>
                </a:cubicBezTo>
                <a:cubicBezTo>
                  <a:pt x="57535" y="0"/>
                  <a:pt x="74130" y="16595"/>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sp>
        <p:nvSpPr>
          <p:cNvPr id="260" name="Freeform 259">
            <a:extLst>
              <a:ext uri="{FF2B5EF4-FFF2-40B4-BE49-F238E27FC236}">
                <a16:creationId xmlns:a16="http://schemas.microsoft.com/office/drawing/2014/main" id="{1A03546A-44AD-002B-709C-19A337EC5838}"/>
              </a:ext>
            </a:extLst>
          </p:cNvPr>
          <p:cNvSpPr/>
          <p:nvPr/>
        </p:nvSpPr>
        <p:spPr>
          <a:xfrm>
            <a:off x="10443119" y="2236906"/>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5"/>
                  <a:pt x="57536" y="74130"/>
                  <a:pt x="37065" y="74130"/>
                </a:cubicBezTo>
                <a:cubicBezTo>
                  <a:pt x="16595" y="74130"/>
                  <a:pt x="0" y="57535"/>
                  <a:pt x="0" y="37065"/>
                </a:cubicBezTo>
                <a:cubicBezTo>
                  <a:pt x="0" y="16595"/>
                  <a:pt x="16595" y="0"/>
                  <a:pt x="37065" y="0"/>
                </a:cubicBezTo>
                <a:cubicBezTo>
                  <a:pt x="57536" y="0"/>
                  <a:pt x="74130" y="16595"/>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sp>
        <p:nvSpPr>
          <p:cNvPr id="261" name="Freeform 260">
            <a:extLst>
              <a:ext uri="{FF2B5EF4-FFF2-40B4-BE49-F238E27FC236}">
                <a16:creationId xmlns:a16="http://schemas.microsoft.com/office/drawing/2014/main" id="{38A6AA13-150D-2301-86A1-F40DAA9676B4}"/>
              </a:ext>
            </a:extLst>
          </p:cNvPr>
          <p:cNvSpPr/>
          <p:nvPr/>
        </p:nvSpPr>
        <p:spPr>
          <a:xfrm>
            <a:off x="9412710" y="1660410"/>
            <a:ext cx="108661" cy="108661"/>
          </a:xfrm>
          <a:custGeom>
            <a:avLst/>
            <a:gdLst>
              <a:gd name="connsiteX0" fmla="*/ 74130 w 74130"/>
              <a:gd name="connsiteY0" fmla="*/ 37065 h 74130"/>
              <a:gd name="connsiteX1" fmla="*/ 37065 w 74130"/>
              <a:gd name="connsiteY1" fmla="*/ 74130 h 74130"/>
              <a:gd name="connsiteX2" fmla="*/ 0 w 74130"/>
              <a:gd name="connsiteY2" fmla="*/ 37065 h 74130"/>
              <a:gd name="connsiteX3" fmla="*/ 37065 w 74130"/>
              <a:gd name="connsiteY3" fmla="*/ 0 h 74130"/>
              <a:gd name="connsiteX4" fmla="*/ 74130 w 74130"/>
              <a:gd name="connsiteY4" fmla="*/ 37065 h 7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0" h="74130">
                <a:moveTo>
                  <a:pt x="74130" y="37065"/>
                </a:moveTo>
                <a:cubicBezTo>
                  <a:pt x="74130" y="57536"/>
                  <a:pt x="57536" y="74130"/>
                  <a:pt x="37065" y="74130"/>
                </a:cubicBezTo>
                <a:cubicBezTo>
                  <a:pt x="16595" y="74130"/>
                  <a:pt x="0" y="57536"/>
                  <a:pt x="0" y="37065"/>
                </a:cubicBezTo>
                <a:cubicBezTo>
                  <a:pt x="0" y="16595"/>
                  <a:pt x="16595" y="0"/>
                  <a:pt x="37065" y="0"/>
                </a:cubicBezTo>
                <a:cubicBezTo>
                  <a:pt x="57536" y="0"/>
                  <a:pt x="74130" y="16595"/>
                  <a:pt x="74130" y="37065"/>
                </a:cubicBezTo>
                <a:close/>
              </a:path>
            </a:pathLst>
          </a:custGeom>
          <a:solidFill>
            <a:srgbClr val="FFFFFF"/>
          </a:solidFill>
          <a:ln w="8535" cap="flat">
            <a:solidFill>
              <a:srgbClr val="2E2F2F"/>
            </a:solidFill>
            <a:prstDash val="solid"/>
            <a:miter/>
          </a:ln>
        </p:spPr>
        <p:txBody>
          <a:bodyPr rtlCol="0" anchor="ctr"/>
          <a:lstStyle/>
          <a:p>
            <a:endParaRPr lang="sv-SE"/>
          </a:p>
        </p:txBody>
      </p:sp>
      <p:cxnSp>
        <p:nvCxnSpPr>
          <p:cNvPr id="11" name="Straight Connector 10">
            <a:extLst>
              <a:ext uri="{FF2B5EF4-FFF2-40B4-BE49-F238E27FC236}">
                <a16:creationId xmlns:a16="http://schemas.microsoft.com/office/drawing/2014/main" id="{40C41150-1E5E-A0DB-0247-FB8BAEED4D94}"/>
              </a:ext>
            </a:extLst>
          </p:cNvPr>
          <p:cNvCxnSpPr>
            <a:cxnSpLocks/>
          </p:cNvCxnSpPr>
          <p:nvPr/>
        </p:nvCxnSpPr>
        <p:spPr>
          <a:xfrm>
            <a:off x="7090517" y="5717278"/>
            <a:ext cx="20304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61312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9">
                                            <p:txEl>
                                              <p:pRg st="0" end="0"/>
                                            </p:txEl>
                                          </p:spTgt>
                                        </p:tgtEl>
                                        <p:attrNameLst>
                                          <p:attrName>style.visibility</p:attrName>
                                        </p:attrNameLst>
                                      </p:cBhvr>
                                      <p:to>
                                        <p:strVal val="visible"/>
                                      </p:to>
                                    </p:set>
                                    <p:animEffect transition="in" filter="fade">
                                      <p:cBhvr>
                                        <p:cTn id="15" dur="500"/>
                                        <p:tgtEl>
                                          <p:spTgt spid="49">
                                            <p:txEl>
                                              <p:pRg st="0" end="0"/>
                                            </p:txEl>
                                          </p:spTgt>
                                        </p:tgtEl>
                                      </p:cBhvr>
                                    </p:animEffect>
                                  </p:childTnLst>
                                </p:cTn>
                              </p:par>
                              <p:par>
                                <p:cTn id="16" presetID="17" presetClass="entr" presetSubtype="1" fill="hold" nodeType="withEffect">
                                  <p:stCondLst>
                                    <p:cond delay="0"/>
                                  </p:stCondLst>
                                  <p:childTnLst>
                                    <p:set>
                                      <p:cBhvr>
                                        <p:cTn id="17" dur="1" fill="hold">
                                          <p:stCondLst>
                                            <p:cond delay="0"/>
                                          </p:stCondLst>
                                        </p:cTn>
                                        <p:tgtEl>
                                          <p:spTgt spid="310"/>
                                        </p:tgtEl>
                                        <p:attrNameLst>
                                          <p:attrName>style.visibility</p:attrName>
                                        </p:attrNameLst>
                                      </p:cBhvr>
                                      <p:to>
                                        <p:strVal val="visible"/>
                                      </p:to>
                                    </p:set>
                                    <p:anim calcmode="lin" valueType="num">
                                      <p:cBhvr>
                                        <p:cTn id="18" dur="300" fill="hold"/>
                                        <p:tgtEl>
                                          <p:spTgt spid="310"/>
                                        </p:tgtEl>
                                        <p:attrNameLst>
                                          <p:attrName>ppt_x</p:attrName>
                                        </p:attrNameLst>
                                      </p:cBhvr>
                                      <p:tavLst>
                                        <p:tav tm="0">
                                          <p:val>
                                            <p:strVal val="#ppt_x"/>
                                          </p:val>
                                        </p:tav>
                                        <p:tav tm="100000">
                                          <p:val>
                                            <p:strVal val="#ppt_x"/>
                                          </p:val>
                                        </p:tav>
                                      </p:tavLst>
                                    </p:anim>
                                    <p:anim calcmode="lin" valueType="num">
                                      <p:cBhvr>
                                        <p:cTn id="19" dur="300" fill="hold"/>
                                        <p:tgtEl>
                                          <p:spTgt spid="310"/>
                                        </p:tgtEl>
                                        <p:attrNameLst>
                                          <p:attrName>ppt_y</p:attrName>
                                        </p:attrNameLst>
                                      </p:cBhvr>
                                      <p:tavLst>
                                        <p:tav tm="0">
                                          <p:val>
                                            <p:strVal val="#ppt_y-#ppt_h/2"/>
                                          </p:val>
                                        </p:tav>
                                        <p:tav tm="100000">
                                          <p:val>
                                            <p:strVal val="#ppt_y"/>
                                          </p:val>
                                        </p:tav>
                                      </p:tavLst>
                                    </p:anim>
                                    <p:anim calcmode="lin" valueType="num">
                                      <p:cBhvr>
                                        <p:cTn id="20" dur="300" fill="hold"/>
                                        <p:tgtEl>
                                          <p:spTgt spid="310"/>
                                        </p:tgtEl>
                                        <p:attrNameLst>
                                          <p:attrName>ppt_w</p:attrName>
                                        </p:attrNameLst>
                                      </p:cBhvr>
                                      <p:tavLst>
                                        <p:tav tm="0">
                                          <p:val>
                                            <p:strVal val="#ppt_w"/>
                                          </p:val>
                                        </p:tav>
                                        <p:tav tm="100000">
                                          <p:val>
                                            <p:strVal val="#ppt_w"/>
                                          </p:val>
                                        </p:tav>
                                      </p:tavLst>
                                    </p:anim>
                                    <p:anim calcmode="lin" valueType="num">
                                      <p:cBhvr>
                                        <p:cTn id="21" dur="300" fill="hold"/>
                                        <p:tgtEl>
                                          <p:spTgt spid="310"/>
                                        </p:tgtEl>
                                        <p:attrNameLst>
                                          <p:attrName>ppt_h</p:attrName>
                                        </p:attrNameLst>
                                      </p:cBhvr>
                                      <p:tavLst>
                                        <p:tav tm="0">
                                          <p:val>
                                            <p:fltVal val="0"/>
                                          </p:val>
                                        </p:tav>
                                        <p:tav tm="100000">
                                          <p:val>
                                            <p:strVal val="#ppt_h"/>
                                          </p:val>
                                        </p:tav>
                                      </p:tavLst>
                                    </p:anim>
                                  </p:childTnLst>
                                </p:cTn>
                              </p:par>
                              <p:par>
                                <p:cTn id="22" presetID="23" presetClass="entr" presetSubtype="16" fill="hold" grpId="0" nodeType="withEffect">
                                  <p:stCondLst>
                                    <p:cond delay="300"/>
                                  </p:stCondLst>
                                  <p:childTnLst>
                                    <p:set>
                                      <p:cBhvr>
                                        <p:cTn id="23" dur="1" fill="hold">
                                          <p:stCondLst>
                                            <p:cond delay="0"/>
                                          </p:stCondLst>
                                        </p:cTn>
                                        <p:tgtEl>
                                          <p:spTgt spid="23"/>
                                        </p:tgtEl>
                                        <p:attrNameLst>
                                          <p:attrName>style.visibility</p:attrName>
                                        </p:attrNameLst>
                                      </p:cBhvr>
                                      <p:to>
                                        <p:strVal val="visible"/>
                                      </p:to>
                                    </p:set>
                                    <p:anim calcmode="lin" valueType="num">
                                      <p:cBhvr>
                                        <p:cTn id="24" dur="300" fill="hold"/>
                                        <p:tgtEl>
                                          <p:spTgt spid="23"/>
                                        </p:tgtEl>
                                        <p:attrNameLst>
                                          <p:attrName>ppt_w</p:attrName>
                                        </p:attrNameLst>
                                      </p:cBhvr>
                                      <p:tavLst>
                                        <p:tav tm="0">
                                          <p:val>
                                            <p:fltVal val="0"/>
                                          </p:val>
                                        </p:tav>
                                        <p:tav tm="100000">
                                          <p:val>
                                            <p:strVal val="#ppt_w"/>
                                          </p:val>
                                        </p:tav>
                                      </p:tavLst>
                                    </p:anim>
                                    <p:anim calcmode="lin" valueType="num">
                                      <p:cBhvr>
                                        <p:cTn id="25" dur="300" fill="hold"/>
                                        <p:tgtEl>
                                          <p:spTgt spid="23"/>
                                        </p:tgtEl>
                                        <p:attrNameLst>
                                          <p:attrName>ppt_h</p:attrName>
                                        </p:attrNameLst>
                                      </p:cBhvr>
                                      <p:tavLst>
                                        <p:tav tm="0">
                                          <p:val>
                                            <p:fltVal val="0"/>
                                          </p:val>
                                        </p:tav>
                                        <p:tav tm="100000">
                                          <p:val>
                                            <p:strVal val="#ppt_h"/>
                                          </p:val>
                                        </p:tav>
                                      </p:tavLst>
                                    </p:anim>
                                  </p:childTnLst>
                                </p:cTn>
                              </p:par>
                            </p:childTnLst>
                          </p:cTn>
                        </p:par>
                        <p:par>
                          <p:cTn id="26" fill="hold">
                            <p:stCondLst>
                              <p:cond delay="1600"/>
                            </p:stCondLst>
                            <p:childTnLst>
                              <p:par>
                                <p:cTn id="27" presetID="22" presetClass="entr" presetSubtype="1"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up)">
                                      <p:cBhvr>
                                        <p:cTn id="29" dur="500"/>
                                        <p:tgtEl>
                                          <p:spTgt spid="22"/>
                                        </p:tgtEl>
                                      </p:cBhvr>
                                    </p:animEffect>
                                  </p:childTnLst>
                                </p:cTn>
                              </p:par>
                              <p:par>
                                <p:cTn id="30" presetID="17" presetClass="entr" presetSubtype="2" fill="hold" nodeType="withEffect">
                                  <p:stCondLst>
                                    <p:cond delay="500"/>
                                  </p:stCondLst>
                                  <p:childTnLst>
                                    <p:set>
                                      <p:cBhvr>
                                        <p:cTn id="31" dur="1" fill="hold">
                                          <p:stCondLst>
                                            <p:cond delay="0"/>
                                          </p:stCondLst>
                                        </p:cTn>
                                        <p:tgtEl>
                                          <p:spTgt spid="290"/>
                                        </p:tgtEl>
                                        <p:attrNameLst>
                                          <p:attrName>style.visibility</p:attrName>
                                        </p:attrNameLst>
                                      </p:cBhvr>
                                      <p:to>
                                        <p:strVal val="visible"/>
                                      </p:to>
                                    </p:set>
                                    <p:anim calcmode="lin" valueType="num">
                                      <p:cBhvr>
                                        <p:cTn id="32" dur="300" fill="hold"/>
                                        <p:tgtEl>
                                          <p:spTgt spid="290"/>
                                        </p:tgtEl>
                                        <p:attrNameLst>
                                          <p:attrName>ppt_x</p:attrName>
                                        </p:attrNameLst>
                                      </p:cBhvr>
                                      <p:tavLst>
                                        <p:tav tm="0">
                                          <p:val>
                                            <p:strVal val="#ppt_x+#ppt_w/2"/>
                                          </p:val>
                                        </p:tav>
                                        <p:tav tm="100000">
                                          <p:val>
                                            <p:strVal val="#ppt_x"/>
                                          </p:val>
                                        </p:tav>
                                      </p:tavLst>
                                    </p:anim>
                                    <p:anim calcmode="lin" valueType="num">
                                      <p:cBhvr>
                                        <p:cTn id="33" dur="300" fill="hold"/>
                                        <p:tgtEl>
                                          <p:spTgt spid="290"/>
                                        </p:tgtEl>
                                        <p:attrNameLst>
                                          <p:attrName>ppt_y</p:attrName>
                                        </p:attrNameLst>
                                      </p:cBhvr>
                                      <p:tavLst>
                                        <p:tav tm="0">
                                          <p:val>
                                            <p:strVal val="#ppt_y"/>
                                          </p:val>
                                        </p:tav>
                                        <p:tav tm="100000">
                                          <p:val>
                                            <p:strVal val="#ppt_y"/>
                                          </p:val>
                                        </p:tav>
                                      </p:tavLst>
                                    </p:anim>
                                    <p:anim calcmode="lin" valueType="num">
                                      <p:cBhvr>
                                        <p:cTn id="34" dur="300" fill="hold"/>
                                        <p:tgtEl>
                                          <p:spTgt spid="290"/>
                                        </p:tgtEl>
                                        <p:attrNameLst>
                                          <p:attrName>ppt_w</p:attrName>
                                        </p:attrNameLst>
                                      </p:cBhvr>
                                      <p:tavLst>
                                        <p:tav tm="0">
                                          <p:val>
                                            <p:fltVal val="0"/>
                                          </p:val>
                                        </p:tav>
                                        <p:tav tm="100000">
                                          <p:val>
                                            <p:strVal val="#ppt_w"/>
                                          </p:val>
                                        </p:tav>
                                      </p:tavLst>
                                    </p:anim>
                                    <p:anim calcmode="lin" valueType="num">
                                      <p:cBhvr>
                                        <p:cTn id="35" dur="300" fill="hold"/>
                                        <p:tgtEl>
                                          <p:spTgt spid="290"/>
                                        </p:tgtEl>
                                        <p:attrNameLst>
                                          <p:attrName>ppt_h</p:attrName>
                                        </p:attrNameLst>
                                      </p:cBhvr>
                                      <p:tavLst>
                                        <p:tav tm="0">
                                          <p:val>
                                            <p:strVal val="#ppt_h"/>
                                          </p:val>
                                        </p:tav>
                                        <p:tav tm="100000">
                                          <p:val>
                                            <p:strVal val="#ppt_h"/>
                                          </p:val>
                                        </p:tav>
                                      </p:tavLst>
                                    </p:anim>
                                  </p:childTnLst>
                                </p:cTn>
                              </p:par>
                              <p:par>
                                <p:cTn id="36" presetID="23" presetClass="entr" presetSubtype="16" fill="hold" grpId="0" nodeType="withEffect">
                                  <p:stCondLst>
                                    <p:cond delay="700"/>
                                  </p:stCondLst>
                                  <p:childTnLst>
                                    <p:set>
                                      <p:cBhvr>
                                        <p:cTn id="37" dur="1" fill="hold">
                                          <p:stCondLst>
                                            <p:cond delay="0"/>
                                          </p:stCondLst>
                                        </p:cTn>
                                        <p:tgtEl>
                                          <p:spTgt spid="295"/>
                                        </p:tgtEl>
                                        <p:attrNameLst>
                                          <p:attrName>style.visibility</p:attrName>
                                        </p:attrNameLst>
                                      </p:cBhvr>
                                      <p:to>
                                        <p:strVal val="visible"/>
                                      </p:to>
                                    </p:set>
                                    <p:anim calcmode="lin" valueType="num">
                                      <p:cBhvr>
                                        <p:cTn id="38" dur="300" fill="hold"/>
                                        <p:tgtEl>
                                          <p:spTgt spid="295"/>
                                        </p:tgtEl>
                                        <p:attrNameLst>
                                          <p:attrName>ppt_w</p:attrName>
                                        </p:attrNameLst>
                                      </p:cBhvr>
                                      <p:tavLst>
                                        <p:tav tm="0">
                                          <p:val>
                                            <p:fltVal val="0"/>
                                          </p:val>
                                        </p:tav>
                                        <p:tav tm="100000">
                                          <p:val>
                                            <p:strVal val="#ppt_w"/>
                                          </p:val>
                                        </p:tav>
                                      </p:tavLst>
                                    </p:anim>
                                    <p:anim calcmode="lin" valueType="num">
                                      <p:cBhvr>
                                        <p:cTn id="39" dur="300" fill="hold"/>
                                        <p:tgtEl>
                                          <p:spTgt spid="295"/>
                                        </p:tgtEl>
                                        <p:attrNameLst>
                                          <p:attrName>ppt_h</p:attrName>
                                        </p:attrNameLst>
                                      </p:cBhvr>
                                      <p:tavLst>
                                        <p:tav tm="0">
                                          <p:val>
                                            <p:fltVal val="0"/>
                                          </p:val>
                                        </p:tav>
                                        <p:tav tm="100000">
                                          <p:val>
                                            <p:strVal val="#ppt_h"/>
                                          </p:val>
                                        </p:tav>
                                      </p:tavLst>
                                    </p:anim>
                                  </p:childTnLst>
                                </p:cTn>
                              </p:par>
                              <p:par>
                                <p:cTn id="40" presetID="10" presetClass="entr" presetSubtype="0" fill="hold" grpId="0" nodeType="withEffect">
                                  <p:stCondLst>
                                    <p:cond delay="600"/>
                                  </p:stCondLst>
                                  <p:childTnLst>
                                    <p:set>
                                      <p:cBhvr>
                                        <p:cTn id="41" dur="1" fill="hold">
                                          <p:stCondLst>
                                            <p:cond delay="0"/>
                                          </p:stCondLst>
                                        </p:cTn>
                                        <p:tgtEl>
                                          <p:spTgt spid="49">
                                            <p:txEl>
                                              <p:pRg st="1" end="1"/>
                                            </p:txEl>
                                          </p:spTgt>
                                        </p:tgtEl>
                                        <p:attrNameLst>
                                          <p:attrName>style.visibility</p:attrName>
                                        </p:attrNameLst>
                                      </p:cBhvr>
                                      <p:to>
                                        <p:strVal val="visible"/>
                                      </p:to>
                                    </p:set>
                                    <p:animEffect transition="in" filter="fade">
                                      <p:cBhvr>
                                        <p:cTn id="42" dur="500"/>
                                        <p:tgtEl>
                                          <p:spTgt spid="49">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8"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p:tgtEl>
                                          <p:spTgt spid="13"/>
                                        </p:tgtEl>
                                        <p:attrNameLst>
                                          <p:attrName>ppt_x</p:attrName>
                                        </p:attrNameLst>
                                      </p:cBhvr>
                                      <p:tavLst>
                                        <p:tav tm="0">
                                          <p:val>
                                            <p:strVal val="#ppt_x-#ppt_w*1.125000"/>
                                          </p:val>
                                        </p:tav>
                                        <p:tav tm="100000">
                                          <p:val>
                                            <p:strVal val="#ppt_x"/>
                                          </p:val>
                                        </p:tav>
                                      </p:tavLst>
                                    </p:anim>
                                    <p:animEffect transition="in" filter="wipe(right)">
                                      <p:cBhvr>
                                        <p:cTn id="48" dur="500"/>
                                        <p:tgtEl>
                                          <p:spTgt spid="13"/>
                                        </p:tgtEl>
                                      </p:cBhvr>
                                    </p:animEffect>
                                  </p:childTnLst>
                                </p:cTn>
                              </p:par>
                              <p:par>
                                <p:cTn id="49" presetID="17" presetClass="entr" presetSubtype="2" fill="hold" nodeType="withEffect">
                                  <p:stCondLst>
                                    <p:cond delay="300"/>
                                  </p:stCondLst>
                                  <p:childTnLst>
                                    <p:set>
                                      <p:cBhvr>
                                        <p:cTn id="50" dur="1" fill="hold">
                                          <p:stCondLst>
                                            <p:cond delay="0"/>
                                          </p:stCondLst>
                                        </p:cTn>
                                        <p:tgtEl>
                                          <p:spTgt spid="291"/>
                                        </p:tgtEl>
                                        <p:attrNameLst>
                                          <p:attrName>style.visibility</p:attrName>
                                        </p:attrNameLst>
                                      </p:cBhvr>
                                      <p:to>
                                        <p:strVal val="visible"/>
                                      </p:to>
                                    </p:set>
                                    <p:anim calcmode="lin" valueType="num">
                                      <p:cBhvr>
                                        <p:cTn id="51" dur="300" fill="hold"/>
                                        <p:tgtEl>
                                          <p:spTgt spid="291"/>
                                        </p:tgtEl>
                                        <p:attrNameLst>
                                          <p:attrName>ppt_x</p:attrName>
                                        </p:attrNameLst>
                                      </p:cBhvr>
                                      <p:tavLst>
                                        <p:tav tm="0">
                                          <p:val>
                                            <p:strVal val="#ppt_x+#ppt_w/2"/>
                                          </p:val>
                                        </p:tav>
                                        <p:tav tm="100000">
                                          <p:val>
                                            <p:strVal val="#ppt_x"/>
                                          </p:val>
                                        </p:tav>
                                      </p:tavLst>
                                    </p:anim>
                                    <p:anim calcmode="lin" valueType="num">
                                      <p:cBhvr>
                                        <p:cTn id="52" dur="300" fill="hold"/>
                                        <p:tgtEl>
                                          <p:spTgt spid="291"/>
                                        </p:tgtEl>
                                        <p:attrNameLst>
                                          <p:attrName>ppt_y</p:attrName>
                                        </p:attrNameLst>
                                      </p:cBhvr>
                                      <p:tavLst>
                                        <p:tav tm="0">
                                          <p:val>
                                            <p:strVal val="#ppt_y"/>
                                          </p:val>
                                        </p:tav>
                                        <p:tav tm="100000">
                                          <p:val>
                                            <p:strVal val="#ppt_y"/>
                                          </p:val>
                                        </p:tav>
                                      </p:tavLst>
                                    </p:anim>
                                    <p:anim calcmode="lin" valueType="num">
                                      <p:cBhvr>
                                        <p:cTn id="53" dur="300" fill="hold"/>
                                        <p:tgtEl>
                                          <p:spTgt spid="291"/>
                                        </p:tgtEl>
                                        <p:attrNameLst>
                                          <p:attrName>ppt_w</p:attrName>
                                        </p:attrNameLst>
                                      </p:cBhvr>
                                      <p:tavLst>
                                        <p:tav tm="0">
                                          <p:val>
                                            <p:fltVal val="0"/>
                                          </p:val>
                                        </p:tav>
                                        <p:tav tm="100000">
                                          <p:val>
                                            <p:strVal val="#ppt_w"/>
                                          </p:val>
                                        </p:tav>
                                      </p:tavLst>
                                    </p:anim>
                                    <p:anim calcmode="lin" valueType="num">
                                      <p:cBhvr>
                                        <p:cTn id="54" dur="300" fill="hold"/>
                                        <p:tgtEl>
                                          <p:spTgt spid="291"/>
                                        </p:tgtEl>
                                        <p:attrNameLst>
                                          <p:attrName>ppt_h</p:attrName>
                                        </p:attrNameLst>
                                      </p:cBhvr>
                                      <p:tavLst>
                                        <p:tav tm="0">
                                          <p:val>
                                            <p:strVal val="#ppt_h"/>
                                          </p:val>
                                        </p:tav>
                                        <p:tav tm="100000">
                                          <p:val>
                                            <p:strVal val="#ppt_h"/>
                                          </p:val>
                                        </p:tav>
                                      </p:tavLst>
                                    </p:anim>
                                  </p:childTnLst>
                                </p:cTn>
                              </p:par>
                              <p:par>
                                <p:cTn id="55" presetID="23" presetClass="entr" presetSubtype="16" fill="hold" grpId="0" nodeType="withEffect">
                                  <p:stCondLst>
                                    <p:cond delay="500"/>
                                  </p:stCondLst>
                                  <p:childTnLst>
                                    <p:set>
                                      <p:cBhvr>
                                        <p:cTn id="56" dur="1" fill="hold">
                                          <p:stCondLst>
                                            <p:cond delay="0"/>
                                          </p:stCondLst>
                                        </p:cTn>
                                        <p:tgtEl>
                                          <p:spTgt spid="294"/>
                                        </p:tgtEl>
                                        <p:attrNameLst>
                                          <p:attrName>style.visibility</p:attrName>
                                        </p:attrNameLst>
                                      </p:cBhvr>
                                      <p:to>
                                        <p:strVal val="visible"/>
                                      </p:to>
                                    </p:set>
                                    <p:anim calcmode="lin" valueType="num">
                                      <p:cBhvr>
                                        <p:cTn id="57" dur="300" fill="hold"/>
                                        <p:tgtEl>
                                          <p:spTgt spid="294"/>
                                        </p:tgtEl>
                                        <p:attrNameLst>
                                          <p:attrName>ppt_w</p:attrName>
                                        </p:attrNameLst>
                                      </p:cBhvr>
                                      <p:tavLst>
                                        <p:tav tm="0">
                                          <p:val>
                                            <p:fltVal val="0"/>
                                          </p:val>
                                        </p:tav>
                                        <p:tav tm="100000">
                                          <p:val>
                                            <p:strVal val="#ppt_w"/>
                                          </p:val>
                                        </p:tav>
                                      </p:tavLst>
                                    </p:anim>
                                    <p:anim calcmode="lin" valueType="num">
                                      <p:cBhvr>
                                        <p:cTn id="58" dur="300" fill="hold"/>
                                        <p:tgtEl>
                                          <p:spTgt spid="294"/>
                                        </p:tgtEl>
                                        <p:attrNameLst>
                                          <p:attrName>ppt_h</p:attrName>
                                        </p:attrNameLst>
                                      </p:cBhvr>
                                      <p:tavLst>
                                        <p:tav tm="0">
                                          <p:val>
                                            <p:fltVal val="0"/>
                                          </p:val>
                                        </p:tav>
                                        <p:tav tm="100000">
                                          <p:val>
                                            <p:strVal val="#ppt_h"/>
                                          </p:val>
                                        </p:tav>
                                      </p:tavLst>
                                    </p:anim>
                                  </p:childTnLst>
                                </p:cTn>
                              </p:par>
                              <p:par>
                                <p:cTn id="59" presetID="10" presetClass="entr" presetSubtype="0" fill="hold" grpId="0" nodeType="withEffect">
                                  <p:stCondLst>
                                    <p:cond delay="600"/>
                                  </p:stCondLst>
                                  <p:childTnLst>
                                    <p:set>
                                      <p:cBhvr>
                                        <p:cTn id="60" dur="1" fill="hold">
                                          <p:stCondLst>
                                            <p:cond delay="0"/>
                                          </p:stCondLst>
                                        </p:cTn>
                                        <p:tgtEl>
                                          <p:spTgt spid="49">
                                            <p:txEl>
                                              <p:pRg st="2" end="2"/>
                                            </p:txEl>
                                          </p:spTgt>
                                        </p:tgtEl>
                                        <p:attrNameLst>
                                          <p:attrName>style.visibility</p:attrName>
                                        </p:attrNameLst>
                                      </p:cBhvr>
                                      <p:to>
                                        <p:strVal val="visible"/>
                                      </p:to>
                                    </p:set>
                                    <p:animEffect transition="in" filter="fade">
                                      <p:cBhvr>
                                        <p:cTn id="61" dur="500"/>
                                        <p:tgtEl>
                                          <p:spTgt spid="49">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wipe(down)">
                                      <p:cBhvr>
                                        <p:cTn id="66" dur="500"/>
                                        <p:tgtEl>
                                          <p:spTgt spid="21"/>
                                        </p:tgtEl>
                                      </p:cBhvr>
                                    </p:animEffect>
                                  </p:childTnLst>
                                </p:cTn>
                              </p:par>
                              <p:par>
                                <p:cTn id="67" presetID="17" presetClass="entr" presetSubtype="2" fill="hold" nodeType="withEffect">
                                  <p:stCondLst>
                                    <p:cond delay="300"/>
                                  </p:stCondLst>
                                  <p:childTnLst>
                                    <p:set>
                                      <p:cBhvr>
                                        <p:cTn id="68" dur="1" fill="hold">
                                          <p:stCondLst>
                                            <p:cond delay="0"/>
                                          </p:stCondLst>
                                        </p:cTn>
                                        <p:tgtEl>
                                          <p:spTgt spid="289"/>
                                        </p:tgtEl>
                                        <p:attrNameLst>
                                          <p:attrName>style.visibility</p:attrName>
                                        </p:attrNameLst>
                                      </p:cBhvr>
                                      <p:to>
                                        <p:strVal val="visible"/>
                                      </p:to>
                                    </p:set>
                                    <p:anim calcmode="lin" valueType="num">
                                      <p:cBhvr>
                                        <p:cTn id="69" dur="300" fill="hold"/>
                                        <p:tgtEl>
                                          <p:spTgt spid="289"/>
                                        </p:tgtEl>
                                        <p:attrNameLst>
                                          <p:attrName>ppt_x</p:attrName>
                                        </p:attrNameLst>
                                      </p:cBhvr>
                                      <p:tavLst>
                                        <p:tav tm="0">
                                          <p:val>
                                            <p:strVal val="#ppt_x+#ppt_w/2"/>
                                          </p:val>
                                        </p:tav>
                                        <p:tav tm="100000">
                                          <p:val>
                                            <p:strVal val="#ppt_x"/>
                                          </p:val>
                                        </p:tav>
                                      </p:tavLst>
                                    </p:anim>
                                    <p:anim calcmode="lin" valueType="num">
                                      <p:cBhvr>
                                        <p:cTn id="70" dur="300" fill="hold"/>
                                        <p:tgtEl>
                                          <p:spTgt spid="289"/>
                                        </p:tgtEl>
                                        <p:attrNameLst>
                                          <p:attrName>ppt_y</p:attrName>
                                        </p:attrNameLst>
                                      </p:cBhvr>
                                      <p:tavLst>
                                        <p:tav tm="0">
                                          <p:val>
                                            <p:strVal val="#ppt_y"/>
                                          </p:val>
                                        </p:tav>
                                        <p:tav tm="100000">
                                          <p:val>
                                            <p:strVal val="#ppt_y"/>
                                          </p:val>
                                        </p:tav>
                                      </p:tavLst>
                                    </p:anim>
                                    <p:anim calcmode="lin" valueType="num">
                                      <p:cBhvr>
                                        <p:cTn id="71" dur="300" fill="hold"/>
                                        <p:tgtEl>
                                          <p:spTgt spid="289"/>
                                        </p:tgtEl>
                                        <p:attrNameLst>
                                          <p:attrName>ppt_w</p:attrName>
                                        </p:attrNameLst>
                                      </p:cBhvr>
                                      <p:tavLst>
                                        <p:tav tm="0">
                                          <p:val>
                                            <p:fltVal val="0"/>
                                          </p:val>
                                        </p:tav>
                                        <p:tav tm="100000">
                                          <p:val>
                                            <p:strVal val="#ppt_w"/>
                                          </p:val>
                                        </p:tav>
                                      </p:tavLst>
                                    </p:anim>
                                    <p:anim calcmode="lin" valueType="num">
                                      <p:cBhvr>
                                        <p:cTn id="72" dur="300" fill="hold"/>
                                        <p:tgtEl>
                                          <p:spTgt spid="289"/>
                                        </p:tgtEl>
                                        <p:attrNameLst>
                                          <p:attrName>ppt_h</p:attrName>
                                        </p:attrNameLst>
                                      </p:cBhvr>
                                      <p:tavLst>
                                        <p:tav tm="0">
                                          <p:val>
                                            <p:strVal val="#ppt_h"/>
                                          </p:val>
                                        </p:tav>
                                        <p:tav tm="100000">
                                          <p:val>
                                            <p:strVal val="#ppt_h"/>
                                          </p:val>
                                        </p:tav>
                                      </p:tavLst>
                                    </p:anim>
                                  </p:childTnLst>
                                </p:cTn>
                              </p:par>
                              <p:par>
                                <p:cTn id="73" presetID="23" presetClass="entr" presetSubtype="16" fill="hold" grpId="0" nodeType="withEffect">
                                  <p:stCondLst>
                                    <p:cond delay="500"/>
                                  </p:stCondLst>
                                  <p:childTnLst>
                                    <p:set>
                                      <p:cBhvr>
                                        <p:cTn id="74" dur="1" fill="hold">
                                          <p:stCondLst>
                                            <p:cond delay="0"/>
                                          </p:stCondLst>
                                        </p:cTn>
                                        <p:tgtEl>
                                          <p:spTgt spid="293"/>
                                        </p:tgtEl>
                                        <p:attrNameLst>
                                          <p:attrName>style.visibility</p:attrName>
                                        </p:attrNameLst>
                                      </p:cBhvr>
                                      <p:to>
                                        <p:strVal val="visible"/>
                                      </p:to>
                                    </p:set>
                                    <p:anim calcmode="lin" valueType="num">
                                      <p:cBhvr>
                                        <p:cTn id="75" dur="300" fill="hold"/>
                                        <p:tgtEl>
                                          <p:spTgt spid="293"/>
                                        </p:tgtEl>
                                        <p:attrNameLst>
                                          <p:attrName>ppt_w</p:attrName>
                                        </p:attrNameLst>
                                      </p:cBhvr>
                                      <p:tavLst>
                                        <p:tav tm="0">
                                          <p:val>
                                            <p:fltVal val="0"/>
                                          </p:val>
                                        </p:tav>
                                        <p:tav tm="100000">
                                          <p:val>
                                            <p:strVal val="#ppt_w"/>
                                          </p:val>
                                        </p:tav>
                                      </p:tavLst>
                                    </p:anim>
                                    <p:anim calcmode="lin" valueType="num">
                                      <p:cBhvr>
                                        <p:cTn id="76" dur="300" fill="hold"/>
                                        <p:tgtEl>
                                          <p:spTgt spid="293"/>
                                        </p:tgtEl>
                                        <p:attrNameLst>
                                          <p:attrName>ppt_h</p:attrName>
                                        </p:attrNameLst>
                                      </p:cBhvr>
                                      <p:tavLst>
                                        <p:tav tm="0">
                                          <p:val>
                                            <p:fltVal val="0"/>
                                          </p:val>
                                        </p:tav>
                                        <p:tav tm="100000">
                                          <p:val>
                                            <p:strVal val="#ppt_h"/>
                                          </p:val>
                                        </p:tav>
                                      </p:tavLst>
                                    </p:anim>
                                  </p:childTnLst>
                                </p:cTn>
                              </p:par>
                              <p:par>
                                <p:cTn id="77" presetID="10" presetClass="entr" presetSubtype="0" fill="hold" grpId="0" nodeType="withEffect">
                                  <p:stCondLst>
                                    <p:cond delay="600"/>
                                  </p:stCondLst>
                                  <p:childTnLst>
                                    <p:set>
                                      <p:cBhvr>
                                        <p:cTn id="78" dur="1" fill="hold">
                                          <p:stCondLst>
                                            <p:cond delay="0"/>
                                          </p:stCondLst>
                                        </p:cTn>
                                        <p:tgtEl>
                                          <p:spTgt spid="49">
                                            <p:txEl>
                                              <p:pRg st="3" end="3"/>
                                            </p:txEl>
                                          </p:spTgt>
                                        </p:tgtEl>
                                        <p:attrNameLst>
                                          <p:attrName>style.visibility</p:attrName>
                                        </p:attrNameLst>
                                      </p:cBhvr>
                                      <p:to>
                                        <p:strVal val="visible"/>
                                      </p:to>
                                    </p:set>
                                    <p:animEffect transition="in" filter="fade">
                                      <p:cBhvr>
                                        <p:cTn id="79" dur="500"/>
                                        <p:tgtEl>
                                          <p:spTgt spid="49">
                                            <p:txEl>
                                              <p:pRg st="3" end="3"/>
                                            </p:txEl>
                                          </p:spTgt>
                                        </p:tgtEl>
                                      </p:cBhvr>
                                    </p:animEffect>
                                  </p:childTnLst>
                                </p:cTn>
                              </p:par>
                            </p:childTnLst>
                          </p:cTn>
                        </p:par>
                        <p:par>
                          <p:cTn id="80" fill="hold">
                            <p:stCondLst>
                              <p:cond delay="1100"/>
                            </p:stCondLst>
                            <p:childTnLst>
                              <p:par>
                                <p:cTn id="81" presetID="12" presetClass="entr" presetSubtype="8"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 calcmode="lin" valueType="num">
                                      <p:cBhvr additive="base">
                                        <p:cTn id="83" dur="500"/>
                                        <p:tgtEl>
                                          <p:spTgt spid="18"/>
                                        </p:tgtEl>
                                        <p:attrNameLst>
                                          <p:attrName>ppt_x</p:attrName>
                                        </p:attrNameLst>
                                      </p:cBhvr>
                                      <p:tavLst>
                                        <p:tav tm="0">
                                          <p:val>
                                            <p:strVal val="#ppt_x-#ppt_w*1.125000"/>
                                          </p:val>
                                        </p:tav>
                                        <p:tav tm="100000">
                                          <p:val>
                                            <p:strVal val="#ppt_x"/>
                                          </p:val>
                                        </p:tav>
                                      </p:tavLst>
                                    </p:anim>
                                    <p:animEffect transition="in" filter="wipe(right)">
                                      <p:cBhvr>
                                        <p:cTn id="84" dur="500"/>
                                        <p:tgtEl>
                                          <p:spTgt spid="18"/>
                                        </p:tgtEl>
                                      </p:cBhvr>
                                    </p:animEffect>
                                  </p:childTnLst>
                                </p:cTn>
                              </p:par>
                              <p:par>
                                <p:cTn id="85" presetID="23" presetClass="entr" presetSubtype="16" fill="hold" grpId="0" nodeType="withEffect">
                                  <p:stCondLst>
                                    <p:cond delay="500"/>
                                  </p:stCondLst>
                                  <p:childTnLst>
                                    <p:set>
                                      <p:cBhvr>
                                        <p:cTn id="86" dur="1" fill="hold">
                                          <p:stCondLst>
                                            <p:cond delay="0"/>
                                          </p:stCondLst>
                                        </p:cTn>
                                        <p:tgtEl>
                                          <p:spTgt spid="261"/>
                                        </p:tgtEl>
                                        <p:attrNameLst>
                                          <p:attrName>style.visibility</p:attrName>
                                        </p:attrNameLst>
                                      </p:cBhvr>
                                      <p:to>
                                        <p:strVal val="visible"/>
                                      </p:to>
                                    </p:set>
                                    <p:anim calcmode="lin" valueType="num">
                                      <p:cBhvr>
                                        <p:cTn id="87" dur="300" fill="hold"/>
                                        <p:tgtEl>
                                          <p:spTgt spid="261"/>
                                        </p:tgtEl>
                                        <p:attrNameLst>
                                          <p:attrName>ppt_w</p:attrName>
                                        </p:attrNameLst>
                                      </p:cBhvr>
                                      <p:tavLst>
                                        <p:tav tm="0">
                                          <p:val>
                                            <p:fltVal val="0"/>
                                          </p:val>
                                        </p:tav>
                                        <p:tav tm="100000">
                                          <p:val>
                                            <p:strVal val="#ppt_w"/>
                                          </p:val>
                                        </p:tav>
                                      </p:tavLst>
                                    </p:anim>
                                    <p:anim calcmode="lin" valueType="num">
                                      <p:cBhvr>
                                        <p:cTn id="88" dur="300" fill="hold"/>
                                        <p:tgtEl>
                                          <p:spTgt spid="261"/>
                                        </p:tgtEl>
                                        <p:attrNameLst>
                                          <p:attrName>ppt_h</p:attrName>
                                        </p:attrNameLst>
                                      </p:cBhvr>
                                      <p:tavLst>
                                        <p:tav tm="0">
                                          <p:val>
                                            <p:fltVal val="0"/>
                                          </p:val>
                                        </p:tav>
                                        <p:tav tm="100000">
                                          <p:val>
                                            <p:strVal val="#ppt_h"/>
                                          </p:val>
                                        </p:tav>
                                      </p:tavLst>
                                    </p:anim>
                                  </p:childTnLst>
                                </p:cTn>
                              </p:par>
                              <p:par>
                                <p:cTn id="89" presetID="23" presetClass="entr" presetSubtype="16" fill="hold" grpId="0" nodeType="withEffect">
                                  <p:stCondLst>
                                    <p:cond delay="500"/>
                                  </p:stCondLst>
                                  <p:childTnLst>
                                    <p:set>
                                      <p:cBhvr>
                                        <p:cTn id="90" dur="1" fill="hold">
                                          <p:stCondLst>
                                            <p:cond delay="0"/>
                                          </p:stCondLst>
                                        </p:cTn>
                                        <p:tgtEl>
                                          <p:spTgt spid="260"/>
                                        </p:tgtEl>
                                        <p:attrNameLst>
                                          <p:attrName>style.visibility</p:attrName>
                                        </p:attrNameLst>
                                      </p:cBhvr>
                                      <p:to>
                                        <p:strVal val="visible"/>
                                      </p:to>
                                    </p:set>
                                    <p:anim calcmode="lin" valueType="num">
                                      <p:cBhvr>
                                        <p:cTn id="91" dur="300" fill="hold"/>
                                        <p:tgtEl>
                                          <p:spTgt spid="260"/>
                                        </p:tgtEl>
                                        <p:attrNameLst>
                                          <p:attrName>ppt_w</p:attrName>
                                        </p:attrNameLst>
                                      </p:cBhvr>
                                      <p:tavLst>
                                        <p:tav tm="0">
                                          <p:val>
                                            <p:fltVal val="0"/>
                                          </p:val>
                                        </p:tav>
                                        <p:tav tm="100000">
                                          <p:val>
                                            <p:strVal val="#ppt_w"/>
                                          </p:val>
                                        </p:tav>
                                      </p:tavLst>
                                    </p:anim>
                                    <p:anim calcmode="lin" valueType="num">
                                      <p:cBhvr>
                                        <p:cTn id="92" dur="300" fill="hold"/>
                                        <p:tgtEl>
                                          <p:spTgt spid="260"/>
                                        </p:tgtEl>
                                        <p:attrNameLst>
                                          <p:attrName>ppt_h</p:attrName>
                                        </p:attrNameLst>
                                      </p:cBhvr>
                                      <p:tavLst>
                                        <p:tav tm="0">
                                          <p:val>
                                            <p:fltVal val="0"/>
                                          </p:val>
                                        </p:tav>
                                        <p:tav tm="100000">
                                          <p:val>
                                            <p:strVal val="#ppt_h"/>
                                          </p:val>
                                        </p:tav>
                                      </p:tavLst>
                                    </p:anim>
                                  </p:childTnLst>
                                </p:cTn>
                              </p:par>
                              <p:par>
                                <p:cTn id="93" presetID="23" presetClass="entr" presetSubtype="16" fill="hold" grpId="0" nodeType="withEffect">
                                  <p:stCondLst>
                                    <p:cond delay="500"/>
                                  </p:stCondLst>
                                  <p:childTnLst>
                                    <p:set>
                                      <p:cBhvr>
                                        <p:cTn id="94" dur="1" fill="hold">
                                          <p:stCondLst>
                                            <p:cond delay="0"/>
                                          </p:stCondLst>
                                        </p:cTn>
                                        <p:tgtEl>
                                          <p:spTgt spid="259"/>
                                        </p:tgtEl>
                                        <p:attrNameLst>
                                          <p:attrName>style.visibility</p:attrName>
                                        </p:attrNameLst>
                                      </p:cBhvr>
                                      <p:to>
                                        <p:strVal val="visible"/>
                                      </p:to>
                                    </p:set>
                                    <p:anim calcmode="lin" valueType="num">
                                      <p:cBhvr>
                                        <p:cTn id="95" dur="300" fill="hold"/>
                                        <p:tgtEl>
                                          <p:spTgt spid="259"/>
                                        </p:tgtEl>
                                        <p:attrNameLst>
                                          <p:attrName>ppt_w</p:attrName>
                                        </p:attrNameLst>
                                      </p:cBhvr>
                                      <p:tavLst>
                                        <p:tav tm="0">
                                          <p:val>
                                            <p:fltVal val="0"/>
                                          </p:val>
                                        </p:tav>
                                        <p:tav tm="100000">
                                          <p:val>
                                            <p:strVal val="#ppt_w"/>
                                          </p:val>
                                        </p:tav>
                                      </p:tavLst>
                                    </p:anim>
                                    <p:anim calcmode="lin" valueType="num">
                                      <p:cBhvr>
                                        <p:cTn id="96" dur="300" fill="hold"/>
                                        <p:tgtEl>
                                          <p:spTgt spid="259"/>
                                        </p:tgtEl>
                                        <p:attrNameLst>
                                          <p:attrName>ppt_h</p:attrName>
                                        </p:attrNameLst>
                                      </p:cBhvr>
                                      <p:tavLst>
                                        <p:tav tm="0">
                                          <p:val>
                                            <p:fltVal val="0"/>
                                          </p:val>
                                        </p:tav>
                                        <p:tav tm="100000">
                                          <p:val>
                                            <p:strVal val="#ppt_h"/>
                                          </p:val>
                                        </p:tav>
                                      </p:tavLst>
                                    </p:anim>
                                  </p:childTnLst>
                                </p:cTn>
                              </p:par>
                              <p:par>
                                <p:cTn id="97" presetID="23" presetClass="entr" presetSubtype="16" fill="hold" grpId="0" nodeType="withEffect">
                                  <p:stCondLst>
                                    <p:cond delay="500"/>
                                  </p:stCondLst>
                                  <p:childTnLst>
                                    <p:set>
                                      <p:cBhvr>
                                        <p:cTn id="98" dur="1" fill="hold">
                                          <p:stCondLst>
                                            <p:cond delay="0"/>
                                          </p:stCondLst>
                                        </p:cTn>
                                        <p:tgtEl>
                                          <p:spTgt spid="258"/>
                                        </p:tgtEl>
                                        <p:attrNameLst>
                                          <p:attrName>style.visibility</p:attrName>
                                        </p:attrNameLst>
                                      </p:cBhvr>
                                      <p:to>
                                        <p:strVal val="visible"/>
                                      </p:to>
                                    </p:set>
                                    <p:anim calcmode="lin" valueType="num">
                                      <p:cBhvr>
                                        <p:cTn id="99" dur="300" fill="hold"/>
                                        <p:tgtEl>
                                          <p:spTgt spid="258"/>
                                        </p:tgtEl>
                                        <p:attrNameLst>
                                          <p:attrName>ppt_w</p:attrName>
                                        </p:attrNameLst>
                                      </p:cBhvr>
                                      <p:tavLst>
                                        <p:tav tm="0">
                                          <p:val>
                                            <p:fltVal val="0"/>
                                          </p:val>
                                        </p:tav>
                                        <p:tav tm="100000">
                                          <p:val>
                                            <p:strVal val="#ppt_w"/>
                                          </p:val>
                                        </p:tav>
                                      </p:tavLst>
                                    </p:anim>
                                    <p:anim calcmode="lin" valueType="num">
                                      <p:cBhvr>
                                        <p:cTn id="100" dur="300" fill="hold"/>
                                        <p:tgtEl>
                                          <p:spTgt spid="258"/>
                                        </p:tgtEl>
                                        <p:attrNameLst>
                                          <p:attrName>ppt_h</p:attrName>
                                        </p:attrNameLst>
                                      </p:cBhvr>
                                      <p:tavLst>
                                        <p:tav tm="0">
                                          <p:val>
                                            <p:fltVal val="0"/>
                                          </p:val>
                                        </p:tav>
                                        <p:tav tm="100000">
                                          <p:val>
                                            <p:strVal val="#ppt_h"/>
                                          </p:val>
                                        </p:tav>
                                      </p:tavLst>
                                    </p:anim>
                                  </p:childTnLst>
                                </p:cTn>
                              </p:par>
                              <p:par>
                                <p:cTn id="101" presetID="23" presetClass="entr" presetSubtype="16" fill="hold" grpId="0" nodeType="withEffect">
                                  <p:stCondLst>
                                    <p:cond delay="500"/>
                                  </p:stCondLst>
                                  <p:childTnLst>
                                    <p:set>
                                      <p:cBhvr>
                                        <p:cTn id="102" dur="1" fill="hold">
                                          <p:stCondLst>
                                            <p:cond delay="0"/>
                                          </p:stCondLst>
                                        </p:cTn>
                                        <p:tgtEl>
                                          <p:spTgt spid="257"/>
                                        </p:tgtEl>
                                        <p:attrNameLst>
                                          <p:attrName>style.visibility</p:attrName>
                                        </p:attrNameLst>
                                      </p:cBhvr>
                                      <p:to>
                                        <p:strVal val="visible"/>
                                      </p:to>
                                    </p:set>
                                    <p:anim calcmode="lin" valueType="num">
                                      <p:cBhvr>
                                        <p:cTn id="103" dur="300" fill="hold"/>
                                        <p:tgtEl>
                                          <p:spTgt spid="257"/>
                                        </p:tgtEl>
                                        <p:attrNameLst>
                                          <p:attrName>ppt_w</p:attrName>
                                        </p:attrNameLst>
                                      </p:cBhvr>
                                      <p:tavLst>
                                        <p:tav tm="0">
                                          <p:val>
                                            <p:fltVal val="0"/>
                                          </p:val>
                                        </p:tav>
                                        <p:tav tm="100000">
                                          <p:val>
                                            <p:strVal val="#ppt_w"/>
                                          </p:val>
                                        </p:tav>
                                      </p:tavLst>
                                    </p:anim>
                                    <p:anim calcmode="lin" valueType="num">
                                      <p:cBhvr>
                                        <p:cTn id="104" dur="300" fill="hold"/>
                                        <p:tgtEl>
                                          <p:spTgt spid="257"/>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500"/>
                                  </p:stCondLst>
                                  <p:childTnLst>
                                    <p:set>
                                      <p:cBhvr>
                                        <p:cTn id="106" dur="1" fill="hold">
                                          <p:stCondLst>
                                            <p:cond delay="0"/>
                                          </p:stCondLst>
                                        </p:cTn>
                                        <p:tgtEl>
                                          <p:spTgt spid="25"/>
                                        </p:tgtEl>
                                        <p:attrNameLst>
                                          <p:attrName>style.visibility</p:attrName>
                                        </p:attrNameLst>
                                      </p:cBhvr>
                                      <p:to>
                                        <p:strVal val="visible"/>
                                      </p:to>
                                    </p:set>
                                    <p:anim calcmode="lin" valueType="num">
                                      <p:cBhvr>
                                        <p:cTn id="107" dur="300" fill="hold"/>
                                        <p:tgtEl>
                                          <p:spTgt spid="25"/>
                                        </p:tgtEl>
                                        <p:attrNameLst>
                                          <p:attrName>ppt_w</p:attrName>
                                        </p:attrNameLst>
                                      </p:cBhvr>
                                      <p:tavLst>
                                        <p:tav tm="0">
                                          <p:val>
                                            <p:fltVal val="0"/>
                                          </p:val>
                                        </p:tav>
                                        <p:tav tm="100000">
                                          <p:val>
                                            <p:strVal val="#ppt_w"/>
                                          </p:val>
                                        </p:tav>
                                      </p:tavLst>
                                    </p:anim>
                                    <p:anim calcmode="lin" valueType="num">
                                      <p:cBhvr>
                                        <p:cTn id="108" dur="300" fill="hold"/>
                                        <p:tgtEl>
                                          <p:spTgt spid="25"/>
                                        </p:tgtEl>
                                        <p:attrNameLst>
                                          <p:attrName>ppt_h</p:attrName>
                                        </p:attrNameLst>
                                      </p:cBhvr>
                                      <p:tavLst>
                                        <p:tav tm="0">
                                          <p:val>
                                            <p:fltVal val="0"/>
                                          </p:val>
                                        </p:tav>
                                        <p:tav tm="100000">
                                          <p:val>
                                            <p:strVal val="#ppt_h"/>
                                          </p:val>
                                        </p:tav>
                                      </p:tavLst>
                                    </p:anim>
                                  </p:childTnLst>
                                </p:cTn>
                              </p:par>
                              <p:par>
                                <p:cTn id="109" presetID="17" presetClass="entr" presetSubtype="2" fill="hold" nodeType="withEffect">
                                  <p:stCondLst>
                                    <p:cond delay="500"/>
                                  </p:stCondLst>
                                  <p:childTnLst>
                                    <p:set>
                                      <p:cBhvr>
                                        <p:cTn id="110" dur="1" fill="hold">
                                          <p:stCondLst>
                                            <p:cond delay="0"/>
                                          </p:stCondLst>
                                        </p:cTn>
                                        <p:tgtEl>
                                          <p:spTgt spid="12"/>
                                        </p:tgtEl>
                                        <p:attrNameLst>
                                          <p:attrName>style.visibility</p:attrName>
                                        </p:attrNameLst>
                                      </p:cBhvr>
                                      <p:to>
                                        <p:strVal val="visible"/>
                                      </p:to>
                                    </p:set>
                                    <p:anim calcmode="lin" valueType="num">
                                      <p:cBhvr>
                                        <p:cTn id="111" dur="300" fill="hold"/>
                                        <p:tgtEl>
                                          <p:spTgt spid="12"/>
                                        </p:tgtEl>
                                        <p:attrNameLst>
                                          <p:attrName>ppt_x</p:attrName>
                                        </p:attrNameLst>
                                      </p:cBhvr>
                                      <p:tavLst>
                                        <p:tav tm="0">
                                          <p:val>
                                            <p:strVal val="#ppt_x+#ppt_w/2"/>
                                          </p:val>
                                        </p:tav>
                                        <p:tav tm="100000">
                                          <p:val>
                                            <p:strVal val="#ppt_x"/>
                                          </p:val>
                                        </p:tav>
                                      </p:tavLst>
                                    </p:anim>
                                    <p:anim calcmode="lin" valueType="num">
                                      <p:cBhvr>
                                        <p:cTn id="112" dur="300" fill="hold"/>
                                        <p:tgtEl>
                                          <p:spTgt spid="12"/>
                                        </p:tgtEl>
                                        <p:attrNameLst>
                                          <p:attrName>ppt_y</p:attrName>
                                        </p:attrNameLst>
                                      </p:cBhvr>
                                      <p:tavLst>
                                        <p:tav tm="0">
                                          <p:val>
                                            <p:strVal val="#ppt_y"/>
                                          </p:val>
                                        </p:tav>
                                        <p:tav tm="100000">
                                          <p:val>
                                            <p:strVal val="#ppt_y"/>
                                          </p:val>
                                        </p:tav>
                                      </p:tavLst>
                                    </p:anim>
                                    <p:anim calcmode="lin" valueType="num">
                                      <p:cBhvr>
                                        <p:cTn id="113" dur="300" fill="hold"/>
                                        <p:tgtEl>
                                          <p:spTgt spid="12"/>
                                        </p:tgtEl>
                                        <p:attrNameLst>
                                          <p:attrName>ppt_w</p:attrName>
                                        </p:attrNameLst>
                                      </p:cBhvr>
                                      <p:tavLst>
                                        <p:tav tm="0">
                                          <p:val>
                                            <p:fltVal val="0"/>
                                          </p:val>
                                        </p:tav>
                                        <p:tav tm="100000">
                                          <p:val>
                                            <p:strVal val="#ppt_w"/>
                                          </p:val>
                                        </p:tav>
                                      </p:tavLst>
                                    </p:anim>
                                    <p:anim calcmode="lin" valueType="num">
                                      <p:cBhvr>
                                        <p:cTn id="114" dur="300" fill="hold"/>
                                        <p:tgtEl>
                                          <p:spTgt spid="12"/>
                                        </p:tgtEl>
                                        <p:attrNameLst>
                                          <p:attrName>ppt_h</p:attrName>
                                        </p:attrNameLst>
                                      </p:cBhvr>
                                      <p:tavLst>
                                        <p:tav tm="0">
                                          <p:val>
                                            <p:strVal val="#ppt_h"/>
                                          </p:val>
                                        </p:tav>
                                        <p:tav tm="100000">
                                          <p:val>
                                            <p:strVal val="#ppt_h"/>
                                          </p:val>
                                        </p:tav>
                                      </p:tavLst>
                                    </p:anim>
                                  </p:childTnLst>
                                </p:cTn>
                              </p:par>
                              <p:par>
                                <p:cTn id="115" presetID="17" presetClass="entr" presetSubtype="2" fill="hold" nodeType="withEffect">
                                  <p:stCondLst>
                                    <p:cond delay="500"/>
                                  </p:stCondLst>
                                  <p:childTnLst>
                                    <p:set>
                                      <p:cBhvr>
                                        <p:cTn id="116" dur="1" fill="hold">
                                          <p:stCondLst>
                                            <p:cond delay="0"/>
                                          </p:stCondLst>
                                        </p:cTn>
                                        <p:tgtEl>
                                          <p:spTgt spid="296"/>
                                        </p:tgtEl>
                                        <p:attrNameLst>
                                          <p:attrName>style.visibility</p:attrName>
                                        </p:attrNameLst>
                                      </p:cBhvr>
                                      <p:to>
                                        <p:strVal val="visible"/>
                                      </p:to>
                                    </p:set>
                                    <p:anim calcmode="lin" valueType="num">
                                      <p:cBhvr>
                                        <p:cTn id="117" dur="300" fill="hold"/>
                                        <p:tgtEl>
                                          <p:spTgt spid="296"/>
                                        </p:tgtEl>
                                        <p:attrNameLst>
                                          <p:attrName>ppt_x</p:attrName>
                                        </p:attrNameLst>
                                      </p:cBhvr>
                                      <p:tavLst>
                                        <p:tav tm="0">
                                          <p:val>
                                            <p:strVal val="#ppt_x+#ppt_w/2"/>
                                          </p:val>
                                        </p:tav>
                                        <p:tav tm="100000">
                                          <p:val>
                                            <p:strVal val="#ppt_x"/>
                                          </p:val>
                                        </p:tav>
                                      </p:tavLst>
                                    </p:anim>
                                    <p:anim calcmode="lin" valueType="num">
                                      <p:cBhvr>
                                        <p:cTn id="118" dur="300" fill="hold"/>
                                        <p:tgtEl>
                                          <p:spTgt spid="296"/>
                                        </p:tgtEl>
                                        <p:attrNameLst>
                                          <p:attrName>ppt_y</p:attrName>
                                        </p:attrNameLst>
                                      </p:cBhvr>
                                      <p:tavLst>
                                        <p:tav tm="0">
                                          <p:val>
                                            <p:strVal val="#ppt_y"/>
                                          </p:val>
                                        </p:tav>
                                        <p:tav tm="100000">
                                          <p:val>
                                            <p:strVal val="#ppt_y"/>
                                          </p:val>
                                        </p:tav>
                                      </p:tavLst>
                                    </p:anim>
                                    <p:anim calcmode="lin" valueType="num">
                                      <p:cBhvr>
                                        <p:cTn id="119" dur="300" fill="hold"/>
                                        <p:tgtEl>
                                          <p:spTgt spid="296"/>
                                        </p:tgtEl>
                                        <p:attrNameLst>
                                          <p:attrName>ppt_w</p:attrName>
                                        </p:attrNameLst>
                                      </p:cBhvr>
                                      <p:tavLst>
                                        <p:tav tm="0">
                                          <p:val>
                                            <p:fltVal val="0"/>
                                          </p:val>
                                        </p:tav>
                                        <p:tav tm="100000">
                                          <p:val>
                                            <p:strVal val="#ppt_w"/>
                                          </p:val>
                                        </p:tav>
                                      </p:tavLst>
                                    </p:anim>
                                    <p:anim calcmode="lin" valueType="num">
                                      <p:cBhvr>
                                        <p:cTn id="120" dur="300" fill="hold"/>
                                        <p:tgtEl>
                                          <p:spTgt spid="296"/>
                                        </p:tgtEl>
                                        <p:attrNameLst>
                                          <p:attrName>ppt_h</p:attrName>
                                        </p:attrNameLst>
                                      </p:cBhvr>
                                      <p:tavLst>
                                        <p:tav tm="0">
                                          <p:val>
                                            <p:strVal val="#ppt_h"/>
                                          </p:val>
                                        </p:tav>
                                        <p:tav tm="100000">
                                          <p:val>
                                            <p:strVal val="#ppt_h"/>
                                          </p:val>
                                        </p:tav>
                                      </p:tavLst>
                                    </p:anim>
                                  </p:childTnLst>
                                </p:cTn>
                              </p:par>
                              <p:par>
                                <p:cTn id="121" presetID="17" presetClass="entr" presetSubtype="2" fill="hold" nodeType="withEffect">
                                  <p:stCondLst>
                                    <p:cond delay="500"/>
                                  </p:stCondLst>
                                  <p:childTnLst>
                                    <p:set>
                                      <p:cBhvr>
                                        <p:cTn id="122" dur="1" fill="hold">
                                          <p:stCondLst>
                                            <p:cond delay="0"/>
                                          </p:stCondLst>
                                        </p:cTn>
                                        <p:tgtEl>
                                          <p:spTgt spid="11"/>
                                        </p:tgtEl>
                                        <p:attrNameLst>
                                          <p:attrName>style.visibility</p:attrName>
                                        </p:attrNameLst>
                                      </p:cBhvr>
                                      <p:to>
                                        <p:strVal val="visible"/>
                                      </p:to>
                                    </p:set>
                                    <p:anim calcmode="lin" valueType="num">
                                      <p:cBhvr>
                                        <p:cTn id="123" dur="300" fill="hold"/>
                                        <p:tgtEl>
                                          <p:spTgt spid="11"/>
                                        </p:tgtEl>
                                        <p:attrNameLst>
                                          <p:attrName>ppt_x</p:attrName>
                                        </p:attrNameLst>
                                      </p:cBhvr>
                                      <p:tavLst>
                                        <p:tav tm="0">
                                          <p:val>
                                            <p:strVal val="#ppt_x+#ppt_w/2"/>
                                          </p:val>
                                        </p:tav>
                                        <p:tav tm="100000">
                                          <p:val>
                                            <p:strVal val="#ppt_x"/>
                                          </p:val>
                                        </p:tav>
                                      </p:tavLst>
                                    </p:anim>
                                    <p:anim calcmode="lin" valueType="num">
                                      <p:cBhvr>
                                        <p:cTn id="124" dur="300" fill="hold"/>
                                        <p:tgtEl>
                                          <p:spTgt spid="11"/>
                                        </p:tgtEl>
                                        <p:attrNameLst>
                                          <p:attrName>ppt_y</p:attrName>
                                        </p:attrNameLst>
                                      </p:cBhvr>
                                      <p:tavLst>
                                        <p:tav tm="0">
                                          <p:val>
                                            <p:strVal val="#ppt_y"/>
                                          </p:val>
                                        </p:tav>
                                        <p:tav tm="100000">
                                          <p:val>
                                            <p:strVal val="#ppt_y"/>
                                          </p:val>
                                        </p:tav>
                                      </p:tavLst>
                                    </p:anim>
                                    <p:anim calcmode="lin" valueType="num">
                                      <p:cBhvr>
                                        <p:cTn id="125" dur="300" fill="hold"/>
                                        <p:tgtEl>
                                          <p:spTgt spid="11"/>
                                        </p:tgtEl>
                                        <p:attrNameLst>
                                          <p:attrName>ppt_w</p:attrName>
                                        </p:attrNameLst>
                                      </p:cBhvr>
                                      <p:tavLst>
                                        <p:tav tm="0">
                                          <p:val>
                                            <p:fltVal val="0"/>
                                          </p:val>
                                        </p:tav>
                                        <p:tav tm="100000">
                                          <p:val>
                                            <p:strVal val="#ppt_w"/>
                                          </p:val>
                                        </p:tav>
                                      </p:tavLst>
                                    </p:anim>
                                    <p:anim calcmode="lin" valueType="num">
                                      <p:cBhvr>
                                        <p:cTn id="126" dur="300" fill="hold"/>
                                        <p:tgtEl>
                                          <p:spTgt spid="11"/>
                                        </p:tgtEl>
                                        <p:attrNameLst>
                                          <p:attrName>ppt_h</p:attrName>
                                        </p:attrNameLst>
                                      </p:cBhvr>
                                      <p:tavLst>
                                        <p:tav tm="0">
                                          <p:val>
                                            <p:strVal val="#ppt_h"/>
                                          </p:val>
                                        </p:tav>
                                        <p:tav tm="100000">
                                          <p:val>
                                            <p:strVal val="#ppt_h"/>
                                          </p:val>
                                        </p:tav>
                                      </p:tavLst>
                                    </p:anim>
                                  </p:childTnLst>
                                </p:cTn>
                              </p:par>
                              <p:par>
                                <p:cTn id="127" presetID="10" presetClass="entr" presetSubtype="0" fill="hold" grpId="0" nodeType="withEffect">
                                  <p:stCondLst>
                                    <p:cond delay="800"/>
                                  </p:stCondLst>
                                  <p:childTnLst>
                                    <p:set>
                                      <p:cBhvr>
                                        <p:cTn id="128" dur="1" fill="hold">
                                          <p:stCondLst>
                                            <p:cond delay="0"/>
                                          </p:stCondLst>
                                        </p:cTn>
                                        <p:tgtEl>
                                          <p:spTgt spid="298"/>
                                        </p:tgtEl>
                                        <p:attrNameLst>
                                          <p:attrName>style.visibility</p:attrName>
                                        </p:attrNameLst>
                                      </p:cBhvr>
                                      <p:to>
                                        <p:strVal val="visible"/>
                                      </p:to>
                                    </p:set>
                                    <p:animEffect transition="in" filter="fade">
                                      <p:cBhvr>
                                        <p:cTn id="129" dur="500"/>
                                        <p:tgtEl>
                                          <p:spTgt spid="298"/>
                                        </p:tgtEl>
                                      </p:cBhvr>
                                    </p:animEffect>
                                  </p:childTnLst>
                                </p:cTn>
                              </p:par>
                              <p:par>
                                <p:cTn id="130" presetID="10" presetClass="entr" presetSubtype="0" fill="hold" grpId="0" nodeType="withEffect">
                                  <p:stCondLst>
                                    <p:cond delay="800"/>
                                  </p:stCondLst>
                                  <p:childTnLst>
                                    <p:set>
                                      <p:cBhvr>
                                        <p:cTn id="131" dur="1" fill="hold">
                                          <p:stCondLst>
                                            <p:cond delay="0"/>
                                          </p:stCondLst>
                                        </p:cTn>
                                        <p:tgtEl>
                                          <p:spTgt spid="300"/>
                                        </p:tgtEl>
                                        <p:attrNameLst>
                                          <p:attrName>style.visibility</p:attrName>
                                        </p:attrNameLst>
                                      </p:cBhvr>
                                      <p:to>
                                        <p:strVal val="visible"/>
                                      </p:to>
                                    </p:set>
                                    <p:animEffect transition="in" filter="fade">
                                      <p:cBhvr>
                                        <p:cTn id="132" dur="500"/>
                                        <p:tgtEl>
                                          <p:spTgt spid="300"/>
                                        </p:tgtEl>
                                      </p:cBhvr>
                                    </p:animEffect>
                                  </p:childTnLst>
                                </p:cTn>
                              </p:par>
                              <p:par>
                                <p:cTn id="133" presetID="10" presetClass="entr" presetSubtype="0" fill="hold" grpId="0" nodeType="withEffect">
                                  <p:stCondLst>
                                    <p:cond delay="800"/>
                                  </p:stCondLst>
                                  <p:childTnLst>
                                    <p:set>
                                      <p:cBhvr>
                                        <p:cTn id="134" dur="1" fill="hold">
                                          <p:stCondLst>
                                            <p:cond delay="0"/>
                                          </p:stCondLst>
                                        </p:cTn>
                                        <p:tgtEl>
                                          <p:spTgt spid="3"/>
                                        </p:tgtEl>
                                        <p:attrNameLst>
                                          <p:attrName>style.visibility</p:attrName>
                                        </p:attrNameLst>
                                      </p:cBhvr>
                                      <p:to>
                                        <p:strVal val="visible"/>
                                      </p:to>
                                    </p:set>
                                    <p:animEffect transition="in" filter="fade">
                                      <p:cBhvr>
                                        <p:cTn id="135" dur="500"/>
                                        <p:tgtEl>
                                          <p:spTgt spid="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49">
                                            <p:txEl>
                                              <p:pRg st="4" end="4"/>
                                            </p:txEl>
                                          </p:spTgt>
                                        </p:tgtEl>
                                        <p:attrNameLst>
                                          <p:attrName>style.visibility</p:attrName>
                                        </p:attrNameLst>
                                      </p:cBhvr>
                                      <p:to>
                                        <p:strVal val="visible"/>
                                      </p:to>
                                    </p:set>
                                    <p:animEffect transition="in" filter="fade">
                                      <p:cBhvr>
                                        <p:cTn id="140" dur="500"/>
                                        <p:tgtEl>
                                          <p:spTgt spid="4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P spid="22" grpId="0" animBg="1"/>
      <p:bldP spid="14" grpId="0" animBg="1"/>
      <p:bldP spid="5" grpId="0"/>
      <p:bldP spid="49" grpId="0" uiExpand="1" build="p"/>
      <p:bldP spid="293" grpId="0" animBg="1"/>
      <p:bldP spid="294" grpId="0" animBg="1"/>
      <p:bldP spid="295" grpId="0" animBg="1"/>
      <p:bldP spid="298" grpId="0"/>
      <p:bldP spid="300" grpId="0"/>
      <p:bldP spid="3" grpId="0"/>
      <p:bldP spid="23" grpId="0" animBg="1"/>
      <p:bldP spid="25" grpId="0" animBg="1"/>
      <p:bldP spid="257" grpId="0" animBg="1"/>
      <p:bldP spid="258" grpId="0" animBg="1"/>
      <p:bldP spid="259" grpId="0" animBg="1"/>
      <p:bldP spid="260" grpId="0" animBg="1"/>
      <p:bldP spid="261"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a:extLst>
            <a:ext uri="{FF2B5EF4-FFF2-40B4-BE49-F238E27FC236}">
              <a16:creationId xmlns:a16="http://schemas.microsoft.com/office/drawing/2014/main" id="{2172BC3B-E267-839A-C0E8-1EF8C7C1C32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CAE436C-90C3-9667-2CEF-E231D41EF3BD}"/>
              </a:ext>
            </a:extLst>
          </p:cNvPr>
          <p:cNvSpPr/>
          <p:nvPr/>
        </p:nvSpPr>
        <p:spPr>
          <a:xfrm>
            <a:off x="1685682" y="4981427"/>
            <a:ext cx="980302" cy="1394428"/>
          </a:xfrm>
          <a:prstGeom prst="rect">
            <a:avLst/>
          </a:prstGeom>
          <a:solidFill>
            <a:srgbClr val="FDD78B"/>
          </a:solidFill>
          <a:ln>
            <a:noFill/>
          </a:ln>
          <a:effectLst>
            <a:softEdge rad="48993"/>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23">
            <a:extLst>
              <a:ext uri="{FF2B5EF4-FFF2-40B4-BE49-F238E27FC236}">
                <a16:creationId xmlns:a16="http://schemas.microsoft.com/office/drawing/2014/main" id="{307E5201-BEFC-6EE5-C873-A4A601E5CBE3}"/>
              </a:ext>
            </a:extLst>
          </p:cNvPr>
          <p:cNvSpPr/>
          <p:nvPr/>
        </p:nvSpPr>
        <p:spPr>
          <a:xfrm>
            <a:off x="2157366" y="3694699"/>
            <a:ext cx="1057791" cy="1657996"/>
          </a:xfrm>
          <a:custGeom>
            <a:avLst/>
            <a:gdLst>
              <a:gd name="connsiteX0" fmla="*/ 968271 w 968270"/>
              <a:gd name="connsiteY0" fmla="*/ 0 h 1517680"/>
              <a:gd name="connsiteX1" fmla="*/ 106474 w 968270"/>
              <a:gd name="connsiteY1" fmla="*/ 0 h 1517680"/>
              <a:gd name="connsiteX2" fmla="*/ 0 w 968270"/>
              <a:gd name="connsiteY2" fmla="*/ 106474 h 1517680"/>
              <a:gd name="connsiteX3" fmla="*/ 0 w 968270"/>
              <a:gd name="connsiteY3" fmla="*/ 1517680 h 1517680"/>
            </a:gdLst>
            <a:ahLst/>
            <a:cxnLst>
              <a:cxn ang="0">
                <a:pos x="connsiteX0" y="connsiteY0"/>
              </a:cxn>
              <a:cxn ang="0">
                <a:pos x="connsiteX1" y="connsiteY1"/>
              </a:cxn>
              <a:cxn ang="0">
                <a:pos x="connsiteX2" y="connsiteY2"/>
              </a:cxn>
              <a:cxn ang="0">
                <a:pos x="connsiteX3" y="connsiteY3"/>
              </a:cxn>
            </a:cxnLst>
            <a:rect l="l" t="t" r="r" b="b"/>
            <a:pathLst>
              <a:path w="968270" h="1517680">
                <a:moveTo>
                  <a:pt x="968271" y="0"/>
                </a:moveTo>
                <a:lnTo>
                  <a:pt x="106474" y="0"/>
                </a:lnTo>
                <a:lnTo>
                  <a:pt x="0" y="106474"/>
                </a:lnTo>
                <a:lnTo>
                  <a:pt x="0" y="1517680"/>
                </a:lnTo>
              </a:path>
            </a:pathLst>
          </a:custGeom>
          <a:noFill/>
          <a:ln w="38100" cap="rnd">
            <a:solidFill>
              <a:srgbClr val="F27B21"/>
            </a:solid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5B3ECBC4-8D75-AB6B-3949-4D01E24E4582}"/>
              </a:ext>
            </a:extLst>
          </p:cNvPr>
          <p:cNvSpPr/>
          <p:nvPr/>
        </p:nvSpPr>
        <p:spPr>
          <a:xfrm>
            <a:off x="3843099" y="3457317"/>
            <a:ext cx="5128039" cy="237383"/>
          </a:xfrm>
          <a:custGeom>
            <a:avLst/>
            <a:gdLst>
              <a:gd name="connsiteX0" fmla="*/ 0 w 4694052"/>
              <a:gd name="connsiteY0" fmla="*/ 217293 h 217293"/>
              <a:gd name="connsiteX1" fmla="*/ 3632746 w 4694052"/>
              <a:gd name="connsiteY1" fmla="*/ 217293 h 217293"/>
              <a:gd name="connsiteX2" fmla="*/ 4694053 w 4694052"/>
              <a:gd name="connsiteY2" fmla="*/ 217293 h 217293"/>
              <a:gd name="connsiteX3" fmla="*/ 4694053 w 4694052"/>
              <a:gd name="connsiteY3" fmla="*/ 0 h 217293"/>
            </a:gdLst>
            <a:ahLst/>
            <a:cxnLst>
              <a:cxn ang="0">
                <a:pos x="connsiteX0" y="connsiteY0"/>
              </a:cxn>
              <a:cxn ang="0">
                <a:pos x="connsiteX1" y="connsiteY1"/>
              </a:cxn>
              <a:cxn ang="0">
                <a:pos x="connsiteX2" y="connsiteY2"/>
              </a:cxn>
              <a:cxn ang="0">
                <a:pos x="connsiteX3" y="connsiteY3"/>
              </a:cxn>
            </a:cxnLst>
            <a:rect l="l" t="t" r="r" b="b"/>
            <a:pathLst>
              <a:path w="4694052" h="217293">
                <a:moveTo>
                  <a:pt x="0" y="217293"/>
                </a:moveTo>
                <a:lnTo>
                  <a:pt x="3632746" y="217293"/>
                </a:lnTo>
                <a:lnTo>
                  <a:pt x="4694053" y="217293"/>
                </a:lnTo>
                <a:lnTo>
                  <a:pt x="4694053" y="0"/>
                </a:lnTo>
              </a:path>
            </a:pathLst>
          </a:custGeom>
          <a:noFill/>
          <a:ln w="15875" cap="rnd">
            <a:solidFill>
              <a:srgbClr val="F27B21"/>
            </a:solidFill>
            <a:prstDash val="sysDot"/>
            <a:miter lim="800000"/>
          </a:ln>
        </p:spPr>
        <p:txBody>
          <a:bodyPr rtlCol="0" anchor="ctr"/>
          <a:lstStyle/>
          <a:p>
            <a:endParaRPr lang="en-GB"/>
          </a:p>
        </p:txBody>
      </p:sp>
      <p:grpSp>
        <p:nvGrpSpPr>
          <p:cNvPr id="274" name="Group 273">
            <a:extLst>
              <a:ext uri="{FF2B5EF4-FFF2-40B4-BE49-F238E27FC236}">
                <a16:creationId xmlns:a16="http://schemas.microsoft.com/office/drawing/2014/main" id="{8A41C129-AA7A-4199-2C36-B68A5BAE2298}"/>
              </a:ext>
            </a:extLst>
          </p:cNvPr>
          <p:cNvGrpSpPr/>
          <p:nvPr/>
        </p:nvGrpSpPr>
        <p:grpSpPr>
          <a:xfrm>
            <a:off x="0" y="2923267"/>
            <a:ext cx="12375076" cy="3934733"/>
            <a:chOff x="0" y="2923267"/>
            <a:chExt cx="12375076" cy="3934733"/>
          </a:xfrm>
        </p:grpSpPr>
        <p:grpSp>
          <p:nvGrpSpPr>
            <p:cNvPr id="272" name="Group 271">
              <a:extLst>
                <a:ext uri="{FF2B5EF4-FFF2-40B4-BE49-F238E27FC236}">
                  <a16:creationId xmlns:a16="http://schemas.microsoft.com/office/drawing/2014/main" id="{F4F6E192-1DD5-3D59-97B7-EAC7CAE04F70}"/>
                </a:ext>
              </a:extLst>
            </p:cNvPr>
            <p:cNvGrpSpPr/>
            <p:nvPr/>
          </p:nvGrpSpPr>
          <p:grpSpPr>
            <a:xfrm>
              <a:off x="0" y="2923267"/>
              <a:ext cx="12192000" cy="3934733"/>
              <a:chOff x="0" y="2923267"/>
              <a:chExt cx="12192000" cy="3934733"/>
            </a:xfrm>
          </p:grpSpPr>
          <p:grpSp>
            <p:nvGrpSpPr>
              <p:cNvPr id="271" name="Group 270">
                <a:extLst>
                  <a:ext uri="{FF2B5EF4-FFF2-40B4-BE49-F238E27FC236}">
                    <a16:creationId xmlns:a16="http://schemas.microsoft.com/office/drawing/2014/main" id="{796BFA6B-3FE6-6874-1069-90ABF4E96FE0}"/>
                  </a:ext>
                </a:extLst>
              </p:cNvPr>
              <p:cNvGrpSpPr/>
              <p:nvPr/>
            </p:nvGrpSpPr>
            <p:grpSpPr>
              <a:xfrm>
                <a:off x="0" y="2923267"/>
                <a:ext cx="12192000" cy="3934733"/>
                <a:chOff x="0" y="2923267"/>
                <a:chExt cx="12192000" cy="3934733"/>
              </a:xfrm>
            </p:grpSpPr>
            <p:pic>
              <p:nvPicPr>
                <p:cNvPr id="270" name="Picture 269" descr="A blue crumpled paper&#10;&#10;AI-generated content may be incorrect.">
                  <a:extLst>
                    <a:ext uri="{FF2B5EF4-FFF2-40B4-BE49-F238E27FC236}">
                      <a16:creationId xmlns:a16="http://schemas.microsoft.com/office/drawing/2014/main" id="{C05B5C3E-F337-CC76-2785-6D4EB65E5A2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3"/>
                <a:stretch/>
              </p:blipFill>
              <p:spPr>
                <a:xfrm>
                  <a:off x="0" y="3899388"/>
                  <a:ext cx="12192000" cy="2958612"/>
                </a:xfrm>
                <a:custGeom>
                  <a:avLst/>
                  <a:gdLst>
                    <a:gd name="connsiteX0" fmla="*/ 0 w 12192000"/>
                    <a:gd name="connsiteY0" fmla="*/ 0 h 2958612"/>
                    <a:gd name="connsiteX1" fmla="*/ 2088737 w 12192000"/>
                    <a:gd name="connsiteY1" fmla="*/ 0 h 2958612"/>
                    <a:gd name="connsiteX2" fmla="*/ 2088737 w 12192000"/>
                    <a:gd name="connsiteY2" fmla="*/ 1117521 h 2958612"/>
                    <a:gd name="connsiteX3" fmla="*/ 2000250 w 12192000"/>
                    <a:gd name="connsiteY3" fmla="*/ 1120286 h 2958612"/>
                    <a:gd name="connsiteX4" fmla="*/ 1870075 w 12192000"/>
                    <a:gd name="connsiteY4" fmla="*/ 1247286 h 2958612"/>
                    <a:gd name="connsiteX5" fmla="*/ 1870075 w 12192000"/>
                    <a:gd name="connsiteY5" fmla="*/ 2139461 h 2958612"/>
                    <a:gd name="connsiteX6" fmla="*/ 1876425 w 12192000"/>
                    <a:gd name="connsiteY6" fmla="*/ 2158511 h 2958612"/>
                    <a:gd name="connsiteX7" fmla="*/ 2000250 w 12192000"/>
                    <a:gd name="connsiteY7" fmla="*/ 2275986 h 2958612"/>
                    <a:gd name="connsiteX8" fmla="*/ 2311400 w 12192000"/>
                    <a:gd name="connsiteY8" fmla="*/ 2275986 h 2958612"/>
                    <a:gd name="connsiteX9" fmla="*/ 2444750 w 12192000"/>
                    <a:gd name="connsiteY9" fmla="*/ 2145811 h 2958612"/>
                    <a:gd name="connsiteX10" fmla="*/ 2444750 w 12192000"/>
                    <a:gd name="connsiteY10" fmla="*/ 1244111 h 2958612"/>
                    <a:gd name="connsiteX11" fmla="*/ 2314575 w 12192000"/>
                    <a:gd name="connsiteY11" fmla="*/ 1120286 h 2958612"/>
                    <a:gd name="connsiteX12" fmla="*/ 2225537 w 12192000"/>
                    <a:gd name="connsiteY12" fmla="*/ 1118957 h 2958612"/>
                    <a:gd name="connsiteX13" fmla="*/ 2225537 w 12192000"/>
                    <a:gd name="connsiteY13" fmla="*/ 0 h 2958612"/>
                    <a:gd name="connsiteX14" fmla="*/ 12192000 w 12192000"/>
                    <a:gd name="connsiteY14" fmla="*/ 0 h 2958612"/>
                    <a:gd name="connsiteX15" fmla="*/ 12192000 w 12192000"/>
                    <a:gd name="connsiteY15" fmla="*/ 2958612 h 2958612"/>
                    <a:gd name="connsiteX16" fmla="*/ 0 w 12192000"/>
                    <a:gd name="connsiteY16" fmla="*/ 2958612 h 295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2958612">
                      <a:moveTo>
                        <a:pt x="0" y="0"/>
                      </a:moveTo>
                      <a:lnTo>
                        <a:pt x="2088737" y="0"/>
                      </a:lnTo>
                      <a:lnTo>
                        <a:pt x="2088737" y="1117521"/>
                      </a:lnTo>
                      <a:lnTo>
                        <a:pt x="2000250" y="1120286"/>
                      </a:lnTo>
                      <a:lnTo>
                        <a:pt x="1870075" y="1247286"/>
                      </a:lnTo>
                      <a:lnTo>
                        <a:pt x="1870075" y="2139461"/>
                      </a:lnTo>
                      <a:lnTo>
                        <a:pt x="1876425" y="2158511"/>
                      </a:lnTo>
                      <a:lnTo>
                        <a:pt x="2000250" y="2275986"/>
                      </a:lnTo>
                      <a:lnTo>
                        <a:pt x="2311400" y="2275986"/>
                      </a:lnTo>
                      <a:lnTo>
                        <a:pt x="2444750" y="2145811"/>
                      </a:lnTo>
                      <a:lnTo>
                        <a:pt x="2444750" y="1244111"/>
                      </a:lnTo>
                      <a:lnTo>
                        <a:pt x="2314575" y="1120286"/>
                      </a:lnTo>
                      <a:lnTo>
                        <a:pt x="2225537" y="1118957"/>
                      </a:lnTo>
                      <a:lnTo>
                        <a:pt x="2225537" y="0"/>
                      </a:lnTo>
                      <a:lnTo>
                        <a:pt x="12192000" y="0"/>
                      </a:lnTo>
                      <a:lnTo>
                        <a:pt x="12192000" y="2958612"/>
                      </a:lnTo>
                      <a:lnTo>
                        <a:pt x="0" y="2958612"/>
                      </a:lnTo>
                      <a:close/>
                    </a:path>
                  </a:pathLst>
                </a:custGeom>
              </p:spPr>
            </p:pic>
            <p:sp>
              <p:nvSpPr>
                <p:cNvPr id="21" name="Freeform 20">
                  <a:extLst>
                    <a:ext uri="{FF2B5EF4-FFF2-40B4-BE49-F238E27FC236}">
                      <a16:creationId xmlns:a16="http://schemas.microsoft.com/office/drawing/2014/main" id="{E1BCF094-2D82-1A61-EDD3-F1565E29FCA4}"/>
                    </a:ext>
                  </a:extLst>
                </p:cNvPr>
                <p:cNvSpPr/>
                <p:nvPr/>
              </p:nvSpPr>
              <p:spPr>
                <a:xfrm>
                  <a:off x="1868758" y="3461752"/>
                  <a:ext cx="7440464" cy="2711540"/>
                </a:xfrm>
                <a:custGeom>
                  <a:avLst/>
                  <a:gdLst>
                    <a:gd name="connsiteX0" fmla="*/ 6810777 w 6810776"/>
                    <a:gd name="connsiteY0" fmla="*/ 276134 h 2482062"/>
                    <a:gd name="connsiteX1" fmla="*/ 396732 w 6810776"/>
                    <a:gd name="connsiteY1" fmla="*/ 276134 h 2482062"/>
                    <a:gd name="connsiteX2" fmla="*/ 327084 w 6810776"/>
                    <a:gd name="connsiteY2" fmla="*/ 345782 h 2482062"/>
                    <a:gd name="connsiteX3" fmla="*/ 327084 w 6810776"/>
                    <a:gd name="connsiteY3" fmla="*/ 1425330 h 2482062"/>
                    <a:gd name="connsiteX4" fmla="*/ 409998 w 6810776"/>
                    <a:gd name="connsiteY4" fmla="*/ 1425330 h 2482062"/>
                    <a:gd name="connsiteX5" fmla="*/ 528366 w 6810776"/>
                    <a:gd name="connsiteY5" fmla="*/ 1543756 h 2482062"/>
                    <a:gd name="connsiteX6" fmla="*/ 528366 w 6810776"/>
                    <a:gd name="connsiteY6" fmla="*/ 2363695 h 2482062"/>
                    <a:gd name="connsiteX7" fmla="*/ 409998 w 6810776"/>
                    <a:gd name="connsiteY7" fmla="*/ 2482063 h 2482062"/>
                    <a:gd name="connsiteX8" fmla="*/ 118368 w 6810776"/>
                    <a:gd name="connsiteY8" fmla="*/ 2482063 h 2482062"/>
                    <a:gd name="connsiteX9" fmla="*/ 0 w 6810776"/>
                    <a:gd name="connsiteY9" fmla="*/ 2363695 h 2482062"/>
                    <a:gd name="connsiteX10" fmla="*/ 0 w 6810776"/>
                    <a:gd name="connsiteY10" fmla="*/ 1543756 h 2482062"/>
                    <a:gd name="connsiteX11" fmla="*/ 118368 w 6810776"/>
                    <a:gd name="connsiteY11" fmla="*/ 1425330 h 2482062"/>
                    <a:gd name="connsiteX12" fmla="*/ 201282 w 6810776"/>
                    <a:gd name="connsiteY12" fmla="*/ 1425330 h 2482062"/>
                    <a:gd name="connsiteX13" fmla="*/ 201282 w 6810776"/>
                    <a:gd name="connsiteY13" fmla="*/ 319707 h 2482062"/>
                    <a:gd name="connsiteX14" fmla="*/ 201282 w 6810776"/>
                    <a:gd name="connsiteY14" fmla="*/ 293689 h 2482062"/>
                    <a:gd name="connsiteX15" fmla="*/ 219695 w 6810776"/>
                    <a:gd name="connsiteY15" fmla="*/ 275277 h 2482062"/>
                    <a:gd name="connsiteX16" fmla="*/ 326169 w 6810776"/>
                    <a:gd name="connsiteY16" fmla="*/ 168746 h 2482062"/>
                    <a:gd name="connsiteX17" fmla="*/ 344582 w 6810776"/>
                    <a:gd name="connsiteY17" fmla="*/ 150333 h 2482062"/>
                    <a:gd name="connsiteX18" fmla="*/ 370657 w 6810776"/>
                    <a:gd name="connsiteY18" fmla="*/ 150333 h 2482062"/>
                    <a:gd name="connsiteX19" fmla="*/ 6440692 w 6810776"/>
                    <a:gd name="connsiteY19" fmla="*/ 150333 h 2482062"/>
                    <a:gd name="connsiteX20" fmla="*/ 6440692 w 6810776"/>
                    <a:gd name="connsiteY20" fmla="*/ 0 h 248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10776" h="2482062">
                      <a:moveTo>
                        <a:pt x="6810777" y="276134"/>
                      </a:moveTo>
                      <a:lnTo>
                        <a:pt x="396732" y="276134"/>
                      </a:lnTo>
                      <a:lnTo>
                        <a:pt x="327084" y="345782"/>
                      </a:lnTo>
                      <a:lnTo>
                        <a:pt x="327084" y="1425330"/>
                      </a:lnTo>
                      <a:lnTo>
                        <a:pt x="409998" y="1425330"/>
                      </a:lnTo>
                      <a:lnTo>
                        <a:pt x="528366" y="1543756"/>
                      </a:lnTo>
                      <a:lnTo>
                        <a:pt x="528366" y="2363695"/>
                      </a:lnTo>
                      <a:lnTo>
                        <a:pt x="409998" y="2482063"/>
                      </a:lnTo>
                      <a:lnTo>
                        <a:pt x="118368" y="2482063"/>
                      </a:lnTo>
                      <a:lnTo>
                        <a:pt x="0" y="2363695"/>
                      </a:lnTo>
                      <a:lnTo>
                        <a:pt x="0" y="1543756"/>
                      </a:lnTo>
                      <a:lnTo>
                        <a:pt x="118368" y="1425330"/>
                      </a:lnTo>
                      <a:lnTo>
                        <a:pt x="201282" y="1425330"/>
                      </a:lnTo>
                      <a:lnTo>
                        <a:pt x="201282" y="319707"/>
                      </a:lnTo>
                      <a:lnTo>
                        <a:pt x="201282" y="293689"/>
                      </a:lnTo>
                      <a:lnTo>
                        <a:pt x="219695" y="275277"/>
                      </a:lnTo>
                      <a:lnTo>
                        <a:pt x="326169" y="168746"/>
                      </a:lnTo>
                      <a:lnTo>
                        <a:pt x="344582" y="150333"/>
                      </a:lnTo>
                      <a:lnTo>
                        <a:pt x="370657" y="150333"/>
                      </a:lnTo>
                      <a:lnTo>
                        <a:pt x="6440692" y="150333"/>
                      </a:lnTo>
                      <a:lnTo>
                        <a:pt x="6440692" y="0"/>
                      </a:lnTo>
                    </a:path>
                  </a:pathLst>
                </a:custGeom>
                <a:noFill/>
                <a:ln w="9525" cap="flat">
                  <a:solidFill>
                    <a:srgbClr val="FFFFFF"/>
                  </a:solid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889F9A2B-6C40-E060-0519-5DE49A017BEB}"/>
                    </a:ext>
                  </a:extLst>
                </p:cNvPr>
                <p:cNvSpPr/>
                <p:nvPr/>
              </p:nvSpPr>
              <p:spPr>
                <a:xfrm>
                  <a:off x="9334017" y="3763416"/>
                  <a:ext cx="2314800" cy="0"/>
                </a:xfrm>
                <a:custGeom>
                  <a:avLst/>
                  <a:gdLst>
                    <a:gd name="connsiteX0" fmla="*/ 680472 w 680471"/>
                    <a:gd name="connsiteY0" fmla="*/ 0 h 5718"/>
                    <a:gd name="connsiteX1" fmla="*/ 0 w 680471"/>
                    <a:gd name="connsiteY1" fmla="*/ 0 h 5718"/>
                  </a:gdLst>
                  <a:ahLst/>
                  <a:cxnLst>
                    <a:cxn ang="0">
                      <a:pos x="connsiteX0" y="connsiteY0"/>
                    </a:cxn>
                    <a:cxn ang="0">
                      <a:pos x="connsiteX1" y="connsiteY1"/>
                    </a:cxn>
                  </a:cxnLst>
                  <a:rect l="l" t="t" r="r" b="b"/>
                  <a:pathLst>
                    <a:path w="680471" h="5718">
                      <a:moveTo>
                        <a:pt x="680472" y="0"/>
                      </a:moveTo>
                      <a:lnTo>
                        <a:pt x="0" y="0"/>
                      </a:lnTo>
                    </a:path>
                  </a:pathLst>
                </a:custGeom>
                <a:ln w="9525" cap="flat">
                  <a:solidFill>
                    <a:srgbClr val="FFFFFF"/>
                  </a:solidFill>
                  <a:prstDash val="dash"/>
                  <a:miter/>
                </a:ln>
              </p:spPr>
              <p:txBody>
                <a:bodyPr rtlCol="0" anchor="ctr"/>
                <a:lstStyle/>
                <a:p>
                  <a:endParaRPr lang="en-GB"/>
                </a:p>
              </p:txBody>
            </p:sp>
            <p:sp>
              <p:nvSpPr>
                <p:cNvPr id="259" name="Freeform 258">
                  <a:extLst>
                    <a:ext uri="{FF2B5EF4-FFF2-40B4-BE49-F238E27FC236}">
                      <a16:creationId xmlns:a16="http://schemas.microsoft.com/office/drawing/2014/main" id="{A9A06632-9D39-494B-A105-32D67F439976}"/>
                    </a:ext>
                  </a:extLst>
                </p:cNvPr>
                <p:cNvSpPr/>
                <p:nvPr/>
              </p:nvSpPr>
              <p:spPr>
                <a:xfrm>
                  <a:off x="3194667" y="3323820"/>
                  <a:ext cx="679666" cy="569095"/>
                </a:xfrm>
                <a:custGeom>
                  <a:avLst/>
                  <a:gdLst>
                    <a:gd name="connsiteX0" fmla="*/ 209397 w 679666"/>
                    <a:gd name="connsiteY0" fmla="*/ 0 h 569095"/>
                    <a:gd name="connsiteX1" fmla="*/ 470394 w 679666"/>
                    <a:gd name="connsiteY1" fmla="*/ 0 h 569095"/>
                    <a:gd name="connsiteX2" fmla="*/ 470394 w 679666"/>
                    <a:gd name="connsiteY2" fmla="*/ 35045 h 569095"/>
                    <a:gd name="connsiteX3" fmla="*/ 560537 w 679666"/>
                    <a:gd name="connsiteY3" fmla="*/ 35045 h 569095"/>
                    <a:gd name="connsiteX4" fmla="*/ 679666 w 679666"/>
                    <a:gd name="connsiteY4" fmla="*/ 140243 h 569095"/>
                    <a:gd name="connsiteX5" fmla="*/ 679666 w 679666"/>
                    <a:gd name="connsiteY5" fmla="*/ 569095 h 569095"/>
                    <a:gd name="connsiteX6" fmla="*/ 0 w 679666"/>
                    <a:gd name="connsiteY6" fmla="*/ 569095 h 569095"/>
                    <a:gd name="connsiteX7" fmla="*/ 0 w 679666"/>
                    <a:gd name="connsiteY7" fmla="*/ 140243 h 569095"/>
                    <a:gd name="connsiteX8" fmla="*/ 124688 w 679666"/>
                    <a:gd name="connsiteY8" fmla="*/ 35045 h 569095"/>
                    <a:gd name="connsiteX9" fmla="*/ 209397 w 679666"/>
                    <a:gd name="connsiteY9" fmla="*/ 35045 h 56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666" h="569095">
                      <a:moveTo>
                        <a:pt x="209397" y="0"/>
                      </a:moveTo>
                      <a:lnTo>
                        <a:pt x="470394" y="0"/>
                      </a:lnTo>
                      <a:lnTo>
                        <a:pt x="470394" y="35045"/>
                      </a:lnTo>
                      <a:lnTo>
                        <a:pt x="560537" y="35045"/>
                      </a:lnTo>
                      <a:lnTo>
                        <a:pt x="679666" y="140243"/>
                      </a:lnTo>
                      <a:lnTo>
                        <a:pt x="679666" y="569095"/>
                      </a:lnTo>
                      <a:lnTo>
                        <a:pt x="0" y="569095"/>
                      </a:lnTo>
                      <a:lnTo>
                        <a:pt x="0" y="140243"/>
                      </a:lnTo>
                      <a:lnTo>
                        <a:pt x="124688" y="35045"/>
                      </a:lnTo>
                      <a:lnTo>
                        <a:pt x="209397" y="35045"/>
                      </a:lnTo>
                      <a:close/>
                    </a:path>
                  </a:pathLst>
                </a:custGeom>
                <a:solidFill>
                  <a:srgbClr val="FFFFFF"/>
                </a:solidFill>
                <a:ln w="0" cap="flat">
                  <a:noFill/>
                  <a:prstDash val="solid"/>
                  <a:miter/>
                </a:ln>
              </p:spPr>
              <p:txBody>
                <a:bodyPr rtlCol="0" anchor="ctr"/>
                <a:lstStyle/>
                <a:p>
                  <a:endParaRPr lang="en-GB"/>
                </a:p>
              </p:txBody>
            </p:sp>
            <p:grpSp>
              <p:nvGrpSpPr>
                <p:cNvPr id="258" name="Group 257">
                  <a:extLst>
                    <a:ext uri="{FF2B5EF4-FFF2-40B4-BE49-F238E27FC236}">
                      <a16:creationId xmlns:a16="http://schemas.microsoft.com/office/drawing/2014/main" id="{20910A7F-634E-DB25-BEC9-C35F3885215D}"/>
                    </a:ext>
                  </a:extLst>
                </p:cNvPr>
                <p:cNvGrpSpPr/>
                <p:nvPr/>
              </p:nvGrpSpPr>
              <p:grpSpPr>
                <a:xfrm>
                  <a:off x="3251390" y="3628108"/>
                  <a:ext cx="566220" cy="201026"/>
                  <a:chOff x="3244644" y="3628108"/>
                  <a:chExt cx="566220" cy="201026"/>
                </a:xfrm>
              </p:grpSpPr>
              <p:sp>
                <p:nvSpPr>
                  <p:cNvPr id="28" name="Freeform 27">
                    <a:extLst>
                      <a:ext uri="{FF2B5EF4-FFF2-40B4-BE49-F238E27FC236}">
                        <a16:creationId xmlns:a16="http://schemas.microsoft.com/office/drawing/2014/main" id="{4767D2E0-19A2-D2D0-CF09-4597119BFC2A}"/>
                      </a:ext>
                    </a:extLst>
                  </p:cNvPr>
                  <p:cNvSpPr/>
                  <p:nvPr/>
                </p:nvSpPr>
                <p:spPr>
                  <a:xfrm>
                    <a:off x="3244644" y="3628108"/>
                    <a:ext cx="566220" cy="0"/>
                  </a:xfrm>
                  <a:custGeom>
                    <a:avLst/>
                    <a:gdLst>
                      <a:gd name="connsiteX0" fmla="*/ 0 w 518301"/>
                      <a:gd name="connsiteY0" fmla="*/ 0 h 5718"/>
                      <a:gd name="connsiteX1" fmla="*/ 518302 w 518301"/>
                      <a:gd name="connsiteY1" fmla="*/ 0 h 5718"/>
                    </a:gdLst>
                    <a:ahLst/>
                    <a:cxnLst>
                      <a:cxn ang="0">
                        <a:pos x="connsiteX0" y="connsiteY0"/>
                      </a:cxn>
                      <a:cxn ang="0">
                        <a:pos x="connsiteX1" y="connsiteY1"/>
                      </a:cxn>
                    </a:cxnLst>
                    <a:rect l="l" t="t" r="r" b="b"/>
                    <a:pathLst>
                      <a:path w="518301" h="5718">
                        <a:moveTo>
                          <a:pt x="0" y="0"/>
                        </a:moveTo>
                        <a:lnTo>
                          <a:pt x="518302" y="0"/>
                        </a:lnTo>
                      </a:path>
                    </a:pathLst>
                  </a:custGeom>
                  <a:ln w="12700" cap="flat">
                    <a:solidFill>
                      <a:schemeClr val="accent5"/>
                    </a:solid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211F9589-6F21-D8CE-F5BD-93E7CC867858}"/>
                      </a:ext>
                    </a:extLst>
                  </p:cNvPr>
                  <p:cNvSpPr/>
                  <p:nvPr/>
                </p:nvSpPr>
                <p:spPr>
                  <a:xfrm>
                    <a:off x="3244644" y="3695137"/>
                    <a:ext cx="566220" cy="0"/>
                  </a:xfrm>
                  <a:custGeom>
                    <a:avLst/>
                    <a:gdLst>
                      <a:gd name="connsiteX0" fmla="*/ 0 w 518301"/>
                      <a:gd name="connsiteY0" fmla="*/ 0 h 5718"/>
                      <a:gd name="connsiteX1" fmla="*/ 518302 w 518301"/>
                      <a:gd name="connsiteY1" fmla="*/ 0 h 5718"/>
                    </a:gdLst>
                    <a:ahLst/>
                    <a:cxnLst>
                      <a:cxn ang="0">
                        <a:pos x="connsiteX0" y="connsiteY0"/>
                      </a:cxn>
                      <a:cxn ang="0">
                        <a:pos x="connsiteX1" y="connsiteY1"/>
                      </a:cxn>
                    </a:cxnLst>
                    <a:rect l="l" t="t" r="r" b="b"/>
                    <a:pathLst>
                      <a:path w="518301" h="5718">
                        <a:moveTo>
                          <a:pt x="0" y="0"/>
                        </a:moveTo>
                        <a:lnTo>
                          <a:pt x="518302" y="0"/>
                        </a:lnTo>
                      </a:path>
                    </a:pathLst>
                  </a:custGeom>
                  <a:ln w="12700" cap="flat">
                    <a:solidFill>
                      <a:schemeClr val="accent5"/>
                    </a:solid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0BBF9EEB-17CE-152A-B8A8-8D9DD2F8C2CA}"/>
                      </a:ext>
                    </a:extLst>
                  </p:cNvPr>
                  <p:cNvSpPr/>
                  <p:nvPr/>
                </p:nvSpPr>
                <p:spPr>
                  <a:xfrm>
                    <a:off x="3244644" y="3762104"/>
                    <a:ext cx="566220" cy="0"/>
                  </a:xfrm>
                  <a:custGeom>
                    <a:avLst/>
                    <a:gdLst>
                      <a:gd name="connsiteX0" fmla="*/ 0 w 518301"/>
                      <a:gd name="connsiteY0" fmla="*/ 0 h 5718"/>
                      <a:gd name="connsiteX1" fmla="*/ 518302 w 518301"/>
                      <a:gd name="connsiteY1" fmla="*/ 0 h 5718"/>
                    </a:gdLst>
                    <a:ahLst/>
                    <a:cxnLst>
                      <a:cxn ang="0">
                        <a:pos x="connsiteX0" y="connsiteY0"/>
                      </a:cxn>
                      <a:cxn ang="0">
                        <a:pos x="connsiteX1" y="connsiteY1"/>
                      </a:cxn>
                    </a:cxnLst>
                    <a:rect l="l" t="t" r="r" b="b"/>
                    <a:pathLst>
                      <a:path w="518301" h="5718">
                        <a:moveTo>
                          <a:pt x="0" y="0"/>
                        </a:moveTo>
                        <a:lnTo>
                          <a:pt x="518302" y="0"/>
                        </a:lnTo>
                      </a:path>
                    </a:pathLst>
                  </a:custGeom>
                  <a:ln w="12700" cap="flat">
                    <a:solidFill>
                      <a:schemeClr val="accent5"/>
                    </a:solid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4DDC94AE-324B-6427-4278-8F305C4D4CCB}"/>
                      </a:ext>
                    </a:extLst>
                  </p:cNvPr>
                  <p:cNvSpPr/>
                  <p:nvPr/>
                </p:nvSpPr>
                <p:spPr>
                  <a:xfrm>
                    <a:off x="3244644" y="3829134"/>
                    <a:ext cx="566220" cy="0"/>
                  </a:xfrm>
                  <a:custGeom>
                    <a:avLst/>
                    <a:gdLst>
                      <a:gd name="connsiteX0" fmla="*/ 0 w 518301"/>
                      <a:gd name="connsiteY0" fmla="*/ 0 h 5718"/>
                      <a:gd name="connsiteX1" fmla="*/ 518302 w 518301"/>
                      <a:gd name="connsiteY1" fmla="*/ 0 h 5718"/>
                    </a:gdLst>
                    <a:ahLst/>
                    <a:cxnLst>
                      <a:cxn ang="0">
                        <a:pos x="connsiteX0" y="connsiteY0"/>
                      </a:cxn>
                      <a:cxn ang="0">
                        <a:pos x="connsiteX1" y="connsiteY1"/>
                      </a:cxn>
                    </a:cxnLst>
                    <a:rect l="l" t="t" r="r" b="b"/>
                    <a:pathLst>
                      <a:path w="518301" h="5718">
                        <a:moveTo>
                          <a:pt x="0" y="0"/>
                        </a:moveTo>
                        <a:lnTo>
                          <a:pt x="518302" y="0"/>
                        </a:lnTo>
                      </a:path>
                    </a:pathLst>
                  </a:custGeom>
                  <a:ln w="12700" cap="flat">
                    <a:solidFill>
                      <a:schemeClr val="accent5"/>
                    </a:solidFill>
                    <a:prstDash val="solid"/>
                    <a:miter/>
                  </a:ln>
                </p:spPr>
                <p:txBody>
                  <a:bodyPr rtlCol="0" anchor="ctr"/>
                  <a:lstStyle/>
                  <a:p>
                    <a:endParaRPr lang="en-GB"/>
                  </a:p>
                </p:txBody>
              </p:sp>
            </p:grpSp>
            <p:sp>
              <p:nvSpPr>
                <p:cNvPr id="58" name="Freeform 57">
                  <a:extLst>
                    <a:ext uri="{FF2B5EF4-FFF2-40B4-BE49-F238E27FC236}">
                      <a16:creationId xmlns:a16="http://schemas.microsoft.com/office/drawing/2014/main" id="{C2CB746F-0ABA-3505-77A8-78767EF2833C}"/>
                    </a:ext>
                  </a:extLst>
                </p:cNvPr>
                <p:cNvSpPr/>
                <p:nvPr/>
              </p:nvSpPr>
              <p:spPr>
                <a:xfrm>
                  <a:off x="9334017" y="3625983"/>
                  <a:ext cx="2314800" cy="0"/>
                </a:xfrm>
                <a:custGeom>
                  <a:avLst/>
                  <a:gdLst>
                    <a:gd name="connsiteX0" fmla="*/ 0 w 680471"/>
                    <a:gd name="connsiteY0" fmla="*/ 0 h 5718"/>
                    <a:gd name="connsiteX1" fmla="*/ 680472 w 680471"/>
                    <a:gd name="connsiteY1" fmla="*/ 0 h 5718"/>
                  </a:gdLst>
                  <a:ahLst/>
                  <a:cxnLst>
                    <a:cxn ang="0">
                      <a:pos x="connsiteX0" y="connsiteY0"/>
                    </a:cxn>
                    <a:cxn ang="0">
                      <a:pos x="connsiteX1" y="connsiteY1"/>
                    </a:cxn>
                  </a:cxnLst>
                  <a:rect l="l" t="t" r="r" b="b"/>
                  <a:pathLst>
                    <a:path w="680471" h="5718">
                      <a:moveTo>
                        <a:pt x="0" y="0"/>
                      </a:moveTo>
                      <a:lnTo>
                        <a:pt x="680472" y="0"/>
                      </a:lnTo>
                    </a:path>
                  </a:pathLst>
                </a:custGeom>
                <a:ln w="9525" cap="flat">
                  <a:solidFill>
                    <a:srgbClr val="FFFFFF"/>
                  </a:solidFill>
                  <a:prstDash val="dash"/>
                  <a:miter/>
                </a:ln>
              </p:spPr>
              <p:txBody>
                <a:bodyPr rtlCol="0" anchor="ctr"/>
                <a:lstStyle/>
                <a:p>
                  <a:endParaRPr lang="en-GB"/>
                </a:p>
              </p:txBody>
            </p:sp>
            <p:sp>
              <p:nvSpPr>
                <p:cNvPr id="19" name="Freeform 18">
                  <a:extLst>
                    <a:ext uri="{FF2B5EF4-FFF2-40B4-BE49-F238E27FC236}">
                      <a16:creationId xmlns:a16="http://schemas.microsoft.com/office/drawing/2014/main" id="{F1057D8D-D625-1E58-EE67-801255B2CA4E}"/>
                    </a:ext>
                  </a:extLst>
                </p:cNvPr>
                <p:cNvSpPr/>
                <p:nvPr/>
              </p:nvSpPr>
              <p:spPr>
                <a:xfrm>
                  <a:off x="8361376" y="2923267"/>
                  <a:ext cx="1219525" cy="534049"/>
                </a:xfrm>
                <a:custGeom>
                  <a:avLst/>
                  <a:gdLst>
                    <a:gd name="connsiteX0" fmla="*/ 1002180 w 1116316"/>
                    <a:gd name="connsiteY0" fmla="*/ 0 h 488852"/>
                    <a:gd name="connsiteX1" fmla="*/ 558730 w 1116316"/>
                    <a:gd name="connsiteY1" fmla="*/ 0 h 488852"/>
                    <a:gd name="connsiteX2" fmla="*/ 557529 w 1116316"/>
                    <a:gd name="connsiteY2" fmla="*/ 0 h 488852"/>
                    <a:gd name="connsiteX3" fmla="*/ 114136 w 1116316"/>
                    <a:gd name="connsiteY3" fmla="*/ 0 h 488852"/>
                    <a:gd name="connsiteX4" fmla="*/ 0 w 1116316"/>
                    <a:gd name="connsiteY4" fmla="*/ 96295 h 488852"/>
                    <a:gd name="connsiteX5" fmla="*/ 0 w 1116316"/>
                    <a:gd name="connsiteY5" fmla="*/ 488853 h 488852"/>
                    <a:gd name="connsiteX6" fmla="*/ 557529 w 1116316"/>
                    <a:gd name="connsiteY6" fmla="*/ 488853 h 488852"/>
                    <a:gd name="connsiteX7" fmla="*/ 558730 w 1116316"/>
                    <a:gd name="connsiteY7" fmla="*/ 488853 h 488852"/>
                    <a:gd name="connsiteX8" fmla="*/ 1116316 w 1116316"/>
                    <a:gd name="connsiteY8" fmla="*/ 488853 h 488852"/>
                    <a:gd name="connsiteX9" fmla="*/ 1116316 w 1116316"/>
                    <a:gd name="connsiteY9" fmla="*/ 96295 h 488852"/>
                    <a:gd name="connsiteX10" fmla="*/ 1002180 w 1116316"/>
                    <a:gd name="connsiteY10" fmla="*/ 0 h 48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6316" h="488852">
                      <a:moveTo>
                        <a:pt x="1002180" y="0"/>
                      </a:moveTo>
                      <a:lnTo>
                        <a:pt x="558730" y="0"/>
                      </a:lnTo>
                      <a:lnTo>
                        <a:pt x="557529" y="0"/>
                      </a:lnTo>
                      <a:lnTo>
                        <a:pt x="114136" y="0"/>
                      </a:lnTo>
                      <a:lnTo>
                        <a:pt x="0" y="96295"/>
                      </a:lnTo>
                      <a:lnTo>
                        <a:pt x="0" y="488853"/>
                      </a:lnTo>
                      <a:lnTo>
                        <a:pt x="557529" y="488853"/>
                      </a:lnTo>
                      <a:lnTo>
                        <a:pt x="558730" y="488853"/>
                      </a:lnTo>
                      <a:lnTo>
                        <a:pt x="1116316" y="488853"/>
                      </a:lnTo>
                      <a:lnTo>
                        <a:pt x="1116316" y="96295"/>
                      </a:lnTo>
                      <a:lnTo>
                        <a:pt x="1002180" y="0"/>
                      </a:lnTo>
                      <a:close/>
                    </a:path>
                  </a:pathLst>
                </a:custGeom>
                <a:solidFill>
                  <a:schemeClr val="accent5"/>
                </a:solidFill>
                <a:ln w="9525" cap="flat">
                  <a:solidFill>
                    <a:srgbClr val="FFFFFF"/>
                  </a:solidFill>
                  <a:prstDash val="solid"/>
                  <a:miter/>
                </a:ln>
              </p:spPr>
              <p:txBody>
                <a:bodyPr rtlCol="0" anchor="ctr"/>
                <a:lstStyle/>
                <a:p>
                  <a:endParaRPr lang="en-GB"/>
                </a:p>
              </p:txBody>
            </p:sp>
            <p:grpSp>
              <p:nvGrpSpPr>
                <p:cNvPr id="257" name="Group 256">
                  <a:extLst>
                    <a:ext uri="{FF2B5EF4-FFF2-40B4-BE49-F238E27FC236}">
                      <a16:creationId xmlns:a16="http://schemas.microsoft.com/office/drawing/2014/main" id="{54DD116B-F955-E2E7-CCC4-56324FD6A315}"/>
                    </a:ext>
                  </a:extLst>
                </p:cNvPr>
                <p:cNvGrpSpPr/>
                <p:nvPr/>
              </p:nvGrpSpPr>
              <p:grpSpPr>
                <a:xfrm>
                  <a:off x="8528106" y="3065072"/>
                  <a:ext cx="886064" cy="279549"/>
                  <a:chOff x="8528106" y="3065072"/>
                  <a:chExt cx="886064" cy="279549"/>
                </a:xfrm>
              </p:grpSpPr>
              <p:sp>
                <p:nvSpPr>
                  <p:cNvPr id="32" name="Freeform 31">
                    <a:extLst>
                      <a:ext uri="{FF2B5EF4-FFF2-40B4-BE49-F238E27FC236}">
                        <a16:creationId xmlns:a16="http://schemas.microsoft.com/office/drawing/2014/main" id="{3ECE2500-46EB-3909-E487-054B31CF890E}"/>
                      </a:ext>
                    </a:extLst>
                  </p:cNvPr>
                  <p:cNvSpPr/>
                  <p:nvPr/>
                </p:nvSpPr>
                <p:spPr>
                  <a:xfrm>
                    <a:off x="8587078" y="3065072"/>
                    <a:ext cx="84708" cy="279487"/>
                  </a:xfrm>
                  <a:custGeom>
                    <a:avLst/>
                    <a:gdLst>
                      <a:gd name="connsiteX0" fmla="*/ 77539 w 77539"/>
                      <a:gd name="connsiteY0" fmla="*/ 233991 h 255834"/>
                      <a:gd name="connsiteX1" fmla="*/ 49691 w 77539"/>
                      <a:gd name="connsiteY1" fmla="*/ 255835 h 255834"/>
                      <a:gd name="connsiteX2" fmla="*/ 0 w 77539"/>
                      <a:gd name="connsiteY2" fmla="*/ 127917 h 255834"/>
                      <a:gd name="connsiteX3" fmla="*/ 39742 w 77539"/>
                      <a:gd name="connsiteY3" fmla="*/ 2573 h 255834"/>
                      <a:gd name="connsiteX4" fmla="*/ 46603 w 77539"/>
                      <a:gd name="connsiteY4" fmla="*/ 0 h 255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39" h="255834">
                        <a:moveTo>
                          <a:pt x="77539" y="233991"/>
                        </a:moveTo>
                        <a:cubicBezTo>
                          <a:pt x="69591" y="247772"/>
                          <a:pt x="60042" y="255835"/>
                          <a:pt x="49691" y="255835"/>
                        </a:cubicBezTo>
                        <a:cubicBezTo>
                          <a:pt x="22243" y="255835"/>
                          <a:pt x="0" y="198595"/>
                          <a:pt x="0" y="127917"/>
                        </a:cubicBezTo>
                        <a:cubicBezTo>
                          <a:pt x="0" y="66103"/>
                          <a:pt x="17040" y="14582"/>
                          <a:pt x="39742" y="2573"/>
                        </a:cubicBezTo>
                        <a:cubicBezTo>
                          <a:pt x="39742" y="2573"/>
                          <a:pt x="44430" y="0"/>
                          <a:pt x="46603" y="0"/>
                        </a:cubicBezTo>
                      </a:path>
                    </a:pathLst>
                  </a:custGeom>
                  <a:noFill/>
                  <a:ln w="9525" cap="flat">
                    <a:solidFill>
                      <a:schemeClr val="bg1"/>
                    </a:solidFill>
                    <a:prstDash val="solid"/>
                    <a:round/>
                  </a:ln>
                </p:spPr>
                <p:txBody>
                  <a:bodyPr rtlCol="0" anchor="ctr"/>
                  <a:lstStyle/>
                  <a:p>
                    <a:endParaRPr lang="en-GB"/>
                  </a:p>
                </p:txBody>
              </p:sp>
              <p:sp>
                <p:nvSpPr>
                  <p:cNvPr id="33" name="Freeform 32">
                    <a:extLst>
                      <a:ext uri="{FF2B5EF4-FFF2-40B4-BE49-F238E27FC236}">
                        <a16:creationId xmlns:a16="http://schemas.microsoft.com/office/drawing/2014/main" id="{E07342CA-78E7-197B-FCB8-AA57A865EDBB}"/>
                      </a:ext>
                    </a:extLst>
                  </p:cNvPr>
                  <p:cNvSpPr/>
                  <p:nvPr/>
                </p:nvSpPr>
                <p:spPr>
                  <a:xfrm>
                    <a:off x="8567462" y="3065134"/>
                    <a:ext cx="103761" cy="279487"/>
                  </a:xfrm>
                  <a:custGeom>
                    <a:avLst/>
                    <a:gdLst>
                      <a:gd name="connsiteX0" fmla="*/ 94980 w 94980"/>
                      <a:gd name="connsiteY0" fmla="*/ 20872 h 255834"/>
                      <a:gd name="connsiteX1" fmla="*/ 67704 w 94980"/>
                      <a:gd name="connsiteY1" fmla="*/ 0 h 255834"/>
                      <a:gd name="connsiteX2" fmla="*/ 49691 w 94980"/>
                      <a:gd name="connsiteY2" fmla="*/ 0 h 255834"/>
                      <a:gd name="connsiteX3" fmla="*/ 0 w 94980"/>
                      <a:gd name="connsiteY3" fmla="*/ 127917 h 255834"/>
                      <a:gd name="connsiteX4" fmla="*/ 49691 w 94980"/>
                      <a:gd name="connsiteY4" fmla="*/ 255834 h 255834"/>
                      <a:gd name="connsiteX5" fmla="*/ 67704 w 94980"/>
                      <a:gd name="connsiteY5" fmla="*/ 255834 h 25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80" h="255834">
                        <a:moveTo>
                          <a:pt x="94980" y="20872"/>
                        </a:moveTo>
                        <a:cubicBezTo>
                          <a:pt x="87146" y="7662"/>
                          <a:pt x="77825" y="0"/>
                          <a:pt x="67704" y="0"/>
                        </a:cubicBezTo>
                        <a:lnTo>
                          <a:pt x="49691" y="0"/>
                        </a:lnTo>
                        <a:cubicBezTo>
                          <a:pt x="22244" y="0"/>
                          <a:pt x="0" y="57240"/>
                          <a:pt x="0" y="127917"/>
                        </a:cubicBezTo>
                        <a:cubicBezTo>
                          <a:pt x="0" y="198595"/>
                          <a:pt x="22301" y="255834"/>
                          <a:pt x="49691" y="255834"/>
                        </a:cubicBezTo>
                        <a:lnTo>
                          <a:pt x="67704" y="255834"/>
                        </a:lnTo>
                      </a:path>
                    </a:pathLst>
                  </a:custGeom>
                  <a:noFill/>
                  <a:ln w="9525" cap="flat">
                    <a:solidFill>
                      <a:schemeClr val="bg1"/>
                    </a:solidFill>
                    <a:prstDash val="solid"/>
                    <a:round/>
                  </a:ln>
                </p:spPr>
                <p:txBody>
                  <a:bodyPr rtlCol="0" anchor="ctr"/>
                  <a:lstStyle/>
                  <a:p>
                    <a:endParaRPr lang="en-GB"/>
                  </a:p>
                </p:txBody>
              </p:sp>
              <p:sp>
                <p:nvSpPr>
                  <p:cNvPr id="34" name="Freeform 33">
                    <a:extLst>
                      <a:ext uri="{FF2B5EF4-FFF2-40B4-BE49-F238E27FC236}">
                        <a16:creationId xmlns:a16="http://schemas.microsoft.com/office/drawing/2014/main" id="{2D9C4894-CD99-8625-71AA-1DD3F51D60B0}"/>
                      </a:ext>
                    </a:extLst>
                  </p:cNvPr>
                  <p:cNvSpPr/>
                  <p:nvPr/>
                </p:nvSpPr>
                <p:spPr>
                  <a:xfrm>
                    <a:off x="9270117" y="3065072"/>
                    <a:ext cx="84708" cy="279487"/>
                  </a:xfrm>
                  <a:custGeom>
                    <a:avLst/>
                    <a:gdLst>
                      <a:gd name="connsiteX0" fmla="*/ 0 w 77539"/>
                      <a:gd name="connsiteY0" fmla="*/ 233991 h 255834"/>
                      <a:gd name="connsiteX1" fmla="*/ 27848 w 77539"/>
                      <a:gd name="connsiteY1" fmla="*/ 255835 h 255834"/>
                      <a:gd name="connsiteX2" fmla="*/ 77539 w 77539"/>
                      <a:gd name="connsiteY2" fmla="*/ 127917 h 255834"/>
                      <a:gd name="connsiteX3" fmla="*/ 37798 w 77539"/>
                      <a:gd name="connsiteY3" fmla="*/ 2573 h 255834"/>
                      <a:gd name="connsiteX4" fmla="*/ 30936 w 77539"/>
                      <a:gd name="connsiteY4" fmla="*/ 0 h 255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39" h="255834">
                        <a:moveTo>
                          <a:pt x="0" y="233991"/>
                        </a:moveTo>
                        <a:cubicBezTo>
                          <a:pt x="7948" y="247772"/>
                          <a:pt x="17497" y="255835"/>
                          <a:pt x="27848" y="255835"/>
                        </a:cubicBezTo>
                        <a:cubicBezTo>
                          <a:pt x="55295" y="255835"/>
                          <a:pt x="77539" y="198595"/>
                          <a:pt x="77539" y="127917"/>
                        </a:cubicBezTo>
                        <a:cubicBezTo>
                          <a:pt x="77539" y="66103"/>
                          <a:pt x="60499" y="14582"/>
                          <a:pt x="37798" y="2573"/>
                        </a:cubicBezTo>
                        <a:cubicBezTo>
                          <a:pt x="37798" y="2573"/>
                          <a:pt x="33109" y="0"/>
                          <a:pt x="30936" y="0"/>
                        </a:cubicBezTo>
                      </a:path>
                    </a:pathLst>
                  </a:custGeom>
                  <a:noFill/>
                  <a:ln w="9525" cap="flat">
                    <a:solidFill>
                      <a:schemeClr val="bg1"/>
                    </a:solidFill>
                    <a:prstDash val="solid"/>
                    <a:round/>
                  </a:ln>
                </p:spPr>
                <p:txBody>
                  <a:bodyPr rtlCol="0" anchor="ctr"/>
                  <a:lstStyle/>
                  <a:p>
                    <a:endParaRPr lang="en-GB"/>
                  </a:p>
                </p:txBody>
              </p:sp>
              <p:sp>
                <p:nvSpPr>
                  <p:cNvPr id="35" name="Freeform 34">
                    <a:extLst>
                      <a:ext uri="{FF2B5EF4-FFF2-40B4-BE49-F238E27FC236}">
                        <a16:creationId xmlns:a16="http://schemas.microsoft.com/office/drawing/2014/main" id="{925C87F5-ECD9-FC63-70D5-DB3D85951D4A}"/>
                      </a:ext>
                    </a:extLst>
                  </p:cNvPr>
                  <p:cNvSpPr/>
                  <p:nvPr/>
                </p:nvSpPr>
                <p:spPr>
                  <a:xfrm>
                    <a:off x="9270740" y="3065134"/>
                    <a:ext cx="103761" cy="279487"/>
                  </a:xfrm>
                  <a:custGeom>
                    <a:avLst/>
                    <a:gdLst>
                      <a:gd name="connsiteX0" fmla="*/ 0 w 94980"/>
                      <a:gd name="connsiteY0" fmla="*/ 20872 h 255834"/>
                      <a:gd name="connsiteX1" fmla="*/ 27276 w 94980"/>
                      <a:gd name="connsiteY1" fmla="*/ 0 h 255834"/>
                      <a:gd name="connsiteX2" fmla="*/ 45289 w 94980"/>
                      <a:gd name="connsiteY2" fmla="*/ 0 h 255834"/>
                      <a:gd name="connsiteX3" fmla="*/ 94980 w 94980"/>
                      <a:gd name="connsiteY3" fmla="*/ 127917 h 255834"/>
                      <a:gd name="connsiteX4" fmla="*/ 45289 w 94980"/>
                      <a:gd name="connsiteY4" fmla="*/ 255834 h 255834"/>
                      <a:gd name="connsiteX5" fmla="*/ 27276 w 94980"/>
                      <a:gd name="connsiteY5" fmla="*/ 255834 h 25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80" h="255834">
                        <a:moveTo>
                          <a:pt x="0" y="20872"/>
                        </a:moveTo>
                        <a:cubicBezTo>
                          <a:pt x="7834" y="7662"/>
                          <a:pt x="17155" y="0"/>
                          <a:pt x="27276" y="0"/>
                        </a:cubicBezTo>
                        <a:lnTo>
                          <a:pt x="45289" y="0"/>
                        </a:lnTo>
                        <a:cubicBezTo>
                          <a:pt x="72736" y="0"/>
                          <a:pt x="94980" y="57240"/>
                          <a:pt x="94980" y="127917"/>
                        </a:cubicBezTo>
                        <a:cubicBezTo>
                          <a:pt x="94980" y="198595"/>
                          <a:pt x="72679" y="255834"/>
                          <a:pt x="45289" y="255834"/>
                        </a:cubicBezTo>
                        <a:lnTo>
                          <a:pt x="27276" y="255834"/>
                        </a:lnTo>
                      </a:path>
                    </a:pathLst>
                  </a:custGeom>
                  <a:noFill/>
                  <a:ln w="9525" cap="flat">
                    <a:solidFill>
                      <a:schemeClr val="bg1"/>
                    </a:solidFill>
                    <a:prstDash val="solid"/>
                    <a:round/>
                  </a:ln>
                </p:spPr>
                <p:txBody>
                  <a:bodyPr rtlCol="0" anchor="ctr"/>
                  <a:lstStyle/>
                  <a:p>
                    <a:endParaRPr lang="en-GB"/>
                  </a:p>
                </p:txBody>
              </p:sp>
              <p:sp>
                <p:nvSpPr>
                  <p:cNvPr id="36" name="Freeform 35">
                    <a:extLst>
                      <a:ext uri="{FF2B5EF4-FFF2-40B4-BE49-F238E27FC236}">
                        <a16:creationId xmlns:a16="http://schemas.microsoft.com/office/drawing/2014/main" id="{9C216C61-44A4-AFA7-30E6-8BD99ADD8699}"/>
                      </a:ext>
                    </a:extLst>
                  </p:cNvPr>
                  <p:cNvSpPr/>
                  <p:nvPr/>
                </p:nvSpPr>
                <p:spPr>
                  <a:xfrm>
                    <a:off x="8549409" y="3118920"/>
                    <a:ext cx="28422" cy="18053"/>
                  </a:xfrm>
                  <a:custGeom>
                    <a:avLst/>
                    <a:gdLst>
                      <a:gd name="connsiteX0" fmla="*/ 23330 w 26017"/>
                      <a:gd name="connsiteY0" fmla="*/ 16526 h 16525"/>
                      <a:gd name="connsiteX1" fmla="*/ 0 w 26017"/>
                      <a:gd name="connsiteY1" fmla="*/ 16526 h 16525"/>
                      <a:gd name="connsiteX2" fmla="*/ 0 w 26017"/>
                      <a:gd name="connsiteY2" fmla="*/ 0 h 16525"/>
                      <a:gd name="connsiteX3" fmla="*/ 26018 w 26017"/>
                      <a:gd name="connsiteY3" fmla="*/ 0 h 16525"/>
                    </a:gdLst>
                    <a:ahLst/>
                    <a:cxnLst>
                      <a:cxn ang="0">
                        <a:pos x="connsiteX0" y="connsiteY0"/>
                      </a:cxn>
                      <a:cxn ang="0">
                        <a:pos x="connsiteX1" y="connsiteY1"/>
                      </a:cxn>
                      <a:cxn ang="0">
                        <a:pos x="connsiteX2" y="connsiteY2"/>
                      </a:cxn>
                      <a:cxn ang="0">
                        <a:pos x="connsiteX3" y="connsiteY3"/>
                      </a:cxn>
                    </a:cxnLst>
                    <a:rect l="l" t="t" r="r" b="b"/>
                    <a:pathLst>
                      <a:path w="26017" h="16525">
                        <a:moveTo>
                          <a:pt x="23330" y="16526"/>
                        </a:moveTo>
                        <a:lnTo>
                          <a:pt x="0" y="16526"/>
                        </a:lnTo>
                        <a:lnTo>
                          <a:pt x="0" y="0"/>
                        </a:lnTo>
                        <a:lnTo>
                          <a:pt x="26018" y="0"/>
                        </a:lnTo>
                      </a:path>
                    </a:pathLst>
                  </a:custGeom>
                  <a:noFill/>
                  <a:ln w="9525" cap="flat">
                    <a:solidFill>
                      <a:schemeClr val="bg1"/>
                    </a:solidFill>
                    <a:prstDash val="solid"/>
                    <a:round/>
                  </a:ln>
                </p:spPr>
                <p:txBody>
                  <a:bodyPr rtlCol="0" anchor="ctr"/>
                  <a:lstStyle/>
                  <a:p>
                    <a:endParaRPr lang="en-GB"/>
                  </a:p>
                </p:txBody>
              </p:sp>
              <p:sp>
                <p:nvSpPr>
                  <p:cNvPr id="37" name="Freeform 36">
                    <a:extLst>
                      <a:ext uri="{FF2B5EF4-FFF2-40B4-BE49-F238E27FC236}">
                        <a16:creationId xmlns:a16="http://schemas.microsoft.com/office/drawing/2014/main" id="{7C6B8737-274A-E967-2619-21BE1CD5D30D}"/>
                      </a:ext>
                    </a:extLst>
                  </p:cNvPr>
                  <p:cNvSpPr/>
                  <p:nvPr/>
                </p:nvSpPr>
                <p:spPr>
                  <a:xfrm>
                    <a:off x="8540350" y="3170645"/>
                    <a:ext cx="28423" cy="18053"/>
                  </a:xfrm>
                  <a:custGeom>
                    <a:avLst/>
                    <a:gdLst>
                      <a:gd name="connsiteX0" fmla="*/ 26018 w 26018"/>
                      <a:gd name="connsiteY0" fmla="*/ 16526 h 16525"/>
                      <a:gd name="connsiteX1" fmla="*/ 0 w 26018"/>
                      <a:gd name="connsiteY1" fmla="*/ 16526 h 16525"/>
                      <a:gd name="connsiteX2" fmla="*/ 0 w 26018"/>
                      <a:gd name="connsiteY2" fmla="*/ 0 h 16525"/>
                      <a:gd name="connsiteX3" fmla="*/ 26018 w 26018"/>
                      <a:gd name="connsiteY3" fmla="*/ 0 h 16525"/>
                    </a:gdLst>
                    <a:ahLst/>
                    <a:cxnLst>
                      <a:cxn ang="0">
                        <a:pos x="connsiteX0" y="connsiteY0"/>
                      </a:cxn>
                      <a:cxn ang="0">
                        <a:pos x="connsiteX1" y="connsiteY1"/>
                      </a:cxn>
                      <a:cxn ang="0">
                        <a:pos x="connsiteX2" y="connsiteY2"/>
                      </a:cxn>
                      <a:cxn ang="0">
                        <a:pos x="connsiteX3" y="connsiteY3"/>
                      </a:cxn>
                    </a:cxnLst>
                    <a:rect l="l" t="t" r="r" b="b"/>
                    <a:pathLst>
                      <a:path w="26018" h="16525">
                        <a:moveTo>
                          <a:pt x="26018" y="16526"/>
                        </a:moveTo>
                        <a:lnTo>
                          <a:pt x="0" y="16526"/>
                        </a:lnTo>
                        <a:lnTo>
                          <a:pt x="0" y="0"/>
                        </a:lnTo>
                        <a:lnTo>
                          <a:pt x="26018" y="0"/>
                        </a:lnTo>
                      </a:path>
                    </a:pathLst>
                  </a:custGeom>
                  <a:noFill/>
                  <a:ln w="9525" cap="flat">
                    <a:solidFill>
                      <a:schemeClr val="bg1"/>
                    </a:solidFill>
                    <a:prstDash val="solid"/>
                    <a:round/>
                  </a:ln>
                </p:spPr>
                <p:txBody>
                  <a:bodyPr rtlCol="0" anchor="ctr"/>
                  <a:lstStyle/>
                  <a:p>
                    <a:endParaRPr lang="en-GB"/>
                  </a:p>
                </p:txBody>
              </p:sp>
              <p:sp>
                <p:nvSpPr>
                  <p:cNvPr id="38" name="Freeform 37">
                    <a:extLst>
                      <a:ext uri="{FF2B5EF4-FFF2-40B4-BE49-F238E27FC236}">
                        <a16:creationId xmlns:a16="http://schemas.microsoft.com/office/drawing/2014/main" id="{37700115-DD64-AFD2-DA1A-B08FE6EA7FFB}"/>
                      </a:ext>
                    </a:extLst>
                  </p:cNvPr>
                  <p:cNvSpPr/>
                  <p:nvPr/>
                </p:nvSpPr>
                <p:spPr>
                  <a:xfrm>
                    <a:off x="8540350" y="3220932"/>
                    <a:ext cx="28423" cy="18053"/>
                  </a:xfrm>
                  <a:custGeom>
                    <a:avLst/>
                    <a:gdLst>
                      <a:gd name="connsiteX0" fmla="*/ 26018 w 26018"/>
                      <a:gd name="connsiteY0" fmla="*/ 16526 h 16525"/>
                      <a:gd name="connsiteX1" fmla="*/ 0 w 26018"/>
                      <a:gd name="connsiteY1" fmla="*/ 16526 h 16525"/>
                      <a:gd name="connsiteX2" fmla="*/ 0 w 26018"/>
                      <a:gd name="connsiteY2" fmla="*/ 0 h 16525"/>
                      <a:gd name="connsiteX3" fmla="*/ 26018 w 26018"/>
                      <a:gd name="connsiteY3" fmla="*/ 0 h 16525"/>
                    </a:gdLst>
                    <a:ahLst/>
                    <a:cxnLst>
                      <a:cxn ang="0">
                        <a:pos x="connsiteX0" y="connsiteY0"/>
                      </a:cxn>
                      <a:cxn ang="0">
                        <a:pos x="connsiteX1" y="connsiteY1"/>
                      </a:cxn>
                      <a:cxn ang="0">
                        <a:pos x="connsiteX2" y="connsiteY2"/>
                      </a:cxn>
                      <a:cxn ang="0">
                        <a:pos x="connsiteX3" y="connsiteY3"/>
                      </a:cxn>
                    </a:cxnLst>
                    <a:rect l="l" t="t" r="r" b="b"/>
                    <a:pathLst>
                      <a:path w="26018" h="16525">
                        <a:moveTo>
                          <a:pt x="26018" y="16526"/>
                        </a:moveTo>
                        <a:lnTo>
                          <a:pt x="0" y="16526"/>
                        </a:lnTo>
                        <a:lnTo>
                          <a:pt x="0" y="0"/>
                        </a:lnTo>
                        <a:lnTo>
                          <a:pt x="26018" y="0"/>
                        </a:lnTo>
                      </a:path>
                    </a:pathLst>
                  </a:custGeom>
                  <a:noFill/>
                  <a:ln w="9525" cap="flat">
                    <a:solidFill>
                      <a:schemeClr val="bg1"/>
                    </a:solidFill>
                    <a:prstDash val="solid"/>
                    <a:round/>
                  </a:ln>
                </p:spPr>
                <p:txBody>
                  <a:bodyPr rtlCol="0" anchor="ctr"/>
                  <a:lstStyle/>
                  <a:p>
                    <a:endParaRPr lang="en-GB"/>
                  </a:p>
                </p:txBody>
              </p:sp>
              <p:sp>
                <p:nvSpPr>
                  <p:cNvPr id="39" name="Freeform 38">
                    <a:extLst>
                      <a:ext uri="{FF2B5EF4-FFF2-40B4-BE49-F238E27FC236}">
                        <a16:creationId xmlns:a16="http://schemas.microsoft.com/office/drawing/2014/main" id="{A78D38F7-5199-21CD-5DC7-AA924E534353}"/>
                      </a:ext>
                    </a:extLst>
                  </p:cNvPr>
                  <p:cNvSpPr/>
                  <p:nvPr/>
                </p:nvSpPr>
                <p:spPr>
                  <a:xfrm>
                    <a:off x="8549409" y="3272158"/>
                    <a:ext cx="28422" cy="18053"/>
                  </a:xfrm>
                  <a:custGeom>
                    <a:avLst/>
                    <a:gdLst>
                      <a:gd name="connsiteX0" fmla="*/ 26018 w 26017"/>
                      <a:gd name="connsiteY0" fmla="*/ 16526 h 16525"/>
                      <a:gd name="connsiteX1" fmla="*/ 0 w 26017"/>
                      <a:gd name="connsiteY1" fmla="*/ 16526 h 16525"/>
                      <a:gd name="connsiteX2" fmla="*/ 0 w 26017"/>
                      <a:gd name="connsiteY2" fmla="*/ 0 h 16525"/>
                      <a:gd name="connsiteX3" fmla="*/ 23330 w 26017"/>
                      <a:gd name="connsiteY3" fmla="*/ 0 h 16525"/>
                    </a:gdLst>
                    <a:ahLst/>
                    <a:cxnLst>
                      <a:cxn ang="0">
                        <a:pos x="connsiteX0" y="connsiteY0"/>
                      </a:cxn>
                      <a:cxn ang="0">
                        <a:pos x="connsiteX1" y="connsiteY1"/>
                      </a:cxn>
                      <a:cxn ang="0">
                        <a:pos x="connsiteX2" y="connsiteY2"/>
                      </a:cxn>
                      <a:cxn ang="0">
                        <a:pos x="connsiteX3" y="connsiteY3"/>
                      </a:cxn>
                    </a:cxnLst>
                    <a:rect l="l" t="t" r="r" b="b"/>
                    <a:pathLst>
                      <a:path w="26017" h="16525">
                        <a:moveTo>
                          <a:pt x="26018" y="16526"/>
                        </a:moveTo>
                        <a:lnTo>
                          <a:pt x="0" y="16526"/>
                        </a:lnTo>
                        <a:lnTo>
                          <a:pt x="0" y="0"/>
                        </a:lnTo>
                        <a:lnTo>
                          <a:pt x="23330" y="0"/>
                        </a:lnTo>
                      </a:path>
                    </a:pathLst>
                  </a:custGeom>
                  <a:noFill/>
                  <a:ln w="9525" cap="flat">
                    <a:solidFill>
                      <a:schemeClr val="bg1"/>
                    </a:solidFill>
                    <a:prstDash val="solid"/>
                    <a:round/>
                  </a:ln>
                </p:spPr>
                <p:txBody>
                  <a:bodyPr rtlCol="0" anchor="ctr"/>
                  <a:lstStyle/>
                  <a:p>
                    <a:endParaRPr lang="en-GB"/>
                  </a:p>
                </p:txBody>
              </p:sp>
              <p:sp>
                <p:nvSpPr>
                  <p:cNvPr id="40" name="Freeform 39">
                    <a:extLst>
                      <a:ext uri="{FF2B5EF4-FFF2-40B4-BE49-F238E27FC236}">
                        <a16:creationId xmlns:a16="http://schemas.microsoft.com/office/drawing/2014/main" id="{A4F201FA-A021-DCAA-ACEC-616E14932A72}"/>
                      </a:ext>
                    </a:extLst>
                  </p:cNvPr>
                  <p:cNvSpPr/>
                  <p:nvPr/>
                </p:nvSpPr>
                <p:spPr>
                  <a:xfrm>
                    <a:off x="8535166" y="3281215"/>
                    <a:ext cx="13118" cy="6247"/>
                  </a:xfrm>
                  <a:custGeom>
                    <a:avLst/>
                    <a:gdLst>
                      <a:gd name="connsiteX0" fmla="*/ 12008 w 12008"/>
                      <a:gd name="connsiteY0" fmla="*/ 0 h 5718"/>
                      <a:gd name="connsiteX1" fmla="*/ 0 w 12008"/>
                      <a:gd name="connsiteY1" fmla="*/ 0 h 5718"/>
                    </a:gdLst>
                    <a:ahLst/>
                    <a:cxnLst>
                      <a:cxn ang="0">
                        <a:pos x="connsiteX0" y="connsiteY0"/>
                      </a:cxn>
                      <a:cxn ang="0">
                        <a:pos x="connsiteX1" y="connsiteY1"/>
                      </a:cxn>
                    </a:cxnLst>
                    <a:rect l="l" t="t" r="r" b="b"/>
                    <a:pathLst>
                      <a:path w="12008" h="5718">
                        <a:moveTo>
                          <a:pt x="12008" y="0"/>
                        </a:moveTo>
                        <a:lnTo>
                          <a:pt x="0" y="0"/>
                        </a:lnTo>
                      </a:path>
                    </a:pathLst>
                  </a:custGeom>
                  <a:ln w="9525" cap="flat">
                    <a:solidFill>
                      <a:schemeClr val="bg1"/>
                    </a:solidFill>
                    <a:prstDash val="solid"/>
                    <a:round/>
                  </a:ln>
                </p:spPr>
                <p:txBody>
                  <a:bodyPr rtlCol="0" anchor="ctr"/>
                  <a:lstStyle/>
                  <a:p>
                    <a:endParaRPr lang="en-GB"/>
                  </a:p>
                </p:txBody>
              </p:sp>
              <p:sp>
                <p:nvSpPr>
                  <p:cNvPr id="41" name="Freeform 40">
                    <a:extLst>
                      <a:ext uri="{FF2B5EF4-FFF2-40B4-BE49-F238E27FC236}">
                        <a16:creationId xmlns:a16="http://schemas.microsoft.com/office/drawing/2014/main" id="{7EEC2DC9-2B7C-5D55-DE93-D7D1A55182E3}"/>
                      </a:ext>
                    </a:extLst>
                  </p:cNvPr>
                  <p:cNvSpPr/>
                  <p:nvPr/>
                </p:nvSpPr>
                <p:spPr>
                  <a:xfrm>
                    <a:off x="8535166" y="3127979"/>
                    <a:ext cx="13118" cy="6247"/>
                  </a:xfrm>
                  <a:custGeom>
                    <a:avLst/>
                    <a:gdLst>
                      <a:gd name="connsiteX0" fmla="*/ 12008 w 12008"/>
                      <a:gd name="connsiteY0" fmla="*/ 0 h 5718"/>
                      <a:gd name="connsiteX1" fmla="*/ 0 w 12008"/>
                      <a:gd name="connsiteY1" fmla="*/ 0 h 5718"/>
                    </a:gdLst>
                    <a:ahLst/>
                    <a:cxnLst>
                      <a:cxn ang="0">
                        <a:pos x="connsiteX0" y="connsiteY0"/>
                      </a:cxn>
                      <a:cxn ang="0">
                        <a:pos x="connsiteX1" y="connsiteY1"/>
                      </a:cxn>
                    </a:cxnLst>
                    <a:rect l="l" t="t" r="r" b="b"/>
                    <a:pathLst>
                      <a:path w="12008" h="5718">
                        <a:moveTo>
                          <a:pt x="12008" y="0"/>
                        </a:moveTo>
                        <a:lnTo>
                          <a:pt x="0" y="0"/>
                        </a:lnTo>
                      </a:path>
                    </a:pathLst>
                  </a:custGeom>
                  <a:ln w="9525" cap="flat">
                    <a:solidFill>
                      <a:schemeClr val="bg1"/>
                    </a:solidFill>
                    <a:prstDash val="solid"/>
                    <a:round/>
                  </a:ln>
                </p:spPr>
                <p:txBody>
                  <a:bodyPr rtlCol="0" anchor="ctr"/>
                  <a:lstStyle/>
                  <a:p>
                    <a:endParaRPr lang="en-GB"/>
                  </a:p>
                </p:txBody>
              </p:sp>
              <p:sp>
                <p:nvSpPr>
                  <p:cNvPr id="42" name="Freeform 41">
                    <a:extLst>
                      <a:ext uri="{FF2B5EF4-FFF2-40B4-BE49-F238E27FC236}">
                        <a16:creationId xmlns:a16="http://schemas.microsoft.com/office/drawing/2014/main" id="{1B00ED06-D91C-74C8-C258-95557E8421E4}"/>
                      </a:ext>
                    </a:extLst>
                  </p:cNvPr>
                  <p:cNvSpPr/>
                  <p:nvPr/>
                </p:nvSpPr>
                <p:spPr>
                  <a:xfrm>
                    <a:off x="8608692" y="3179703"/>
                    <a:ext cx="726267" cy="0"/>
                  </a:xfrm>
                  <a:custGeom>
                    <a:avLst/>
                    <a:gdLst>
                      <a:gd name="connsiteX0" fmla="*/ 0 w 664803"/>
                      <a:gd name="connsiteY0" fmla="*/ 0 h 5718"/>
                      <a:gd name="connsiteX1" fmla="*/ 664804 w 664803"/>
                      <a:gd name="connsiteY1" fmla="*/ 0 h 5718"/>
                    </a:gdLst>
                    <a:ahLst/>
                    <a:cxnLst>
                      <a:cxn ang="0">
                        <a:pos x="connsiteX0" y="connsiteY0"/>
                      </a:cxn>
                      <a:cxn ang="0">
                        <a:pos x="connsiteX1" y="connsiteY1"/>
                      </a:cxn>
                    </a:cxnLst>
                    <a:rect l="l" t="t" r="r" b="b"/>
                    <a:pathLst>
                      <a:path w="664803" h="5718">
                        <a:moveTo>
                          <a:pt x="0" y="0"/>
                        </a:moveTo>
                        <a:lnTo>
                          <a:pt x="664804" y="0"/>
                        </a:lnTo>
                      </a:path>
                    </a:pathLst>
                  </a:custGeom>
                  <a:ln w="9525" cap="flat">
                    <a:solidFill>
                      <a:schemeClr val="bg1"/>
                    </a:solid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F7645F14-5B2D-0032-B611-D7470478F38E}"/>
                      </a:ext>
                    </a:extLst>
                  </p:cNvPr>
                  <p:cNvSpPr/>
                  <p:nvPr/>
                </p:nvSpPr>
                <p:spPr>
                  <a:xfrm>
                    <a:off x="8606880" y="3229991"/>
                    <a:ext cx="727204" cy="0"/>
                  </a:xfrm>
                  <a:custGeom>
                    <a:avLst/>
                    <a:gdLst>
                      <a:gd name="connsiteX0" fmla="*/ 0 w 665661"/>
                      <a:gd name="connsiteY0" fmla="*/ 0 h 5718"/>
                      <a:gd name="connsiteX1" fmla="*/ 665661 w 665661"/>
                      <a:gd name="connsiteY1" fmla="*/ 0 h 5718"/>
                    </a:gdLst>
                    <a:ahLst/>
                    <a:cxnLst>
                      <a:cxn ang="0">
                        <a:pos x="connsiteX0" y="connsiteY0"/>
                      </a:cxn>
                      <a:cxn ang="0">
                        <a:pos x="connsiteX1" y="connsiteY1"/>
                      </a:cxn>
                    </a:cxnLst>
                    <a:rect l="l" t="t" r="r" b="b"/>
                    <a:pathLst>
                      <a:path w="665661" h="5718">
                        <a:moveTo>
                          <a:pt x="0" y="0"/>
                        </a:moveTo>
                        <a:lnTo>
                          <a:pt x="665661" y="0"/>
                        </a:lnTo>
                      </a:path>
                    </a:pathLst>
                  </a:custGeom>
                  <a:ln w="9525" cap="flat">
                    <a:solidFill>
                      <a:schemeClr val="bg1"/>
                    </a:solid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A2D8468-F2B6-9166-3A50-B29EF1FE07D0}"/>
                      </a:ext>
                    </a:extLst>
                  </p:cNvPr>
                  <p:cNvSpPr/>
                  <p:nvPr/>
                </p:nvSpPr>
                <p:spPr>
                  <a:xfrm>
                    <a:off x="8528106" y="3179703"/>
                    <a:ext cx="13056" cy="6247"/>
                  </a:xfrm>
                  <a:custGeom>
                    <a:avLst/>
                    <a:gdLst>
                      <a:gd name="connsiteX0" fmla="*/ 0 w 11951"/>
                      <a:gd name="connsiteY0" fmla="*/ 0 h 5718"/>
                      <a:gd name="connsiteX1" fmla="*/ 11951 w 11951"/>
                      <a:gd name="connsiteY1" fmla="*/ 0 h 5718"/>
                    </a:gdLst>
                    <a:ahLst/>
                    <a:cxnLst>
                      <a:cxn ang="0">
                        <a:pos x="connsiteX0" y="connsiteY0"/>
                      </a:cxn>
                      <a:cxn ang="0">
                        <a:pos x="connsiteX1" y="connsiteY1"/>
                      </a:cxn>
                    </a:cxnLst>
                    <a:rect l="l" t="t" r="r" b="b"/>
                    <a:pathLst>
                      <a:path w="11951" h="5718">
                        <a:moveTo>
                          <a:pt x="0" y="0"/>
                        </a:moveTo>
                        <a:lnTo>
                          <a:pt x="11951" y="0"/>
                        </a:lnTo>
                      </a:path>
                    </a:pathLst>
                  </a:custGeom>
                  <a:ln w="9525" cap="flat">
                    <a:solidFill>
                      <a:schemeClr val="bg1"/>
                    </a:solidFill>
                    <a:prstDash val="solid"/>
                    <a:round/>
                  </a:ln>
                </p:spPr>
                <p:txBody>
                  <a:bodyPr rtlCol="0" anchor="ctr"/>
                  <a:lstStyle/>
                  <a:p>
                    <a:endParaRPr lang="en-GB"/>
                  </a:p>
                </p:txBody>
              </p:sp>
              <p:sp>
                <p:nvSpPr>
                  <p:cNvPr id="45" name="Freeform 44">
                    <a:extLst>
                      <a:ext uri="{FF2B5EF4-FFF2-40B4-BE49-F238E27FC236}">
                        <a16:creationId xmlns:a16="http://schemas.microsoft.com/office/drawing/2014/main" id="{5C334744-C4C0-FADD-1DFE-637F3B2D6774}"/>
                      </a:ext>
                    </a:extLst>
                  </p:cNvPr>
                  <p:cNvSpPr/>
                  <p:nvPr/>
                </p:nvSpPr>
                <p:spPr>
                  <a:xfrm>
                    <a:off x="8528106" y="3229991"/>
                    <a:ext cx="13056" cy="6247"/>
                  </a:xfrm>
                  <a:custGeom>
                    <a:avLst/>
                    <a:gdLst>
                      <a:gd name="connsiteX0" fmla="*/ 11951 w 11951"/>
                      <a:gd name="connsiteY0" fmla="*/ 0 h 5718"/>
                      <a:gd name="connsiteX1" fmla="*/ 0 w 11951"/>
                      <a:gd name="connsiteY1" fmla="*/ 0 h 5718"/>
                    </a:gdLst>
                    <a:ahLst/>
                    <a:cxnLst>
                      <a:cxn ang="0">
                        <a:pos x="connsiteX0" y="connsiteY0"/>
                      </a:cxn>
                      <a:cxn ang="0">
                        <a:pos x="connsiteX1" y="connsiteY1"/>
                      </a:cxn>
                    </a:cxnLst>
                    <a:rect l="l" t="t" r="r" b="b"/>
                    <a:pathLst>
                      <a:path w="11951" h="5718">
                        <a:moveTo>
                          <a:pt x="11951" y="0"/>
                        </a:moveTo>
                        <a:lnTo>
                          <a:pt x="0" y="0"/>
                        </a:lnTo>
                      </a:path>
                    </a:pathLst>
                  </a:custGeom>
                  <a:ln w="9525" cap="flat">
                    <a:solidFill>
                      <a:schemeClr val="bg1"/>
                    </a:solidFill>
                    <a:prstDash val="solid"/>
                    <a:round/>
                  </a:ln>
                </p:spPr>
                <p:txBody>
                  <a:bodyPr rtlCol="0" anchor="ctr"/>
                  <a:lstStyle/>
                  <a:p>
                    <a:endParaRPr lang="en-GB"/>
                  </a:p>
                </p:txBody>
              </p:sp>
              <p:sp>
                <p:nvSpPr>
                  <p:cNvPr id="46" name="Freeform 45">
                    <a:extLst>
                      <a:ext uri="{FF2B5EF4-FFF2-40B4-BE49-F238E27FC236}">
                        <a16:creationId xmlns:a16="http://schemas.microsoft.com/office/drawing/2014/main" id="{2C1E971C-2420-09AC-6279-7952DB2025DB}"/>
                      </a:ext>
                    </a:extLst>
                  </p:cNvPr>
                  <p:cNvSpPr/>
                  <p:nvPr/>
                </p:nvSpPr>
                <p:spPr>
                  <a:xfrm>
                    <a:off x="9364445" y="3118920"/>
                    <a:ext cx="28486" cy="18053"/>
                  </a:xfrm>
                  <a:custGeom>
                    <a:avLst/>
                    <a:gdLst>
                      <a:gd name="connsiteX0" fmla="*/ 2745 w 26075"/>
                      <a:gd name="connsiteY0" fmla="*/ 16526 h 16525"/>
                      <a:gd name="connsiteX1" fmla="*/ 26076 w 26075"/>
                      <a:gd name="connsiteY1" fmla="*/ 16526 h 16525"/>
                      <a:gd name="connsiteX2" fmla="*/ 26076 w 26075"/>
                      <a:gd name="connsiteY2" fmla="*/ 0 h 16525"/>
                      <a:gd name="connsiteX3" fmla="*/ 0 w 26075"/>
                      <a:gd name="connsiteY3" fmla="*/ 0 h 16525"/>
                    </a:gdLst>
                    <a:ahLst/>
                    <a:cxnLst>
                      <a:cxn ang="0">
                        <a:pos x="connsiteX0" y="connsiteY0"/>
                      </a:cxn>
                      <a:cxn ang="0">
                        <a:pos x="connsiteX1" y="connsiteY1"/>
                      </a:cxn>
                      <a:cxn ang="0">
                        <a:pos x="connsiteX2" y="connsiteY2"/>
                      </a:cxn>
                      <a:cxn ang="0">
                        <a:pos x="connsiteX3" y="connsiteY3"/>
                      </a:cxn>
                    </a:cxnLst>
                    <a:rect l="l" t="t" r="r" b="b"/>
                    <a:pathLst>
                      <a:path w="26075" h="16525">
                        <a:moveTo>
                          <a:pt x="2745" y="16526"/>
                        </a:moveTo>
                        <a:lnTo>
                          <a:pt x="26076" y="16526"/>
                        </a:lnTo>
                        <a:lnTo>
                          <a:pt x="26076" y="0"/>
                        </a:lnTo>
                        <a:lnTo>
                          <a:pt x="0" y="0"/>
                        </a:lnTo>
                      </a:path>
                    </a:pathLst>
                  </a:custGeom>
                  <a:noFill/>
                  <a:ln w="9525" cap="flat">
                    <a:solidFill>
                      <a:schemeClr val="bg1"/>
                    </a:solidFill>
                    <a:prstDash val="solid"/>
                    <a:round/>
                  </a:ln>
                </p:spPr>
                <p:txBody>
                  <a:bodyPr rtlCol="0" anchor="ctr"/>
                  <a:lstStyle/>
                  <a:p>
                    <a:endParaRPr lang="en-GB"/>
                  </a:p>
                </p:txBody>
              </p:sp>
              <p:sp>
                <p:nvSpPr>
                  <p:cNvPr id="47" name="Freeform 46">
                    <a:extLst>
                      <a:ext uri="{FF2B5EF4-FFF2-40B4-BE49-F238E27FC236}">
                        <a16:creationId xmlns:a16="http://schemas.microsoft.com/office/drawing/2014/main" id="{56D4ACFF-BAA4-8978-2268-0CE9180D7646}"/>
                      </a:ext>
                    </a:extLst>
                  </p:cNvPr>
                  <p:cNvSpPr/>
                  <p:nvPr/>
                </p:nvSpPr>
                <p:spPr>
                  <a:xfrm>
                    <a:off x="9373502" y="3170645"/>
                    <a:ext cx="28423" cy="18053"/>
                  </a:xfrm>
                  <a:custGeom>
                    <a:avLst/>
                    <a:gdLst>
                      <a:gd name="connsiteX0" fmla="*/ 0 w 26018"/>
                      <a:gd name="connsiteY0" fmla="*/ 16526 h 16525"/>
                      <a:gd name="connsiteX1" fmla="*/ 26018 w 26018"/>
                      <a:gd name="connsiteY1" fmla="*/ 16526 h 16525"/>
                      <a:gd name="connsiteX2" fmla="*/ 26018 w 26018"/>
                      <a:gd name="connsiteY2" fmla="*/ 0 h 16525"/>
                      <a:gd name="connsiteX3" fmla="*/ 0 w 26018"/>
                      <a:gd name="connsiteY3" fmla="*/ 0 h 16525"/>
                    </a:gdLst>
                    <a:ahLst/>
                    <a:cxnLst>
                      <a:cxn ang="0">
                        <a:pos x="connsiteX0" y="connsiteY0"/>
                      </a:cxn>
                      <a:cxn ang="0">
                        <a:pos x="connsiteX1" y="connsiteY1"/>
                      </a:cxn>
                      <a:cxn ang="0">
                        <a:pos x="connsiteX2" y="connsiteY2"/>
                      </a:cxn>
                      <a:cxn ang="0">
                        <a:pos x="connsiteX3" y="connsiteY3"/>
                      </a:cxn>
                    </a:cxnLst>
                    <a:rect l="l" t="t" r="r" b="b"/>
                    <a:pathLst>
                      <a:path w="26018" h="16525">
                        <a:moveTo>
                          <a:pt x="0" y="16526"/>
                        </a:moveTo>
                        <a:lnTo>
                          <a:pt x="26018" y="16526"/>
                        </a:lnTo>
                        <a:lnTo>
                          <a:pt x="26018" y="0"/>
                        </a:lnTo>
                        <a:lnTo>
                          <a:pt x="0" y="0"/>
                        </a:lnTo>
                      </a:path>
                    </a:pathLst>
                  </a:custGeom>
                  <a:noFill/>
                  <a:ln w="9525" cap="flat">
                    <a:solidFill>
                      <a:schemeClr val="bg1"/>
                    </a:solidFill>
                    <a:prstDash val="solid"/>
                    <a:round/>
                  </a:ln>
                </p:spPr>
                <p:txBody>
                  <a:bodyPr rtlCol="0" anchor="ctr"/>
                  <a:lstStyle/>
                  <a:p>
                    <a:endParaRPr lang="en-GB"/>
                  </a:p>
                </p:txBody>
              </p:sp>
              <p:sp>
                <p:nvSpPr>
                  <p:cNvPr id="48" name="Freeform 47">
                    <a:extLst>
                      <a:ext uri="{FF2B5EF4-FFF2-40B4-BE49-F238E27FC236}">
                        <a16:creationId xmlns:a16="http://schemas.microsoft.com/office/drawing/2014/main" id="{691AA12B-5E30-A1E1-AA93-62231D0E21C8}"/>
                      </a:ext>
                    </a:extLst>
                  </p:cNvPr>
                  <p:cNvSpPr/>
                  <p:nvPr/>
                </p:nvSpPr>
                <p:spPr>
                  <a:xfrm>
                    <a:off x="9373502" y="3220932"/>
                    <a:ext cx="28423" cy="18053"/>
                  </a:xfrm>
                  <a:custGeom>
                    <a:avLst/>
                    <a:gdLst>
                      <a:gd name="connsiteX0" fmla="*/ 0 w 26018"/>
                      <a:gd name="connsiteY0" fmla="*/ 16526 h 16525"/>
                      <a:gd name="connsiteX1" fmla="*/ 26018 w 26018"/>
                      <a:gd name="connsiteY1" fmla="*/ 16526 h 16525"/>
                      <a:gd name="connsiteX2" fmla="*/ 26018 w 26018"/>
                      <a:gd name="connsiteY2" fmla="*/ 0 h 16525"/>
                      <a:gd name="connsiteX3" fmla="*/ 0 w 26018"/>
                      <a:gd name="connsiteY3" fmla="*/ 0 h 16525"/>
                    </a:gdLst>
                    <a:ahLst/>
                    <a:cxnLst>
                      <a:cxn ang="0">
                        <a:pos x="connsiteX0" y="connsiteY0"/>
                      </a:cxn>
                      <a:cxn ang="0">
                        <a:pos x="connsiteX1" y="connsiteY1"/>
                      </a:cxn>
                      <a:cxn ang="0">
                        <a:pos x="connsiteX2" y="connsiteY2"/>
                      </a:cxn>
                      <a:cxn ang="0">
                        <a:pos x="connsiteX3" y="connsiteY3"/>
                      </a:cxn>
                    </a:cxnLst>
                    <a:rect l="l" t="t" r="r" b="b"/>
                    <a:pathLst>
                      <a:path w="26018" h="16525">
                        <a:moveTo>
                          <a:pt x="0" y="16526"/>
                        </a:moveTo>
                        <a:lnTo>
                          <a:pt x="26018" y="16526"/>
                        </a:lnTo>
                        <a:lnTo>
                          <a:pt x="26018" y="0"/>
                        </a:lnTo>
                        <a:lnTo>
                          <a:pt x="0" y="0"/>
                        </a:lnTo>
                      </a:path>
                    </a:pathLst>
                  </a:custGeom>
                  <a:noFill/>
                  <a:ln w="9525" cap="flat">
                    <a:solidFill>
                      <a:schemeClr val="bg1"/>
                    </a:solidFill>
                    <a:prstDash val="solid"/>
                    <a:round/>
                  </a:ln>
                </p:spPr>
                <p:txBody>
                  <a:bodyPr rtlCol="0" anchor="ctr"/>
                  <a:lstStyle/>
                  <a:p>
                    <a:endParaRPr lang="en-GB"/>
                  </a:p>
                </p:txBody>
              </p:sp>
              <p:sp>
                <p:nvSpPr>
                  <p:cNvPr id="50" name="Freeform 49">
                    <a:extLst>
                      <a:ext uri="{FF2B5EF4-FFF2-40B4-BE49-F238E27FC236}">
                        <a16:creationId xmlns:a16="http://schemas.microsoft.com/office/drawing/2014/main" id="{D2A5CA54-6285-5DA3-365C-EDADF037D76C}"/>
                      </a:ext>
                    </a:extLst>
                  </p:cNvPr>
                  <p:cNvSpPr/>
                  <p:nvPr/>
                </p:nvSpPr>
                <p:spPr>
                  <a:xfrm>
                    <a:off x="9364445" y="3272158"/>
                    <a:ext cx="28486" cy="18053"/>
                  </a:xfrm>
                  <a:custGeom>
                    <a:avLst/>
                    <a:gdLst>
                      <a:gd name="connsiteX0" fmla="*/ 0 w 26075"/>
                      <a:gd name="connsiteY0" fmla="*/ 16526 h 16525"/>
                      <a:gd name="connsiteX1" fmla="*/ 26076 w 26075"/>
                      <a:gd name="connsiteY1" fmla="*/ 16526 h 16525"/>
                      <a:gd name="connsiteX2" fmla="*/ 26076 w 26075"/>
                      <a:gd name="connsiteY2" fmla="*/ 0 h 16525"/>
                      <a:gd name="connsiteX3" fmla="*/ 2745 w 26075"/>
                      <a:gd name="connsiteY3" fmla="*/ 0 h 16525"/>
                    </a:gdLst>
                    <a:ahLst/>
                    <a:cxnLst>
                      <a:cxn ang="0">
                        <a:pos x="connsiteX0" y="connsiteY0"/>
                      </a:cxn>
                      <a:cxn ang="0">
                        <a:pos x="connsiteX1" y="connsiteY1"/>
                      </a:cxn>
                      <a:cxn ang="0">
                        <a:pos x="connsiteX2" y="connsiteY2"/>
                      </a:cxn>
                      <a:cxn ang="0">
                        <a:pos x="connsiteX3" y="connsiteY3"/>
                      </a:cxn>
                    </a:cxnLst>
                    <a:rect l="l" t="t" r="r" b="b"/>
                    <a:pathLst>
                      <a:path w="26075" h="16525">
                        <a:moveTo>
                          <a:pt x="0" y="16526"/>
                        </a:moveTo>
                        <a:lnTo>
                          <a:pt x="26076" y="16526"/>
                        </a:lnTo>
                        <a:lnTo>
                          <a:pt x="26076" y="0"/>
                        </a:lnTo>
                        <a:lnTo>
                          <a:pt x="2745" y="0"/>
                        </a:lnTo>
                      </a:path>
                    </a:pathLst>
                  </a:custGeom>
                  <a:noFill/>
                  <a:ln w="9525" cap="flat">
                    <a:solidFill>
                      <a:schemeClr val="bg1"/>
                    </a:solidFill>
                    <a:prstDash val="solid"/>
                    <a:round/>
                  </a:ln>
                </p:spPr>
                <p:txBody>
                  <a:bodyPr rtlCol="0" anchor="ctr"/>
                  <a:lstStyle/>
                  <a:p>
                    <a:endParaRPr lang="en-GB"/>
                  </a:p>
                </p:txBody>
              </p:sp>
              <p:sp>
                <p:nvSpPr>
                  <p:cNvPr id="51" name="Freeform 50">
                    <a:extLst>
                      <a:ext uri="{FF2B5EF4-FFF2-40B4-BE49-F238E27FC236}">
                        <a16:creationId xmlns:a16="http://schemas.microsoft.com/office/drawing/2014/main" id="{325D1573-E92A-9107-58C2-F8294C213BF6}"/>
                      </a:ext>
                    </a:extLst>
                  </p:cNvPr>
                  <p:cNvSpPr/>
                  <p:nvPr/>
                </p:nvSpPr>
                <p:spPr>
                  <a:xfrm>
                    <a:off x="9394056" y="3281215"/>
                    <a:ext cx="13056" cy="6247"/>
                  </a:xfrm>
                  <a:custGeom>
                    <a:avLst/>
                    <a:gdLst>
                      <a:gd name="connsiteX0" fmla="*/ 0 w 11951"/>
                      <a:gd name="connsiteY0" fmla="*/ 0 h 5718"/>
                      <a:gd name="connsiteX1" fmla="*/ 11951 w 11951"/>
                      <a:gd name="connsiteY1" fmla="*/ 0 h 5718"/>
                    </a:gdLst>
                    <a:ahLst/>
                    <a:cxnLst>
                      <a:cxn ang="0">
                        <a:pos x="connsiteX0" y="connsiteY0"/>
                      </a:cxn>
                      <a:cxn ang="0">
                        <a:pos x="connsiteX1" y="connsiteY1"/>
                      </a:cxn>
                    </a:cxnLst>
                    <a:rect l="l" t="t" r="r" b="b"/>
                    <a:pathLst>
                      <a:path w="11951" h="5718">
                        <a:moveTo>
                          <a:pt x="0" y="0"/>
                        </a:moveTo>
                        <a:lnTo>
                          <a:pt x="11951" y="0"/>
                        </a:lnTo>
                      </a:path>
                    </a:pathLst>
                  </a:custGeom>
                  <a:ln w="9525" cap="flat">
                    <a:solidFill>
                      <a:schemeClr val="bg1"/>
                    </a:solidFill>
                    <a:prstDash val="solid"/>
                    <a:round/>
                  </a:ln>
                </p:spPr>
                <p:txBody>
                  <a:bodyPr rtlCol="0" anchor="ctr"/>
                  <a:lstStyle/>
                  <a:p>
                    <a:endParaRPr lang="en-GB"/>
                  </a:p>
                </p:txBody>
              </p:sp>
              <p:sp>
                <p:nvSpPr>
                  <p:cNvPr id="52" name="Freeform 51">
                    <a:extLst>
                      <a:ext uri="{FF2B5EF4-FFF2-40B4-BE49-F238E27FC236}">
                        <a16:creationId xmlns:a16="http://schemas.microsoft.com/office/drawing/2014/main" id="{867E76A5-44FD-2FD4-A573-07B2FB3773FC}"/>
                      </a:ext>
                    </a:extLst>
                  </p:cNvPr>
                  <p:cNvSpPr/>
                  <p:nvPr/>
                </p:nvSpPr>
                <p:spPr>
                  <a:xfrm>
                    <a:off x="9394056" y="3127979"/>
                    <a:ext cx="13056" cy="6247"/>
                  </a:xfrm>
                  <a:custGeom>
                    <a:avLst/>
                    <a:gdLst>
                      <a:gd name="connsiteX0" fmla="*/ 0 w 11951"/>
                      <a:gd name="connsiteY0" fmla="*/ 0 h 5718"/>
                      <a:gd name="connsiteX1" fmla="*/ 11951 w 11951"/>
                      <a:gd name="connsiteY1" fmla="*/ 0 h 5718"/>
                    </a:gdLst>
                    <a:ahLst/>
                    <a:cxnLst>
                      <a:cxn ang="0">
                        <a:pos x="connsiteX0" y="connsiteY0"/>
                      </a:cxn>
                      <a:cxn ang="0">
                        <a:pos x="connsiteX1" y="connsiteY1"/>
                      </a:cxn>
                    </a:cxnLst>
                    <a:rect l="l" t="t" r="r" b="b"/>
                    <a:pathLst>
                      <a:path w="11951" h="5718">
                        <a:moveTo>
                          <a:pt x="0" y="0"/>
                        </a:moveTo>
                        <a:lnTo>
                          <a:pt x="11951" y="0"/>
                        </a:lnTo>
                      </a:path>
                    </a:pathLst>
                  </a:custGeom>
                  <a:ln w="9525" cap="flat">
                    <a:solidFill>
                      <a:schemeClr val="bg1"/>
                    </a:solidFill>
                    <a:prstDash val="solid"/>
                    <a:round/>
                  </a:ln>
                </p:spPr>
                <p:txBody>
                  <a:bodyPr rtlCol="0" anchor="ctr"/>
                  <a:lstStyle/>
                  <a:p>
                    <a:endParaRPr lang="en-GB"/>
                  </a:p>
                </p:txBody>
              </p:sp>
              <p:sp>
                <p:nvSpPr>
                  <p:cNvPr id="53" name="Freeform 52">
                    <a:extLst>
                      <a:ext uri="{FF2B5EF4-FFF2-40B4-BE49-F238E27FC236}">
                        <a16:creationId xmlns:a16="http://schemas.microsoft.com/office/drawing/2014/main" id="{B236B140-C283-0240-9646-30C9EB8D37A7}"/>
                      </a:ext>
                    </a:extLst>
                  </p:cNvPr>
                  <p:cNvSpPr/>
                  <p:nvPr/>
                </p:nvSpPr>
                <p:spPr>
                  <a:xfrm>
                    <a:off x="9401052" y="3179703"/>
                    <a:ext cx="13118" cy="6247"/>
                  </a:xfrm>
                  <a:custGeom>
                    <a:avLst/>
                    <a:gdLst>
                      <a:gd name="connsiteX0" fmla="*/ 0 w 12008"/>
                      <a:gd name="connsiteY0" fmla="*/ 0 h 5718"/>
                      <a:gd name="connsiteX1" fmla="*/ 12008 w 12008"/>
                      <a:gd name="connsiteY1" fmla="*/ 0 h 5718"/>
                    </a:gdLst>
                    <a:ahLst/>
                    <a:cxnLst>
                      <a:cxn ang="0">
                        <a:pos x="connsiteX0" y="connsiteY0"/>
                      </a:cxn>
                      <a:cxn ang="0">
                        <a:pos x="connsiteX1" y="connsiteY1"/>
                      </a:cxn>
                    </a:cxnLst>
                    <a:rect l="l" t="t" r="r" b="b"/>
                    <a:pathLst>
                      <a:path w="12008" h="5718">
                        <a:moveTo>
                          <a:pt x="0" y="0"/>
                        </a:moveTo>
                        <a:lnTo>
                          <a:pt x="12008" y="0"/>
                        </a:lnTo>
                      </a:path>
                    </a:pathLst>
                  </a:custGeom>
                  <a:ln w="9525" cap="flat">
                    <a:solidFill>
                      <a:schemeClr val="bg1"/>
                    </a:solidFill>
                    <a:prstDash val="solid"/>
                    <a:round/>
                  </a:ln>
                </p:spPr>
                <p:txBody>
                  <a:bodyPr rtlCol="0" anchor="ctr"/>
                  <a:lstStyle/>
                  <a:p>
                    <a:endParaRPr lang="en-GB"/>
                  </a:p>
                </p:txBody>
              </p:sp>
              <p:sp>
                <p:nvSpPr>
                  <p:cNvPr id="54" name="Freeform 53">
                    <a:extLst>
                      <a:ext uri="{FF2B5EF4-FFF2-40B4-BE49-F238E27FC236}">
                        <a16:creationId xmlns:a16="http://schemas.microsoft.com/office/drawing/2014/main" id="{95B371E1-8C0B-66B6-FAE2-9CFB33DE76E1}"/>
                      </a:ext>
                    </a:extLst>
                  </p:cNvPr>
                  <p:cNvSpPr/>
                  <p:nvPr/>
                </p:nvSpPr>
                <p:spPr>
                  <a:xfrm>
                    <a:off x="9401052" y="3229991"/>
                    <a:ext cx="13118" cy="6247"/>
                  </a:xfrm>
                  <a:custGeom>
                    <a:avLst/>
                    <a:gdLst>
                      <a:gd name="connsiteX0" fmla="*/ 0 w 12008"/>
                      <a:gd name="connsiteY0" fmla="*/ 0 h 5718"/>
                      <a:gd name="connsiteX1" fmla="*/ 12008 w 12008"/>
                      <a:gd name="connsiteY1" fmla="*/ 0 h 5718"/>
                    </a:gdLst>
                    <a:ahLst/>
                    <a:cxnLst>
                      <a:cxn ang="0">
                        <a:pos x="connsiteX0" y="connsiteY0"/>
                      </a:cxn>
                      <a:cxn ang="0">
                        <a:pos x="connsiteX1" y="connsiteY1"/>
                      </a:cxn>
                    </a:cxnLst>
                    <a:rect l="l" t="t" r="r" b="b"/>
                    <a:pathLst>
                      <a:path w="12008" h="5718">
                        <a:moveTo>
                          <a:pt x="0" y="0"/>
                        </a:moveTo>
                        <a:lnTo>
                          <a:pt x="12008" y="0"/>
                        </a:lnTo>
                      </a:path>
                    </a:pathLst>
                  </a:custGeom>
                  <a:ln w="9525" cap="flat">
                    <a:solidFill>
                      <a:schemeClr val="bg1"/>
                    </a:solidFill>
                    <a:prstDash val="solid"/>
                    <a:round/>
                  </a:ln>
                </p:spPr>
                <p:txBody>
                  <a:bodyPr rtlCol="0" anchor="ctr"/>
                  <a:lstStyle/>
                  <a:p>
                    <a:endParaRPr lang="en-GB"/>
                  </a:p>
                </p:txBody>
              </p:sp>
              <p:sp>
                <p:nvSpPr>
                  <p:cNvPr id="55" name="Freeform 54">
                    <a:extLst>
                      <a:ext uri="{FF2B5EF4-FFF2-40B4-BE49-F238E27FC236}">
                        <a16:creationId xmlns:a16="http://schemas.microsoft.com/office/drawing/2014/main" id="{74D6D5AF-E02A-624E-3CF6-B2B22C6AA1F7}"/>
                      </a:ext>
                    </a:extLst>
                  </p:cNvPr>
                  <p:cNvSpPr/>
                  <p:nvPr/>
                </p:nvSpPr>
                <p:spPr>
                  <a:xfrm>
                    <a:off x="8617874" y="3127979"/>
                    <a:ext cx="707901" cy="0"/>
                  </a:xfrm>
                  <a:custGeom>
                    <a:avLst/>
                    <a:gdLst>
                      <a:gd name="connsiteX0" fmla="*/ 0 w 647991"/>
                      <a:gd name="connsiteY0" fmla="*/ 0 h 5718"/>
                      <a:gd name="connsiteX1" fmla="*/ 647992 w 647991"/>
                      <a:gd name="connsiteY1" fmla="*/ 0 h 5718"/>
                    </a:gdLst>
                    <a:ahLst/>
                    <a:cxnLst>
                      <a:cxn ang="0">
                        <a:pos x="connsiteX0" y="connsiteY0"/>
                      </a:cxn>
                      <a:cxn ang="0">
                        <a:pos x="connsiteX1" y="connsiteY1"/>
                      </a:cxn>
                    </a:cxnLst>
                    <a:rect l="l" t="t" r="r" b="b"/>
                    <a:pathLst>
                      <a:path w="647991" h="5718">
                        <a:moveTo>
                          <a:pt x="0" y="0"/>
                        </a:moveTo>
                        <a:lnTo>
                          <a:pt x="647992" y="0"/>
                        </a:lnTo>
                      </a:path>
                    </a:pathLst>
                  </a:custGeom>
                  <a:ln w="9525" cap="flat">
                    <a:solidFill>
                      <a:schemeClr val="bg1"/>
                    </a:solid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DED2D21E-27EE-8522-9F40-25C9C790F0F3}"/>
                      </a:ext>
                    </a:extLst>
                  </p:cNvPr>
                  <p:cNvSpPr/>
                  <p:nvPr/>
                </p:nvSpPr>
                <p:spPr>
                  <a:xfrm>
                    <a:off x="8615126" y="3281215"/>
                    <a:ext cx="710649" cy="0"/>
                  </a:xfrm>
                  <a:custGeom>
                    <a:avLst/>
                    <a:gdLst>
                      <a:gd name="connsiteX0" fmla="*/ 0 w 650507"/>
                      <a:gd name="connsiteY0" fmla="*/ 0 h 5718"/>
                      <a:gd name="connsiteX1" fmla="*/ 650508 w 650507"/>
                      <a:gd name="connsiteY1" fmla="*/ 0 h 5718"/>
                    </a:gdLst>
                    <a:ahLst/>
                    <a:cxnLst>
                      <a:cxn ang="0">
                        <a:pos x="connsiteX0" y="connsiteY0"/>
                      </a:cxn>
                      <a:cxn ang="0">
                        <a:pos x="connsiteX1" y="connsiteY1"/>
                      </a:cxn>
                    </a:cxnLst>
                    <a:rect l="l" t="t" r="r" b="b"/>
                    <a:pathLst>
                      <a:path w="650507" h="5718">
                        <a:moveTo>
                          <a:pt x="0" y="0"/>
                        </a:moveTo>
                        <a:lnTo>
                          <a:pt x="650508" y="0"/>
                        </a:lnTo>
                      </a:path>
                    </a:pathLst>
                  </a:custGeom>
                  <a:ln w="9525" cap="flat">
                    <a:solidFill>
                      <a:schemeClr val="bg1"/>
                    </a:solid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AD589AF4-9374-5B60-4849-EE8E19E69B83}"/>
                      </a:ext>
                    </a:extLst>
                  </p:cNvPr>
                  <p:cNvSpPr/>
                  <p:nvPr/>
                </p:nvSpPr>
                <p:spPr>
                  <a:xfrm>
                    <a:off x="8606381" y="3088623"/>
                    <a:ext cx="729516" cy="232510"/>
                  </a:xfrm>
                  <a:custGeom>
                    <a:avLst/>
                    <a:gdLst>
                      <a:gd name="connsiteX0" fmla="*/ 617056 w 667777"/>
                      <a:gd name="connsiteY0" fmla="*/ 212833 h 212833"/>
                      <a:gd name="connsiteX1" fmla="*/ 634783 w 667777"/>
                      <a:gd name="connsiteY1" fmla="*/ 212833 h 212833"/>
                      <a:gd name="connsiteX2" fmla="*/ 667777 w 667777"/>
                      <a:gd name="connsiteY2" fmla="*/ 106417 h 212833"/>
                      <a:gd name="connsiteX3" fmla="*/ 634783 w 667777"/>
                      <a:gd name="connsiteY3" fmla="*/ 0 h 212833"/>
                      <a:gd name="connsiteX4" fmla="*/ 32994 w 667777"/>
                      <a:gd name="connsiteY4" fmla="*/ 0 h 212833"/>
                      <a:gd name="connsiteX5" fmla="*/ 0 w 667777"/>
                      <a:gd name="connsiteY5" fmla="*/ 106417 h 212833"/>
                      <a:gd name="connsiteX6" fmla="*/ 32994 w 667777"/>
                      <a:gd name="connsiteY6" fmla="*/ 212833 h 212833"/>
                      <a:gd name="connsiteX7" fmla="*/ 617056 w 667777"/>
                      <a:gd name="connsiteY7" fmla="*/ 212833 h 21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7777" h="212833">
                        <a:moveTo>
                          <a:pt x="617056" y="212833"/>
                        </a:moveTo>
                        <a:lnTo>
                          <a:pt x="634783" y="212833"/>
                        </a:lnTo>
                        <a:cubicBezTo>
                          <a:pt x="653081" y="212833"/>
                          <a:pt x="667777" y="165200"/>
                          <a:pt x="667777" y="106417"/>
                        </a:cubicBezTo>
                        <a:cubicBezTo>
                          <a:pt x="667777" y="47633"/>
                          <a:pt x="652966" y="0"/>
                          <a:pt x="634783" y="0"/>
                        </a:cubicBezTo>
                        <a:lnTo>
                          <a:pt x="32994" y="0"/>
                        </a:lnTo>
                        <a:cubicBezTo>
                          <a:pt x="14810" y="0"/>
                          <a:pt x="0" y="47633"/>
                          <a:pt x="0" y="106417"/>
                        </a:cubicBezTo>
                        <a:cubicBezTo>
                          <a:pt x="0" y="165200"/>
                          <a:pt x="14753" y="212833"/>
                          <a:pt x="32994" y="212833"/>
                        </a:cubicBezTo>
                        <a:lnTo>
                          <a:pt x="617056" y="212833"/>
                        </a:lnTo>
                        <a:close/>
                      </a:path>
                    </a:pathLst>
                  </a:custGeom>
                  <a:noFill/>
                  <a:ln w="9525" cap="flat">
                    <a:solidFill>
                      <a:schemeClr val="bg1"/>
                    </a:solidFill>
                    <a:prstDash val="solid"/>
                    <a:round/>
                  </a:ln>
                </p:spPr>
                <p:txBody>
                  <a:bodyPr rtlCol="0" anchor="ctr"/>
                  <a:lstStyle/>
                  <a:p>
                    <a:endParaRPr lang="en-GB"/>
                  </a:p>
                </p:txBody>
              </p:sp>
            </p:grpSp>
          </p:grpSp>
          <p:sp>
            <p:nvSpPr>
              <p:cNvPr id="23" name="Freeform 22">
                <a:extLst>
                  <a:ext uri="{FF2B5EF4-FFF2-40B4-BE49-F238E27FC236}">
                    <a16:creationId xmlns:a16="http://schemas.microsoft.com/office/drawing/2014/main" id="{05B92952-AFC7-EDF3-1353-894C33838B4F}"/>
                  </a:ext>
                </a:extLst>
              </p:cNvPr>
              <p:cNvSpPr/>
              <p:nvPr/>
            </p:nvSpPr>
            <p:spPr>
              <a:xfrm>
                <a:off x="9042354" y="3461752"/>
                <a:ext cx="266868" cy="164231"/>
              </a:xfrm>
              <a:custGeom>
                <a:avLst/>
                <a:gdLst>
                  <a:gd name="connsiteX0" fmla="*/ 0 w 244283"/>
                  <a:gd name="connsiteY0" fmla="*/ 0 h 150332"/>
                  <a:gd name="connsiteX1" fmla="*/ 0 w 244283"/>
                  <a:gd name="connsiteY1" fmla="*/ 150333 h 150332"/>
                  <a:gd name="connsiteX2" fmla="*/ 244283 w 244283"/>
                  <a:gd name="connsiteY2" fmla="*/ 150333 h 150332"/>
                </a:gdLst>
                <a:ahLst/>
                <a:cxnLst>
                  <a:cxn ang="0">
                    <a:pos x="connsiteX0" y="connsiteY0"/>
                  </a:cxn>
                  <a:cxn ang="0">
                    <a:pos x="connsiteX1" y="connsiteY1"/>
                  </a:cxn>
                  <a:cxn ang="0">
                    <a:pos x="connsiteX2" y="connsiteY2"/>
                  </a:cxn>
                </a:cxnLst>
                <a:rect l="l" t="t" r="r" b="b"/>
                <a:pathLst>
                  <a:path w="244283" h="150332">
                    <a:moveTo>
                      <a:pt x="0" y="0"/>
                    </a:moveTo>
                    <a:lnTo>
                      <a:pt x="0" y="150333"/>
                    </a:lnTo>
                    <a:lnTo>
                      <a:pt x="244283" y="150333"/>
                    </a:lnTo>
                  </a:path>
                </a:pathLst>
              </a:custGeom>
              <a:noFill/>
              <a:ln w="9525" cap="flat">
                <a:solidFill>
                  <a:srgbClr val="FFFFFF"/>
                </a:solidFill>
                <a:prstDash val="solid"/>
                <a:miter/>
              </a:ln>
            </p:spPr>
            <p:txBody>
              <a:bodyPr rtlCol="0" anchor="ctr"/>
              <a:lstStyle/>
              <a:p>
                <a:endParaRPr lang="en-GB"/>
              </a:p>
            </p:txBody>
          </p:sp>
        </p:grpSp>
        <p:sp>
          <p:nvSpPr>
            <p:cNvPr id="59" name="Freeform 58">
              <a:extLst>
                <a:ext uri="{FF2B5EF4-FFF2-40B4-BE49-F238E27FC236}">
                  <a16:creationId xmlns:a16="http://schemas.microsoft.com/office/drawing/2014/main" id="{FA3B4361-B38B-E069-6781-D2D0ACD1794C}"/>
                </a:ext>
              </a:extLst>
            </p:cNvPr>
            <p:cNvSpPr/>
            <p:nvPr/>
          </p:nvSpPr>
          <p:spPr>
            <a:xfrm>
              <a:off x="4762" y="3897263"/>
              <a:ext cx="2080800" cy="0"/>
            </a:xfrm>
            <a:custGeom>
              <a:avLst/>
              <a:gdLst>
                <a:gd name="connsiteX0" fmla="*/ 0 w 1318336"/>
                <a:gd name="connsiteY0" fmla="*/ 0 h 5672"/>
                <a:gd name="connsiteX1" fmla="*/ 1318337 w 1318336"/>
                <a:gd name="connsiteY1" fmla="*/ 0 h 5672"/>
              </a:gdLst>
              <a:ahLst/>
              <a:cxnLst>
                <a:cxn ang="0">
                  <a:pos x="connsiteX0" y="connsiteY0"/>
                </a:cxn>
                <a:cxn ang="0">
                  <a:pos x="connsiteX1" y="connsiteY1"/>
                </a:cxn>
              </a:cxnLst>
              <a:rect l="l" t="t" r="r" b="b"/>
              <a:pathLst>
                <a:path w="1318336" h="5672">
                  <a:moveTo>
                    <a:pt x="0" y="0"/>
                  </a:moveTo>
                  <a:lnTo>
                    <a:pt x="1318337" y="0"/>
                  </a:lnTo>
                </a:path>
              </a:pathLst>
            </a:custGeom>
            <a:ln w="9525" cap="flat">
              <a:solidFill>
                <a:srgbClr val="FFFFFF"/>
              </a:solidFill>
              <a:prstDash val="solid"/>
              <a:miter/>
            </a:ln>
          </p:spPr>
          <p:txBody>
            <a:bodyPr rtlCol="0" anchor="ctr"/>
            <a:lstStyle/>
            <a:p>
              <a:endParaRPr lang="sv-SE"/>
            </a:p>
          </p:txBody>
        </p:sp>
        <p:sp>
          <p:nvSpPr>
            <p:cNvPr id="60" name="Freeform 59">
              <a:extLst>
                <a:ext uri="{FF2B5EF4-FFF2-40B4-BE49-F238E27FC236}">
                  <a16:creationId xmlns:a16="http://schemas.microsoft.com/office/drawing/2014/main" id="{CEF55D46-903D-7A9A-823F-7ED59371361D}"/>
                </a:ext>
              </a:extLst>
            </p:cNvPr>
            <p:cNvSpPr/>
            <p:nvPr/>
          </p:nvSpPr>
          <p:spPr>
            <a:xfrm>
              <a:off x="2228357" y="3897263"/>
              <a:ext cx="10146719" cy="0"/>
            </a:xfrm>
            <a:custGeom>
              <a:avLst/>
              <a:gdLst>
                <a:gd name="connsiteX0" fmla="*/ 0 w 1318336"/>
                <a:gd name="connsiteY0" fmla="*/ 0 h 5672"/>
                <a:gd name="connsiteX1" fmla="*/ 1318337 w 1318336"/>
                <a:gd name="connsiteY1" fmla="*/ 0 h 5672"/>
              </a:gdLst>
              <a:ahLst/>
              <a:cxnLst>
                <a:cxn ang="0">
                  <a:pos x="connsiteX0" y="connsiteY0"/>
                </a:cxn>
                <a:cxn ang="0">
                  <a:pos x="connsiteX1" y="connsiteY1"/>
                </a:cxn>
              </a:cxnLst>
              <a:rect l="l" t="t" r="r" b="b"/>
              <a:pathLst>
                <a:path w="1318336" h="5672">
                  <a:moveTo>
                    <a:pt x="0" y="0"/>
                  </a:moveTo>
                  <a:lnTo>
                    <a:pt x="1318337" y="0"/>
                  </a:lnTo>
                </a:path>
              </a:pathLst>
            </a:custGeom>
            <a:ln w="9525" cap="flat">
              <a:solidFill>
                <a:srgbClr val="FFFFFF"/>
              </a:solidFill>
              <a:prstDash val="solid"/>
              <a:miter/>
            </a:ln>
          </p:spPr>
          <p:txBody>
            <a:bodyPr rtlCol="0" anchor="ctr"/>
            <a:lstStyle/>
            <a:p>
              <a:endParaRPr lang="sv-SE"/>
            </a:p>
          </p:txBody>
        </p:sp>
      </p:grpSp>
      <p:sp>
        <p:nvSpPr>
          <p:cNvPr id="5" name="!!Title 6">
            <a:extLst>
              <a:ext uri="{FF2B5EF4-FFF2-40B4-BE49-F238E27FC236}">
                <a16:creationId xmlns:a16="http://schemas.microsoft.com/office/drawing/2014/main" id="{36DFEA27-6E97-52A5-1ADB-E7D21BD5CB42}"/>
              </a:ext>
            </a:extLst>
          </p:cNvPr>
          <p:cNvSpPr>
            <a:spLocks noGrp="1"/>
          </p:cNvSpPr>
          <p:nvPr>
            <p:ph type="title"/>
          </p:nvPr>
        </p:nvSpPr>
        <p:spPr>
          <a:xfrm>
            <a:off x="546100" y="752400"/>
            <a:ext cx="6154951" cy="1356708"/>
          </a:xfrm>
        </p:spPr>
        <p:txBody>
          <a:bodyPr anchor="t">
            <a:noAutofit/>
          </a:bodyPr>
          <a:lstStyle/>
          <a:p>
            <a:r>
              <a:rPr lang="sv-SE" dirty="0">
                <a:solidFill>
                  <a:schemeClr val="bg1"/>
                </a:solidFill>
              </a:rPr>
              <a:t>Anslutning ovan mark</a:t>
            </a:r>
          </a:p>
        </p:txBody>
      </p:sp>
      <p:grpSp>
        <p:nvGrpSpPr>
          <p:cNvPr id="312" name="!!Hybrit_logo">
            <a:extLst>
              <a:ext uri="{FF2B5EF4-FFF2-40B4-BE49-F238E27FC236}">
                <a16:creationId xmlns:a16="http://schemas.microsoft.com/office/drawing/2014/main" id="{905A0501-F551-002A-4405-175627E25279}"/>
              </a:ext>
            </a:extLst>
          </p:cNvPr>
          <p:cNvGrpSpPr/>
          <p:nvPr/>
        </p:nvGrpSpPr>
        <p:grpSpPr>
          <a:xfrm>
            <a:off x="10823330" y="6338104"/>
            <a:ext cx="1018484" cy="320220"/>
            <a:chOff x="1343025" y="-3013942"/>
            <a:chExt cx="7772397" cy="2443713"/>
          </a:xfrm>
          <a:solidFill>
            <a:schemeClr val="bg1"/>
          </a:solidFill>
        </p:grpSpPr>
        <p:sp>
          <p:nvSpPr>
            <p:cNvPr id="313" name="Freeform 312">
              <a:extLst>
                <a:ext uri="{FF2B5EF4-FFF2-40B4-BE49-F238E27FC236}">
                  <a16:creationId xmlns:a16="http://schemas.microsoft.com/office/drawing/2014/main" id="{FEB72837-B6B2-1468-B1C1-C659C0BC2E8D}"/>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4" name="Freeform 313">
              <a:extLst>
                <a:ext uri="{FF2B5EF4-FFF2-40B4-BE49-F238E27FC236}">
                  <a16:creationId xmlns:a16="http://schemas.microsoft.com/office/drawing/2014/main" id="{1DC4071A-D55D-E05C-B15F-89F87EA733A1}"/>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5" name="Freeform 314">
              <a:extLst>
                <a:ext uri="{FF2B5EF4-FFF2-40B4-BE49-F238E27FC236}">
                  <a16:creationId xmlns:a16="http://schemas.microsoft.com/office/drawing/2014/main" id="{048D7DC8-5986-BAC9-FF0D-195FE60270F5}"/>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6" name="Freeform 315">
              <a:extLst>
                <a:ext uri="{FF2B5EF4-FFF2-40B4-BE49-F238E27FC236}">
                  <a16:creationId xmlns:a16="http://schemas.microsoft.com/office/drawing/2014/main" id="{694E328F-DADF-5CC3-CD10-071C773408D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17" name="Freeform 316">
              <a:extLst>
                <a:ext uri="{FF2B5EF4-FFF2-40B4-BE49-F238E27FC236}">
                  <a16:creationId xmlns:a16="http://schemas.microsoft.com/office/drawing/2014/main" id="{716CA283-6ECF-5271-DC0B-4DE3DBA87B20}"/>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62" name="Group 61">
            <a:extLst>
              <a:ext uri="{FF2B5EF4-FFF2-40B4-BE49-F238E27FC236}">
                <a16:creationId xmlns:a16="http://schemas.microsoft.com/office/drawing/2014/main" id="{A2805460-84B7-45BF-643C-757134C9C4F1}"/>
              </a:ext>
            </a:extLst>
          </p:cNvPr>
          <p:cNvGrpSpPr/>
          <p:nvPr/>
        </p:nvGrpSpPr>
        <p:grpSpPr>
          <a:xfrm>
            <a:off x="5559441" y="3455844"/>
            <a:ext cx="1116827" cy="80711"/>
            <a:chOff x="4571685" y="3680821"/>
            <a:chExt cx="1116827" cy="80711"/>
          </a:xfrm>
        </p:grpSpPr>
        <p:sp>
          <p:nvSpPr>
            <p:cNvPr id="63" name="Freeform 62">
              <a:extLst>
                <a:ext uri="{FF2B5EF4-FFF2-40B4-BE49-F238E27FC236}">
                  <a16:creationId xmlns:a16="http://schemas.microsoft.com/office/drawing/2014/main" id="{6B2BD860-9A08-3E94-AC7A-064ECF9B8B7F}"/>
                </a:ext>
              </a:extLst>
            </p:cNvPr>
            <p:cNvSpPr/>
            <p:nvPr/>
          </p:nvSpPr>
          <p:spPr>
            <a:xfrm>
              <a:off x="4572512" y="3721177"/>
              <a:ext cx="1116000"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27B21"/>
              </a:solidFill>
              <a:prstDash val="solid"/>
              <a:miter/>
            </a:ln>
          </p:spPr>
          <p:txBody>
            <a:bodyPr rtlCol="0" anchor="ctr"/>
            <a:lstStyle/>
            <a:p>
              <a:endParaRPr lang="sv-SE"/>
            </a:p>
          </p:txBody>
        </p:sp>
        <p:sp>
          <p:nvSpPr>
            <p:cNvPr id="256" name="Freeform 255">
              <a:extLst>
                <a:ext uri="{FF2B5EF4-FFF2-40B4-BE49-F238E27FC236}">
                  <a16:creationId xmlns:a16="http://schemas.microsoft.com/office/drawing/2014/main" id="{F39F6537-649F-C5D5-E17E-BE0917A4F282}"/>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27B21"/>
              </a:solidFill>
              <a:prstDash val="solid"/>
              <a:miter/>
            </a:ln>
          </p:spPr>
          <p:txBody>
            <a:bodyPr rtlCol="0" anchor="ctr"/>
            <a:lstStyle/>
            <a:p>
              <a:endParaRPr lang="sv-SE"/>
            </a:p>
          </p:txBody>
        </p:sp>
      </p:grpSp>
      <p:sp>
        <p:nvSpPr>
          <p:cNvPr id="261" name="TextBox 260">
            <a:extLst>
              <a:ext uri="{FF2B5EF4-FFF2-40B4-BE49-F238E27FC236}">
                <a16:creationId xmlns:a16="http://schemas.microsoft.com/office/drawing/2014/main" id="{CD791A69-6B1B-46F0-CE41-294393B499DF}"/>
              </a:ext>
            </a:extLst>
          </p:cNvPr>
          <p:cNvSpPr txBox="1"/>
          <p:nvPr/>
        </p:nvSpPr>
        <p:spPr>
          <a:xfrm>
            <a:off x="8162239" y="4031774"/>
            <a:ext cx="1617800" cy="184209"/>
          </a:xfrm>
          <a:prstGeom prst="rect">
            <a:avLst/>
          </a:prstGeom>
          <a:noFill/>
        </p:spPr>
        <p:txBody>
          <a:bodyPr wrap="square" lIns="0" tIns="36000" rIns="0" bIns="36000" rtlCol="0" anchor="t">
            <a:spAutoFit/>
          </a:bodyPr>
          <a:lstStyle/>
          <a:p>
            <a:pPr algn="ctr">
              <a:lnSpc>
                <a:spcPct val="90000"/>
              </a:lnSpc>
              <a:spcAft>
                <a:spcPts val="1200"/>
              </a:spcAft>
            </a:pPr>
            <a:r>
              <a:rPr lang="sv-SE" sz="800" spc="50" dirty="0">
                <a:solidFill>
                  <a:schemeClr val="bg1"/>
                </a:solidFill>
              </a:rPr>
              <a:t>ELEKTROLYSÖR</a:t>
            </a:r>
          </a:p>
        </p:txBody>
      </p:sp>
      <p:sp>
        <p:nvSpPr>
          <p:cNvPr id="265" name="Triangle 264">
            <a:extLst>
              <a:ext uri="{FF2B5EF4-FFF2-40B4-BE49-F238E27FC236}">
                <a16:creationId xmlns:a16="http://schemas.microsoft.com/office/drawing/2014/main" id="{25378C2E-D8D0-5181-7670-BD9C8247C282}"/>
              </a:ext>
            </a:extLst>
          </p:cNvPr>
          <p:cNvSpPr/>
          <p:nvPr/>
        </p:nvSpPr>
        <p:spPr>
          <a:xfrm>
            <a:off x="3474516" y="4003548"/>
            <a:ext cx="119968" cy="10342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0" name="TextBox 259">
            <a:extLst>
              <a:ext uri="{FF2B5EF4-FFF2-40B4-BE49-F238E27FC236}">
                <a16:creationId xmlns:a16="http://schemas.microsoft.com/office/drawing/2014/main" id="{90FF2394-8C0C-1808-2AFE-169F8761FADF}"/>
              </a:ext>
            </a:extLst>
          </p:cNvPr>
          <p:cNvSpPr txBox="1"/>
          <p:nvPr/>
        </p:nvSpPr>
        <p:spPr>
          <a:xfrm>
            <a:off x="2655045" y="4105514"/>
            <a:ext cx="1758911" cy="709677"/>
          </a:xfrm>
          <a:prstGeom prst="rect">
            <a:avLst/>
          </a:prstGeom>
          <a:solidFill>
            <a:schemeClr val="accent4"/>
          </a:solidFill>
          <a:ln>
            <a:noFill/>
          </a:ln>
        </p:spPr>
        <p:txBody>
          <a:bodyPr wrap="square" lIns="72000" tIns="36000" rIns="72000" bIns="36000" rtlCol="0" anchor="ctr">
            <a:noAutofit/>
          </a:bodyPr>
          <a:lstStyle/>
          <a:p>
            <a:pPr algn="ctr">
              <a:lnSpc>
                <a:spcPct val="90000"/>
              </a:lnSpc>
              <a:spcAft>
                <a:spcPts val="600"/>
              </a:spcAft>
            </a:pPr>
            <a:r>
              <a:rPr lang="sv-SE" sz="800" spc="50" dirty="0">
                <a:solidFill>
                  <a:schemeClr val="bg1"/>
                </a:solidFill>
              </a:rPr>
              <a:t>KOMPRESSORSTATION</a:t>
            </a:r>
          </a:p>
          <a:p>
            <a:pPr algn="ctr">
              <a:lnSpc>
                <a:spcPct val="90000"/>
              </a:lnSpc>
              <a:spcAft>
                <a:spcPts val="600"/>
              </a:spcAft>
            </a:pPr>
            <a:r>
              <a:rPr lang="sv-SE" sz="1200" dirty="0">
                <a:solidFill>
                  <a:schemeClr val="bg1"/>
                </a:solidFill>
              </a:rPr>
              <a:t>Gasen komprimeras</a:t>
            </a:r>
            <a:br>
              <a:rPr lang="sv-SE" sz="1200" dirty="0">
                <a:solidFill>
                  <a:schemeClr val="bg1"/>
                </a:solidFill>
              </a:rPr>
            </a:br>
            <a:r>
              <a:rPr lang="sv-SE" sz="1200" dirty="0">
                <a:solidFill>
                  <a:schemeClr val="bg1"/>
                </a:solidFill>
              </a:rPr>
              <a:t>från 7-9 bar till &lt;250 bar</a:t>
            </a:r>
          </a:p>
        </p:txBody>
      </p:sp>
      <p:sp>
        <p:nvSpPr>
          <p:cNvPr id="266" name="Triangle 265">
            <a:extLst>
              <a:ext uri="{FF2B5EF4-FFF2-40B4-BE49-F238E27FC236}">
                <a16:creationId xmlns:a16="http://schemas.microsoft.com/office/drawing/2014/main" id="{113654B9-E0E9-1B6E-9547-016AD0D9FE1E}"/>
              </a:ext>
            </a:extLst>
          </p:cNvPr>
          <p:cNvSpPr/>
          <p:nvPr/>
        </p:nvSpPr>
        <p:spPr>
          <a:xfrm rot="10800000">
            <a:off x="6057871" y="3301958"/>
            <a:ext cx="119968" cy="10342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4" name="TextBox 263">
            <a:extLst>
              <a:ext uri="{FF2B5EF4-FFF2-40B4-BE49-F238E27FC236}">
                <a16:creationId xmlns:a16="http://schemas.microsoft.com/office/drawing/2014/main" id="{C882EB79-B0D1-6A23-F0D2-36F0EB53FA61}"/>
              </a:ext>
            </a:extLst>
          </p:cNvPr>
          <p:cNvSpPr txBox="1"/>
          <p:nvPr/>
        </p:nvSpPr>
        <p:spPr>
          <a:xfrm>
            <a:off x="5610787" y="2806430"/>
            <a:ext cx="1014136" cy="502007"/>
          </a:xfrm>
          <a:prstGeom prst="rect">
            <a:avLst/>
          </a:prstGeom>
          <a:solidFill>
            <a:schemeClr val="accent4"/>
          </a:solidFill>
          <a:ln>
            <a:noFill/>
          </a:ln>
        </p:spPr>
        <p:txBody>
          <a:bodyPr wrap="square" lIns="72000" tIns="36000" rIns="72000" bIns="36000" rtlCol="0" anchor="ctr">
            <a:noAutofit/>
          </a:bodyPr>
          <a:lstStyle/>
          <a:p>
            <a:pPr algn="ctr">
              <a:lnSpc>
                <a:spcPct val="90000"/>
              </a:lnSpc>
              <a:spcAft>
                <a:spcPts val="600"/>
              </a:spcAft>
            </a:pPr>
            <a:r>
              <a:rPr lang="sv-SE" sz="800" spc="50" dirty="0">
                <a:solidFill>
                  <a:schemeClr val="bg1"/>
                </a:solidFill>
              </a:rPr>
              <a:t>RÖRLEDNING</a:t>
            </a:r>
            <a:endParaRPr lang="sv-SE" sz="1200" spc="50" dirty="0">
              <a:solidFill>
                <a:schemeClr val="bg1"/>
              </a:solidFill>
            </a:endParaRPr>
          </a:p>
          <a:p>
            <a:pPr algn="ctr">
              <a:lnSpc>
                <a:spcPct val="90000"/>
              </a:lnSpc>
              <a:spcAft>
                <a:spcPts val="600"/>
              </a:spcAft>
            </a:pPr>
            <a:r>
              <a:rPr lang="sv-SE" sz="1200" dirty="0">
                <a:solidFill>
                  <a:schemeClr val="bg1"/>
                </a:solidFill>
              </a:rPr>
              <a:t>ca 3 km</a:t>
            </a:r>
          </a:p>
        </p:txBody>
      </p:sp>
      <p:sp>
        <p:nvSpPr>
          <p:cNvPr id="2" name="!!Mask">
            <a:extLst>
              <a:ext uri="{FF2B5EF4-FFF2-40B4-BE49-F238E27FC236}">
                <a16:creationId xmlns:a16="http://schemas.microsoft.com/office/drawing/2014/main" id="{58ED1006-DD58-DC4D-5A99-72BC8E1AC06A}"/>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7563219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2"/>
                                        </p:tgtEl>
                                        <p:attrNameLst>
                                          <p:attrName>style.visibility</p:attrName>
                                        </p:attrNameLst>
                                      </p:cBhvr>
                                      <p:to>
                                        <p:strVal val="visible"/>
                                      </p:to>
                                    </p:set>
                                    <p:animEffect transition="in" filter="fade">
                                      <p:cBhvr>
                                        <p:cTn id="7" dur="500"/>
                                        <p:tgtEl>
                                          <p:spTgt spid="312"/>
                                        </p:tgtEl>
                                      </p:cBhvr>
                                    </p:animEffect>
                                  </p:childTnLst>
                                </p:cTn>
                              </p:par>
                              <p:par>
                                <p:cTn id="8" presetID="2" presetClass="entr" presetSubtype="4" decel="50000" fill="hold" nodeType="withEffect">
                                  <p:stCondLst>
                                    <p:cond delay="0"/>
                                  </p:stCondLst>
                                  <p:childTnLst>
                                    <p:set>
                                      <p:cBhvr>
                                        <p:cTn id="9" dur="1" fill="hold">
                                          <p:stCondLst>
                                            <p:cond delay="0"/>
                                          </p:stCondLst>
                                        </p:cTn>
                                        <p:tgtEl>
                                          <p:spTgt spid="274"/>
                                        </p:tgtEl>
                                        <p:attrNameLst>
                                          <p:attrName>style.visibility</p:attrName>
                                        </p:attrNameLst>
                                      </p:cBhvr>
                                      <p:to>
                                        <p:strVal val="visible"/>
                                      </p:to>
                                    </p:set>
                                    <p:anim calcmode="lin" valueType="num">
                                      <p:cBhvr additive="base">
                                        <p:cTn id="10" dur="500" fill="hold"/>
                                        <p:tgtEl>
                                          <p:spTgt spid="274"/>
                                        </p:tgtEl>
                                        <p:attrNameLst>
                                          <p:attrName>ppt_x</p:attrName>
                                        </p:attrNameLst>
                                      </p:cBhvr>
                                      <p:tavLst>
                                        <p:tav tm="0">
                                          <p:val>
                                            <p:strVal val="#ppt_x"/>
                                          </p:val>
                                        </p:tav>
                                        <p:tav tm="100000">
                                          <p:val>
                                            <p:strVal val="#ppt_x"/>
                                          </p:val>
                                        </p:tav>
                                      </p:tavLst>
                                    </p:anim>
                                    <p:anim calcmode="lin" valueType="num">
                                      <p:cBhvr additive="base">
                                        <p:cTn id="11" dur="500" fill="hold"/>
                                        <p:tgtEl>
                                          <p:spTgt spid="27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61"/>
                                        </p:tgtEl>
                                        <p:attrNameLst>
                                          <p:attrName>style.visibility</p:attrName>
                                        </p:attrNameLst>
                                      </p:cBhvr>
                                      <p:to>
                                        <p:strVal val="visible"/>
                                      </p:to>
                                    </p:set>
                                    <p:animEffect transition="in" filter="fade">
                                      <p:cBhvr>
                                        <p:cTn id="20" dur="500"/>
                                        <p:tgtEl>
                                          <p:spTgt spid="261"/>
                                        </p:tgtEl>
                                      </p:cBhvr>
                                    </p:animEffect>
                                  </p:childTnLst>
                                </p:cTn>
                              </p:par>
                            </p:childTnLst>
                          </p:cTn>
                        </p:par>
                        <p:par>
                          <p:cTn id="21" fill="hold">
                            <p:stCondLst>
                              <p:cond delay="1000"/>
                            </p:stCondLst>
                            <p:childTnLst>
                              <p:par>
                                <p:cTn id="22" presetID="18" presetClass="entr" presetSubtype="12" fill="hold" grpId="0"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strips(downLeft)">
                                      <p:cBhvr>
                                        <p:cTn id="24" dur="1000"/>
                                        <p:tgtEl>
                                          <p:spTgt spid="25"/>
                                        </p:tgtEl>
                                      </p:cBhvr>
                                    </p:animEffect>
                                  </p:childTnLst>
                                </p:cTn>
                              </p:par>
                              <p:par>
                                <p:cTn id="25" presetID="22" presetClass="entr" presetSubtype="2" fill="hold" nodeType="with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wipe(right)">
                                      <p:cBhvr>
                                        <p:cTn id="27" dur="300"/>
                                        <p:tgtEl>
                                          <p:spTgt spid="62"/>
                                        </p:tgtEl>
                                      </p:cBhvr>
                                    </p:animEffect>
                                  </p:childTnLst>
                                </p:cTn>
                              </p:par>
                              <p:par>
                                <p:cTn id="28" presetID="55" presetClass="entr" presetSubtype="0" fill="hold" grpId="0" nodeType="withEffect">
                                  <p:stCondLst>
                                    <p:cond delay="0"/>
                                  </p:stCondLst>
                                  <p:childTnLst>
                                    <p:set>
                                      <p:cBhvr>
                                        <p:cTn id="29" dur="1" fill="hold">
                                          <p:stCondLst>
                                            <p:cond delay="0"/>
                                          </p:stCondLst>
                                        </p:cTn>
                                        <p:tgtEl>
                                          <p:spTgt spid="264"/>
                                        </p:tgtEl>
                                        <p:attrNameLst>
                                          <p:attrName>style.visibility</p:attrName>
                                        </p:attrNameLst>
                                      </p:cBhvr>
                                      <p:to>
                                        <p:strVal val="visible"/>
                                      </p:to>
                                    </p:set>
                                    <p:anim calcmode="lin" valueType="num">
                                      <p:cBhvr>
                                        <p:cTn id="30" dur="300" fill="hold"/>
                                        <p:tgtEl>
                                          <p:spTgt spid="264"/>
                                        </p:tgtEl>
                                        <p:attrNameLst>
                                          <p:attrName>ppt_w</p:attrName>
                                        </p:attrNameLst>
                                      </p:cBhvr>
                                      <p:tavLst>
                                        <p:tav tm="0">
                                          <p:val>
                                            <p:strVal val="#ppt_w*0.70"/>
                                          </p:val>
                                        </p:tav>
                                        <p:tav tm="100000">
                                          <p:val>
                                            <p:strVal val="#ppt_w"/>
                                          </p:val>
                                        </p:tav>
                                      </p:tavLst>
                                    </p:anim>
                                    <p:anim calcmode="lin" valueType="num">
                                      <p:cBhvr>
                                        <p:cTn id="31" dur="300" fill="hold"/>
                                        <p:tgtEl>
                                          <p:spTgt spid="264"/>
                                        </p:tgtEl>
                                        <p:attrNameLst>
                                          <p:attrName>ppt_h</p:attrName>
                                        </p:attrNameLst>
                                      </p:cBhvr>
                                      <p:tavLst>
                                        <p:tav tm="0">
                                          <p:val>
                                            <p:strVal val="#ppt_h"/>
                                          </p:val>
                                        </p:tav>
                                        <p:tav tm="100000">
                                          <p:val>
                                            <p:strVal val="#ppt_h"/>
                                          </p:val>
                                        </p:tav>
                                      </p:tavLst>
                                    </p:anim>
                                    <p:animEffect transition="in" filter="fade">
                                      <p:cBhvr>
                                        <p:cTn id="32" dur="300"/>
                                        <p:tgtEl>
                                          <p:spTgt spid="264"/>
                                        </p:tgtEl>
                                      </p:cBhvr>
                                    </p:animEffect>
                                  </p:childTnLst>
                                </p:cTn>
                              </p:par>
                              <p:par>
                                <p:cTn id="33" presetID="12" presetClass="entr" presetSubtype="1" fill="hold" grpId="0" nodeType="withEffect">
                                  <p:stCondLst>
                                    <p:cond delay="300"/>
                                  </p:stCondLst>
                                  <p:childTnLst>
                                    <p:set>
                                      <p:cBhvr>
                                        <p:cTn id="34" dur="1" fill="hold">
                                          <p:stCondLst>
                                            <p:cond delay="0"/>
                                          </p:stCondLst>
                                        </p:cTn>
                                        <p:tgtEl>
                                          <p:spTgt spid="266"/>
                                        </p:tgtEl>
                                        <p:attrNameLst>
                                          <p:attrName>style.visibility</p:attrName>
                                        </p:attrNameLst>
                                      </p:cBhvr>
                                      <p:to>
                                        <p:strVal val="visible"/>
                                      </p:to>
                                    </p:set>
                                    <p:anim calcmode="lin" valueType="num">
                                      <p:cBhvr additive="base">
                                        <p:cTn id="35" dur="300"/>
                                        <p:tgtEl>
                                          <p:spTgt spid="266"/>
                                        </p:tgtEl>
                                        <p:attrNameLst>
                                          <p:attrName>ppt_y</p:attrName>
                                        </p:attrNameLst>
                                      </p:cBhvr>
                                      <p:tavLst>
                                        <p:tav tm="0">
                                          <p:val>
                                            <p:strVal val="#ppt_y-#ppt_h*1.125000"/>
                                          </p:val>
                                        </p:tav>
                                        <p:tav tm="100000">
                                          <p:val>
                                            <p:strVal val="#ppt_y"/>
                                          </p:val>
                                        </p:tav>
                                      </p:tavLst>
                                    </p:anim>
                                    <p:animEffect transition="in" filter="wipe(down)">
                                      <p:cBhvr>
                                        <p:cTn id="36" dur="300"/>
                                        <p:tgtEl>
                                          <p:spTgt spid="266"/>
                                        </p:tgtEl>
                                      </p:cBhvr>
                                    </p:animEffect>
                                  </p:childTnLst>
                                </p:cTn>
                              </p:par>
                            </p:childTnLst>
                          </p:cTn>
                        </p:par>
                        <p:par>
                          <p:cTn id="37" fill="hold">
                            <p:stCondLst>
                              <p:cond delay="2000"/>
                            </p:stCondLst>
                            <p:childTnLst>
                              <p:par>
                                <p:cTn id="38" presetID="55" presetClass="entr" presetSubtype="0" fill="hold" grpId="0" nodeType="afterEffect">
                                  <p:stCondLst>
                                    <p:cond delay="0"/>
                                  </p:stCondLst>
                                  <p:childTnLst>
                                    <p:set>
                                      <p:cBhvr>
                                        <p:cTn id="39" dur="1" fill="hold">
                                          <p:stCondLst>
                                            <p:cond delay="0"/>
                                          </p:stCondLst>
                                        </p:cTn>
                                        <p:tgtEl>
                                          <p:spTgt spid="260"/>
                                        </p:tgtEl>
                                        <p:attrNameLst>
                                          <p:attrName>style.visibility</p:attrName>
                                        </p:attrNameLst>
                                      </p:cBhvr>
                                      <p:to>
                                        <p:strVal val="visible"/>
                                      </p:to>
                                    </p:set>
                                    <p:anim calcmode="lin" valueType="num">
                                      <p:cBhvr>
                                        <p:cTn id="40" dur="300" fill="hold"/>
                                        <p:tgtEl>
                                          <p:spTgt spid="260"/>
                                        </p:tgtEl>
                                        <p:attrNameLst>
                                          <p:attrName>ppt_w</p:attrName>
                                        </p:attrNameLst>
                                      </p:cBhvr>
                                      <p:tavLst>
                                        <p:tav tm="0">
                                          <p:val>
                                            <p:strVal val="#ppt_w*0.70"/>
                                          </p:val>
                                        </p:tav>
                                        <p:tav tm="100000">
                                          <p:val>
                                            <p:strVal val="#ppt_w"/>
                                          </p:val>
                                        </p:tav>
                                      </p:tavLst>
                                    </p:anim>
                                    <p:anim calcmode="lin" valueType="num">
                                      <p:cBhvr>
                                        <p:cTn id="41" dur="300" fill="hold"/>
                                        <p:tgtEl>
                                          <p:spTgt spid="260"/>
                                        </p:tgtEl>
                                        <p:attrNameLst>
                                          <p:attrName>ppt_h</p:attrName>
                                        </p:attrNameLst>
                                      </p:cBhvr>
                                      <p:tavLst>
                                        <p:tav tm="0">
                                          <p:val>
                                            <p:strVal val="#ppt_h"/>
                                          </p:val>
                                        </p:tav>
                                        <p:tav tm="100000">
                                          <p:val>
                                            <p:strVal val="#ppt_h"/>
                                          </p:val>
                                        </p:tav>
                                      </p:tavLst>
                                    </p:anim>
                                    <p:animEffect transition="in" filter="fade">
                                      <p:cBhvr>
                                        <p:cTn id="42" dur="300"/>
                                        <p:tgtEl>
                                          <p:spTgt spid="260"/>
                                        </p:tgtEl>
                                      </p:cBhvr>
                                    </p:animEffect>
                                  </p:childTnLst>
                                </p:cTn>
                              </p:par>
                              <p:par>
                                <p:cTn id="43" presetID="12" presetClass="entr" presetSubtype="4" fill="hold" grpId="0" nodeType="withEffect">
                                  <p:stCondLst>
                                    <p:cond delay="300"/>
                                  </p:stCondLst>
                                  <p:childTnLst>
                                    <p:set>
                                      <p:cBhvr>
                                        <p:cTn id="44" dur="1" fill="hold">
                                          <p:stCondLst>
                                            <p:cond delay="0"/>
                                          </p:stCondLst>
                                        </p:cTn>
                                        <p:tgtEl>
                                          <p:spTgt spid="265"/>
                                        </p:tgtEl>
                                        <p:attrNameLst>
                                          <p:attrName>style.visibility</p:attrName>
                                        </p:attrNameLst>
                                      </p:cBhvr>
                                      <p:to>
                                        <p:strVal val="visible"/>
                                      </p:to>
                                    </p:set>
                                    <p:anim calcmode="lin" valueType="num">
                                      <p:cBhvr additive="base">
                                        <p:cTn id="45" dur="300"/>
                                        <p:tgtEl>
                                          <p:spTgt spid="265"/>
                                        </p:tgtEl>
                                        <p:attrNameLst>
                                          <p:attrName>ppt_y</p:attrName>
                                        </p:attrNameLst>
                                      </p:cBhvr>
                                      <p:tavLst>
                                        <p:tav tm="0">
                                          <p:val>
                                            <p:strVal val="#ppt_y+#ppt_h*1.125000"/>
                                          </p:val>
                                        </p:tav>
                                        <p:tav tm="100000">
                                          <p:val>
                                            <p:strVal val="#ppt_y"/>
                                          </p:val>
                                        </p:tav>
                                      </p:tavLst>
                                    </p:anim>
                                    <p:animEffect transition="in" filter="wipe(up)">
                                      <p:cBhvr>
                                        <p:cTn id="46" dur="300"/>
                                        <p:tgtEl>
                                          <p:spTgt spid="265"/>
                                        </p:tgtEl>
                                      </p:cBhvr>
                                    </p:animEffect>
                                  </p:childTnLst>
                                </p:cTn>
                              </p:par>
                              <p:par>
                                <p:cTn id="47" presetID="18" presetClass="entr" presetSubtype="12" fill="hold" grpId="0" nodeType="withEffect">
                                  <p:stCondLst>
                                    <p:cond delay="500"/>
                                  </p:stCondLst>
                                  <p:childTnLst>
                                    <p:set>
                                      <p:cBhvr>
                                        <p:cTn id="48" dur="1" fill="hold">
                                          <p:stCondLst>
                                            <p:cond delay="0"/>
                                          </p:stCondLst>
                                        </p:cTn>
                                        <p:tgtEl>
                                          <p:spTgt spid="24"/>
                                        </p:tgtEl>
                                        <p:attrNameLst>
                                          <p:attrName>style.visibility</p:attrName>
                                        </p:attrNameLst>
                                      </p:cBhvr>
                                      <p:to>
                                        <p:strVal val="visible"/>
                                      </p:to>
                                    </p:set>
                                    <p:animEffect transition="in" filter="strips(downLeft)">
                                      <p:cBhvr>
                                        <p:cTn id="49" dur="1000"/>
                                        <p:tgtEl>
                                          <p:spTgt spid="24"/>
                                        </p:tgtEl>
                                      </p:cBhvr>
                                    </p:animEffect>
                                  </p:childTnLst>
                                </p:cTn>
                              </p:par>
                              <p:par>
                                <p:cTn id="50" presetID="1" presetClass="emph" presetSubtype="2" fill="hold" nodeType="withEffect">
                                  <p:stCondLst>
                                    <p:cond delay="500"/>
                                  </p:stCondLst>
                                  <p:childTnLst>
                                    <p:animClr clrSpc="rgb" dir="cw">
                                      <p:cBhvr>
                                        <p:cTn id="51" dur="2000" fill="hold"/>
                                        <p:tgtEl>
                                          <p:spTgt spid="3"/>
                                        </p:tgtEl>
                                        <p:attrNameLst>
                                          <p:attrName>fillcolor</p:attrName>
                                        </p:attrNameLst>
                                      </p:cBhvr>
                                      <p:to>
                                        <a:srgbClr val="F37B21"/>
                                      </p:to>
                                    </p:animClr>
                                    <p:set>
                                      <p:cBhvr>
                                        <p:cTn id="52" dur="2000" fill="hold"/>
                                        <p:tgtEl>
                                          <p:spTgt spid="3"/>
                                        </p:tgtEl>
                                        <p:attrNameLst>
                                          <p:attrName>fill.type</p:attrName>
                                        </p:attrNameLst>
                                      </p:cBhvr>
                                      <p:to>
                                        <p:strVal val="solid"/>
                                      </p:to>
                                    </p:set>
                                    <p:set>
                                      <p:cBhvr>
                                        <p:cTn id="53" dur="2000" fill="hold"/>
                                        <p:tgtEl>
                                          <p:spTgt spid="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4" grpId="0" animBg="1"/>
      <p:bldP spid="25" grpId="0" animBg="1"/>
      <p:bldP spid="5" grpId="0"/>
      <p:bldP spid="261" grpId="0"/>
      <p:bldP spid="265" grpId="0" animBg="1"/>
      <p:bldP spid="260" grpId="0" animBg="1"/>
      <p:bldP spid="266" grpId="0" animBg="1"/>
      <p:bldP spid="264"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72978472-945D-B8BA-BA71-6D16B832F6BD}"/>
            </a:ext>
          </a:extLst>
        </p:cNvPr>
        <p:cNvGrpSpPr/>
        <p:nvPr/>
      </p:nvGrpSpPr>
      <p:grpSpPr>
        <a:xfrm>
          <a:off x="0" y="0"/>
          <a:ext cx="0" cy="0"/>
          <a:chOff x="0" y="0"/>
          <a:chExt cx="0" cy="0"/>
        </a:xfrm>
      </p:grpSpPr>
      <p:pic>
        <p:nvPicPr>
          <p:cNvPr id="7" name="!!BG_kompressor" descr="A metal structure in a snowy landscape&#10;&#10;AI-generated content may be incorrect.">
            <a:extLst>
              <a:ext uri="{FF2B5EF4-FFF2-40B4-BE49-F238E27FC236}">
                <a16:creationId xmlns:a16="http://schemas.microsoft.com/office/drawing/2014/main" id="{F4A9ED23-FDEE-0BDE-F843-2A7806D667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273643"/>
            <a:ext cx="12192000" cy="9131643"/>
          </a:xfrm>
          <a:prstGeom prst="rect">
            <a:avLst/>
          </a:prstGeom>
        </p:spPr>
      </p:pic>
      <p:grpSp>
        <p:nvGrpSpPr>
          <p:cNvPr id="257" name="!!Hybrit_logo">
            <a:extLst>
              <a:ext uri="{FF2B5EF4-FFF2-40B4-BE49-F238E27FC236}">
                <a16:creationId xmlns:a16="http://schemas.microsoft.com/office/drawing/2014/main" id="{1DEFFC70-BD80-456B-9C0F-F5E09CCC8A86}"/>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CCF68B0E-39A9-A46F-519B-E11B0BD1E3A0}"/>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6F87D6D1-2C5C-9A8A-A20E-387854A01933}"/>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BAF88EB6-E4CC-27A4-D83D-A16C4303DE4B}"/>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57242A21-09C5-621E-B9D7-0C8C2C16D487}"/>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D9FEA8B4-BFB0-A19D-33B0-FC16A52CA42B}"/>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6" name="!!TextBox 5">
            <a:extLst>
              <a:ext uri="{FF2B5EF4-FFF2-40B4-BE49-F238E27FC236}">
                <a16:creationId xmlns:a16="http://schemas.microsoft.com/office/drawing/2014/main" id="{20E9BB35-AC98-AB2C-080A-0C6A08C752E6}"/>
              </a:ext>
            </a:extLst>
          </p:cNvPr>
          <p:cNvSpPr txBox="1"/>
          <p:nvPr/>
        </p:nvSpPr>
        <p:spPr>
          <a:xfrm>
            <a:off x="546101" y="3153775"/>
            <a:ext cx="5405438" cy="83099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Tx/>
              <a:buBlip>
                <a:blip r:embed="rId4">
                  <a:extLst>
                    <a:ext uri="{96DAC541-7B7A-43D3-8B79-37D633B846F1}">
                      <asvg:svgBlip xmlns:asvg="http://schemas.microsoft.com/office/drawing/2016/SVG/main" r:embed="rId5"/>
                    </a:ext>
                  </a:extLst>
                </a:blip>
              </a:buBlip>
              <a:tabLst/>
              <a:defRPr/>
            </a:pPr>
            <a:r>
              <a:rPr kumimoji="0" lang="sv-SE" sz="1800" b="0" i="0" u="none" strike="noStrike" kern="1200" cap="none" spc="0" normalizeH="0" baseline="0" noProof="0" dirty="0">
                <a:ln>
                  <a:noFill/>
                </a:ln>
                <a:solidFill>
                  <a:srgbClr val="FFFFFF"/>
                </a:solidFill>
                <a:effectLst/>
                <a:uLnTx/>
                <a:uFillTx/>
                <a:latin typeface="Aptos" panose="02110004020202020204"/>
                <a:ea typeface="+mn-ea"/>
                <a:cs typeface="+mn-cs"/>
              </a:rPr>
              <a:t>Projektet har med framgångsrika tester av pilot-anläggningen i Luleå visat att vätgaslagring med LRC-teknik fungerar</a:t>
            </a:r>
          </a:p>
        </p:txBody>
      </p:sp>
      <p:sp>
        <p:nvSpPr>
          <p:cNvPr id="4" name="!!Title lagring">
            <a:extLst>
              <a:ext uri="{FF2B5EF4-FFF2-40B4-BE49-F238E27FC236}">
                <a16:creationId xmlns:a16="http://schemas.microsoft.com/office/drawing/2014/main" id="{95F87B76-C2B5-6C1C-2B70-2AA5C0765DA8}"/>
              </a:ext>
            </a:extLst>
          </p:cNvPr>
          <p:cNvSpPr>
            <a:spLocks noGrp="1"/>
          </p:cNvSpPr>
          <p:nvPr>
            <p:ph type="title"/>
          </p:nvPr>
        </p:nvSpPr>
        <p:spPr>
          <a:xfrm>
            <a:off x="546100" y="799200"/>
            <a:ext cx="10080625" cy="2003500"/>
          </a:xfrm>
        </p:spPr>
        <p:txBody>
          <a:bodyPr anchor="b"/>
          <a:lstStyle/>
          <a:p>
            <a:r>
              <a:rPr lang="sv-SE" sz="5000" dirty="0">
                <a:solidFill>
                  <a:schemeClr val="bg1"/>
                </a:solidFill>
              </a:rPr>
              <a:t>Testning </a:t>
            </a:r>
            <a:br>
              <a:rPr lang="sv-SE" sz="5000" dirty="0">
                <a:solidFill>
                  <a:schemeClr val="bg1"/>
                </a:solidFill>
              </a:rPr>
            </a:br>
            <a:r>
              <a:rPr lang="sv-SE" sz="5000" dirty="0">
                <a:solidFill>
                  <a:schemeClr val="bg1"/>
                </a:solidFill>
              </a:rPr>
              <a:t>av pilotlager</a:t>
            </a:r>
          </a:p>
        </p:txBody>
      </p:sp>
      <p:sp>
        <p:nvSpPr>
          <p:cNvPr id="2" name="!!Mask">
            <a:extLst>
              <a:ext uri="{FF2B5EF4-FFF2-40B4-BE49-F238E27FC236}">
                <a16:creationId xmlns:a16="http://schemas.microsoft.com/office/drawing/2014/main" id="{4C32338A-6FE2-B4DD-D081-FB984DAB3185}"/>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8373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984DDAB7-8D1F-FDB4-D0E9-B63F98BB1817}"/>
            </a:ext>
          </a:extLst>
        </p:cNvPr>
        <p:cNvGrpSpPr/>
        <p:nvPr/>
      </p:nvGrpSpPr>
      <p:grpSpPr>
        <a:xfrm>
          <a:off x="0" y="0"/>
          <a:ext cx="0" cy="0"/>
          <a:chOff x="0" y="0"/>
          <a:chExt cx="0" cy="0"/>
        </a:xfrm>
      </p:grpSpPr>
      <p:pic>
        <p:nvPicPr>
          <p:cNvPr id="4" name="!!BG_kompressor" descr="A metal structure in a snowy landscape&#10;&#10;AI-generated content may be incorrect.">
            <a:extLst>
              <a:ext uri="{FF2B5EF4-FFF2-40B4-BE49-F238E27FC236}">
                <a16:creationId xmlns:a16="http://schemas.microsoft.com/office/drawing/2014/main" id="{0F68F3DC-FEE6-8E70-B10A-831D17267D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6128068" cy="12079705"/>
          </a:xfrm>
          <a:prstGeom prst="rect">
            <a:avLst/>
          </a:prstGeom>
        </p:spPr>
      </p:pic>
      <p:grpSp>
        <p:nvGrpSpPr>
          <p:cNvPr id="257" name="!!Hybrit_logo">
            <a:extLst>
              <a:ext uri="{FF2B5EF4-FFF2-40B4-BE49-F238E27FC236}">
                <a16:creationId xmlns:a16="http://schemas.microsoft.com/office/drawing/2014/main" id="{A5B5D303-F68A-8108-5B80-BF2690113CE7}"/>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9E3E3B50-E69C-6317-7761-FB2B8E856BB2}"/>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E5BB4991-F7BC-FB57-F069-19DE55128244}"/>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6D756C45-7DA4-98D9-05BD-7471196D1193}"/>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AF129D69-7734-A4A6-1355-C6660A1E4080}"/>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7722588E-5223-1180-F364-B1B2F8568F5D}"/>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6" name="Title 5">
            <a:extLst>
              <a:ext uri="{FF2B5EF4-FFF2-40B4-BE49-F238E27FC236}">
                <a16:creationId xmlns:a16="http://schemas.microsoft.com/office/drawing/2014/main" id="{C53489EF-E0A1-9CCD-CA99-C431F764C870}"/>
              </a:ext>
            </a:extLst>
          </p:cNvPr>
          <p:cNvSpPr>
            <a:spLocks noGrp="1"/>
          </p:cNvSpPr>
          <p:nvPr>
            <p:ph type="title"/>
          </p:nvPr>
        </p:nvSpPr>
        <p:spPr/>
        <p:txBody>
          <a:bodyPr/>
          <a:lstStyle/>
          <a:p>
            <a:r>
              <a:rPr lang="sv-SE" noProof="0" dirty="0">
                <a:solidFill>
                  <a:schemeClr val="bg1"/>
                </a:solidFill>
              </a:rPr>
              <a:t>Resultat i korthet</a:t>
            </a:r>
          </a:p>
        </p:txBody>
      </p:sp>
      <p:sp>
        <p:nvSpPr>
          <p:cNvPr id="8" name="TextBox 7">
            <a:extLst>
              <a:ext uri="{FF2B5EF4-FFF2-40B4-BE49-F238E27FC236}">
                <a16:creationId xmlns:a16="http://schemas.microsoft.com/office/drawing/2014/main" id="{AEE1D8FA-C317-988E-0733-8A64F3A7CBDE}"/>
              </a:ext>
            </a:extLst>
          </p:cNvPr>
          <p:cNvSpPr txBox="1"/>
          <p:nvPr/>
        </p:nvSpPr>
        <p:spPr>
          <a:xfrm>
            <a:off x="716381" y="3021160"/>
            <a:ext cx="2378880" cy="553998"/>
          </a:xfrm>
          <a:prstGeom prst="rect">
            <a:avLst/>
          </a:prstGeom>
          <a:noFill/>
        </p:spPr>
        <p:txBody>
          <a:bodyPr wrap="square" lIns="0" tIns="0" rIns="0" bIns="0" rtlCol="0">
            <a:spAutoFit/>
          </a:bodyPr>
          <a:lstStyle/>
          <a:p>
            <a:pPr algn="ctr"/>
            <a:r>
              <a:rPr lang="sv-SE" dirty="0">
                <a:solidFill>
                  <a:schemeClr val="bg1"/>
                </a:solidFill>
              </a:rPr>
              <a:t>timmars drift med </a:t>
            </a:r>
            <a:br>
              <a:rPr lang="sv-SE" dirty="0">
                <a:solidFill>
                  <a:schemeClr val="bg1"/>
                </a:solidFill>
              </a:rPr>
            </a:br>
            <a:r>
              <a:rPr lang="sv-SE" dirty="0">
                <a:solidFill>
                  <a:schemeClr val="bg1"/>
                </a:solidFill>
              </a:rPr>
              <a:t>94 % tillgänglighet</a:t>
            </a:r>
          </a:p>
        </p:txBody>
      </p:sp>
      <p:sp>
        <p:nvSpPr>
          <p:cNvPr id="9" name="TextBox 8">
            <a:extLst>
              <a:ext uri="{FF2B5EF4-FFF2-40B4-BE49-F238E27FC236}">
                <a16:creationId xmlns:a16="http://schemas.microsoft.com/office/drawing/2014/main" id="{EFE8791B-CF37-7486-1786-D9CB7DDB7CED}"/>
              </a:ext>
            </a:extLst>
          </p:cNvPr>
          <p:cNvSpPr txBox="1"/>
          <p:nvPr/>
        </p:nvSpPr>
        <p:spPr>
          <a:xfrm>
            <a:off x="512981" y="2076039"/>
            <a:ext cx="2785680" cy="1015663"/>
          </a:xfrm>
          <a:prstGeom prst="rect">
            <a:avLst/>
          </a:prstGeom>
          <a:noFill/>
        </p:spPr>
        <p:txBody>
          <a:bodyPr wrap="square" lIns="0" tIns="0" rIns="0" bIns="0" rtlCol="0" anchor="b">
            <a:spAutoFit/>
          </a:bodyPr>
          <a:lstStyle/>
          <a:p>
            <a:pPr algn="ctr"/>
            <a:r>
              <a:rPr lang="sv-SE" sz="6600" dirty="0">
                <a:solidFill>
                  <a:schemeClr val="bg1"/>
                </a:solidFill>
              </a:rPr>
              <a:t>3</a:t>
            </a:r>
            <a:r>
              <a:rPr lang="sv-SE" sz="4400" dirty="0">
                <a:solidFill>
                  <a:schemeClr val="bg1"/>
                </a:solidFill>
              </a:rPr>
              <a:t> </a:t>
            </a:r>
            <a:r>
              <a:rPr lang="sv-SE" sz="6600" dirty="0">
                <a:solidFill>
                  <a:schemeClr val="bg1"/>
                </a:solidFill>
              </a:rPr>
              <a:t>800</a:t>
            </a:r>
          </a:p>
        </p:txBody>
      </p:sp>
      <p:sp>
        <p:nvSpPr>
          <p:cNvPr id="10" name="TextBox 9">
            <a:extLst>
              <a:ext uri="{FF2B5EF4-FFF2-40B4-BE49-F238E27FC236}">
                <a16:creationId xmlns:a16="http://schemas.microsoft.com/office/drawing/2014/main" id="{4F77FE15-9410-C3A2-86A8-87CDE188FD6C}"/>
              </a:ext>
            </a:extLst>
          </p:cNvPr>
          <p:cNvSpPr txBox="1"/>
          <p:nvPr/>
        </p:nvSpPr>
        <p:spPr>
          <a:xfrm>
            <a:off x="4906560" y="3021160"/>
            <a:ext cx="2378880" cy="553998"/>
          </a:xfrm>
          <a:prstGeom prst="rect">
            <a:avLst/>
          </a:prstGeom>
          <a:noFill/>
        </p:spPr>
        <p:txBody>
          <a:bodyPr wrap="square" lIns="0" tIns="0" rIns="0" bIns="0" rtlCol="0">
            <a:spAutoFit/>
          </a:bodyPr>
          <a:lstStyle/>
          <a:p>
            <a:pPr algn="ctr"/>
            <a:r>
              <a:rPr lang="sv-SE" dirty="0">
                <a:solidFill>
                  <a:schemeClr val="bg1"/>
                </a:solidFill>
              </a:rPr>
              <a:t>som maximal </a:t>
            </a:r>
            <a:br>
              <a:rPr lang="sv-SE" dirty="0">
                <a:solidFill>
                  <a:schemeClr val="bg1"/>
                </a:solidFill>
              </a:rPr>
            </a:br>
            <a:r>
              <a:rPr lang="sv-SE" dirty="0">
                <a:solidFill>
                  <a:schemeClr val="bg1"/>
                </a:solidFill>
              </a:rPr>
              <a:t>trycknivå </a:t>
            </a:r>
          </a:p>
        </p:txBody>
      </p:sp>
      <p:sp>
        <p:nvSpPr>
          <p:cNvPr id="11" name="TextBox 10">
            <a:extLst>
              <a:ext uri="{FF2B5EF4-FFF2-40B4-BE49-F238E27FC236}">
                <a16:creationId xmlns:a16="http://schemas.microsoft.com/office/drawing/2014/main" id="{5581E7B1-616F-6CB7-1979-7B375E063E1E}"/>
              </a:ext>
            </a:extLst>
          </p:cNvPr>
          <p:cNvSpPr txBox="1"/>
          <p:nvPr/>
        </p:nvSpPr>
        <p:spPr>
          <a:xfrm>
            <a:off x="4703160" y="2076039"/>
            <a:ext cx="2785680" cy="1015663"/>
          </a:xfrm>
          <a:prstGeom prst="rect">
            <a:avLst/>
          </a:prstGeom>
          <a:noFill/>
        </p:spPr>
        <p:txBody>
          <a:bodyPr wrap="square" lIns="0" tIns="0" rIns="0" bIns="0" rtlCol="0" anchor="b">
            <a:spAutoFit/>
          </a:bodyPr>
          <a:lstStyle/>
          <a:p>
            <a:pPr algn="ctr"/>
            <a:r>
              <a:rPr lang="sv-SE" sz="6600" dirty="0">
                <a:solidFill>
                  <a:schemeClr val="bg1"/>
                </a:solidFill>
              </a:rPr>
              <a:t>250 bar</a:t>
            </a:r>
          </a:p>
        </p:txBody>
      </p:sp>
      <p:sp>
        <p:nvSpPr>
          <p:cNvPr id="12" name="TextBox 11">
            <a:extLst>
              <a:ext uri="{FF2B5EF4-FFF2-40B4-BE49-F238E27FC236}">
                <a16:creationId xmlns:a16="http://schemas.microsoft.com/office/drawing/2014/main" id="{9451F509-C419-171F-0CD8-1E0BF48637EA}"/>
              </a:ext>
            </a:extLst>
          </p:cNvPr>
          <p:cNvSpPr txBox="1"/>
          <p:nvPr/>
        </p:nvSpPr>
        <p:spPr>
          <a:xfrm>
            <a:off x="9084718" y="3021160"/>
            <a:ext cx="2378880" cy="553998"/>
          </a:xfrm>
          <a:prstGeom prst="rect">
            <a:avLst/>
          </a:prstGeom>
          <a:noFill/>
        </p:spPr>
        <p:txBody>
          <a:bodyPr wrap="square" lIns="0" tIns="0" rIns="0" bIns="0" rtlCol="0">
            <a:spAutoFit/>
          </a:bodyPr>
          <a:lstStyle/>
          <a:p>
            <a:pPr algn="ctr"/>
            <a:r>
              <a:rPr lang="sv-SE" dirty="0">
                <a:solidFill>
                  <a:schemeClr val="bg1"/>
                </a:solidFill>
              </a:rPr>
              <a:t>maximal mängd</a:t>
            </a:r>
            <a:br>
              <a:rPr lang="sv-SE" dirty="0">
                <a:solidFill>
                  <a:schemeClr val="bg1"/>
                </a:solidFill>
              </a:rPr>
            </a:br>
            <a:r>
              <a:rPr lang="sv-SE" dirty="0">
                <a:solidFill>
                  <a:schemeClr val="bg1"/>
                </a:solidFill>
              </a:rPr>
              <a:t>lagrad vätgas</a:t>
            </a:r>
          </a:p>
        </p:txBody>
      </p:sp>
      <p:sp>
        <p:nvSpPr>
          <p:cNvPr id="13" name="TextBox 12">
            <a:extLst>
              <a:ext uri="{FF2B5EF4-FFF2-40B4-BE49-F238E27FC236}">
                <a16:creationId xmlns:a16="http://schemas.microsoft.com/office/drawing/2014/main" id="{89013270-9993-92A3-4837-BA0F618E39C7}"/>
              </a:ext>
            </a:extLst>
          </p:cNvPr>
          <p:cNvSpPr txBox="1"/>
          <p:nvPr/>
        </p:nvSpPr>
        <p:spPr>
          <a:xfrm>
            <a:off x="8594282" y="2076039"/>
            <a:ext cx="3359751" cy="1015663"/>
          </a:xfrm>
          <a:prstGeom prst="rect">
            <a:avLst/>
          </a:prstGeom>
          <a:noFill/>
        </p:spPr>
        <p:txBody>
          <a:bodyPr wrap="square" lIns="0" tIns="0" rIns="0" bIns="0" rtlCol="0" anchor="b">
            <a:spAutoFit/>
          </a:bodyPr>
          <a:lstStyle/>
          <a:p>
            <a:pPr algn="ctr"/>
            <a:r>
              <a:rPr lang="sv-SE" sz="6600" dirty="0">
                <a:solidFill>
                  <a:schemeClr val="bg1"/>
                </a:solidFill>
              </a:rPr>
              <a:t>2</a:t>
            </a:r>
            <a:r>
              <a:rPr lang="sv-SE" sz="4400" dirty="0">
                <a:solidFill>
                  <a:schemeClr val="bg1"/>
                </a:solidFill>
              </a:rPr>
              <a:t> </a:t>
            </a:r>
            <a:r>
              <a:rPr lang="sv-SE" sz="6600" dirty="0">
                <a:solidFill>
                  <a:schemeClr val="bg1"/>
                </a:solidFill>
              </a:rPr>
              <a:t>ton</a:t>
            </a:r>
          </a:p>
        </p:txBody>
      </p:sp>
      <p:sp>
        <p:nvSpPr>
          <p:cNvPr id="14" name="TextBox 13">
            <a:extLst>
              <a:ext uri="{FF2B5EF4-FFF2-40B4-BE49-F238E27FC236}">
                <a16:creationId xmlns:a16="http://schemas.microsoft.com/office/drawing/2014/main" id="{E521B3D4-F63F-7556-AA21-60A0C2F72397}"/>
              </a:ext>
            </a:extLst>
          </p:cNvPr>
          <p:cNvSpPr txBox="1"/>
          <p:nvPr/>
        </p:nvSpPr>
        <p:spPr>
          <a:xfrm>
            <a:off x="2389489" y="5117081"/>
            <a:ext cx="3216832" cy="553998"/>
          </a:xfrm>
          <a:prstGeom prst="rect">
            <a:avLst/>
          </a:prstGeom>
          <a:noFill/>
        </p:spPr>
        <p:txBody>
          <a:bodyPr wrap="square" lIns="0" tIns="0" rIns="0" bIns="0" rtlCol="0">
            <a:spAutoFit/>
          </a:bodyPr>
          <a:lstStyle/>
          <a:p>
            <a:pPr algn="ctr"/>
            <a:r>
              <a:rPr lang="sv-SE" dirty="0">
                <a:solidFill>
                  <a:schemeClr val="bg1"/>
                </a:solidFill>
              </a:rPr>
              <a:t>Drifttid som motsvarar den belastning lagret har utsatts för</a:t>
            </a:r>
          </a:p>
        </p:txBody>
      </p:sp>
      <p:sp>
        <p:nvSpPr>
          <p:cNvPr id="15" name="TextBox 14">
            <a:extLst>
              <a:ext uri="{FF2B5EF4-FFF2-40B4-BE49-F238E27FC236}">
                <a16:creationId xmlns:a16="http://schemas.microsoft.com/office/drawing/2014/main" id="{7DDAAB80-3AEA-D53C-CA67-D00497D72A11}"/>
              </a:ext>
            </a:extLst>
          </p:cNvPr>
          <p:cNvSpPr txBox="1"/>
          <p:nvPr/>
        </p:nvSpPr>
        <p:spPr>
          <a:xfrm>
            <a:off x="2605065" y="4171960"/>
            <a:ext cx="2785680" cy="1015663"/>
          </a:xfrm>
          <a:prstGeom prst="rect">
            <a:avLst/>
          </a:prstGeom>
          <a:noFill/>
        </p:spPr>
        <p:txBody>
          <a:bodyPr wrap="square" lIns="0" tIns="0" rIns="0" bIns="0" rtlCol="0" anchor="b">
            <a:spAutoFit/>
          </a:bodyPr>
          <a:lstStyle/>
          <a:p>
            <a:pPr algn="ctr"/>
            <a:r>
              <a:rPr lang="sv-SE" sz="6600" dirty="0">
                <a:solidFill>
                  <a:schemeClr val="bg1"/>
                </a:solidFill>
              </a:rPr>
              <a:t>50 år</a:t>
            </a:r>
          </a:p>
        </p:txBody>
      </p:sp>
      <p:sp>
        <p:nvSpPr>
          <p:cNvPr id="18" name="TextBox 17">
            <a:extLst>
              <a:ext uri="{FF2B5EF4-FFF2-40B4-BE49-F238E27FC236}">
                <a16:creationId xmlns:a16="http://schemas.microsoft.com/office/drawing/2014/main" id="{06F5CCE5-5A45-B9A2-784B-5682F3CDC6F1}"/>
              </a:ext>
            </a:extLst>
          </p:cNvPr>
          <p:cNvSpPr txBox="1"/>
          <p:nvPr/>
        </p:nvSpPr>
        <p:spPr>
          <a:xfrm>
            <a:off x="6992633" y="5117081"/>
            <a:ext cx="2378880" cy="553998"/>
          </a:xfrm>
          <a:prstGeom prst="rect">
            <a:avLst/>
          </a:prstGeom>
          <a:noFill/>
        </p:spPr>
        <p:txBody>
          <a:bodyPr wrap="square" lIns="0" tIns="0" rIns="0" bIns="0" rtlCol="0">
            <a:spAutoFit/>
          </a:bodyPr>
          <a:lstStyle/>
          <a:p>
            <a:pPr algn="ctr"/>
            <a:r>
              <a:rPr lang="sv-SE" dirty="0">
                <a:solidFill>
                  <a:schemeClr val="bg1"/>
                </a:solidFill>
              </a:rPr>
              <a:t>under hela </a:t>
            </a:r>
            <a:br>
              <a:rPr lang="sv-SE" dirty="0">
                <a:solidFill>
                  <a:schemeClr val="bg1"/>
                </a:solidFill>
              </a:rPr>
            </a:br>
            <a:r>
              <a:rPr lang="sv-SE" dirty="0">
                <a:solidFill>
                  <a:schemeClr val="bg1"/>
                </a:solidFill>
              </a:rPr>
              <a:t>testperioden</a:t>
            </a:r>
          </a:p>
        </p:txBody>
      </p:sp>
      <p:grpSp>
        <p:nvGrpSpPr>
          <p:cNvPr id="44" name="Group 43">
            <a:extLst>
              <a:ext uri="{FF2B5EF4-FFF2-40B4-BE49-F238E27FC236}">
                <a16:creationId xmlns:a16="http://schemas.microsoft.com/office/drawing/2014/main" id="{53D7CF61-7BAF-68CE-30C2-9FEED5A90AD7}"/>
              </a:ext>
            </a:extLst>
          </p:cNvPr>
          <p:cNvGrpSpPr>
            <a:grpSpLocks noChangeAspect="1"/>
          </p:cNvGrpSpPr>
          <p:nvPr/>
        </p:nvGrpSpPr>
        <p:grpSpPr>
          <a:xfrm>
            <a:off x="13527255" y="4356856"/>
            <a:ext cx="598504" cy="597600"/>
            <a:chOff x="9779491" y="4335398"/>
            <a:chExt cx="807620" cy="807620"/>
          </a:xfrm>
        </p:grpSpPr>
        <p:grpSp>
          <p:nvGrpSpPr>
            <p:cNvPr id="42" name="Group 41">
              <a:extLst>
                <a:ext uri="{FF2B5EF4-FFF2-40B4-BE49-F238E27FC236}">
                  <a16:creationId xmlns:a16="http://schemas.microsoft.com/office/drawing/2014/main" id="{2D51ECDB-0022-E00A-04A4-E67B54240B41}"/>
                </a:ext>
              </a:extLst>
            </p:cNvPr>
            <p:cNvGrpSpPr/>
            <p:nvPr/>
          </p:nvGrpSpPr>
          <p:grpSpPr>
            <a:xfrm>
              <a:off x="9779491" y="4335398"/>
              <a:ext cx="807620" cy="807620"/>
              <a:chOff x="9884501" y="4440408"/>
              <a:chExt cx="597600" cy="597600"/>
            </a:xfrm>
          </p:grpSpPr>
          <p:sp>
            <p:nvSpPr>
              <p:cNvPr id="36" name="Freeform 35">
                <a:extLst>
                  <a:ext uri="{FF2B5EF4-FFF2-40B4-BE49-F238E27FC236}">
                    <a16:creationId xmlns:a16="http://schemas.microsoft.com/office/drawing/2014/main" id="{3BE2CB2D-0C1E-8E6C-0E59-ED5BF22EE0F1}"/>
                  </a:ext>
                </a:extLst>
              </p:cNvPr>
              <p:cNvSpPr/>
              <p:nvPr/>
            </p:nvSpPr>
            <p:spPr>
              <a:xfrm>
                <a:off x="9884501" y="4440408"/>
                <a:ext cx="597600" cy="597600"/>
              </a:xfrm>
              <a:custGeom>
                <a:avLst/>
                <a:gdLst>
                  <a:gd name="connsiteX0" fmla="*/ 1901348 w 1901347"/>
                  <a:gd name="connsiteY0" fmla="*/ 950674 h 1901347"/>
                  <a:gd name="connsiteX1" fmla="*/ 950674 w 1901347"/>
                  <a:gd name="connsiteY1" fmla="*/ 1901348 h 1901347"/>
                  <a:gd name="connsiteX2" fmla="*/ 0 w 1901347"/>
                  <a:gd name="connsiteY2" fmla="*/ 950674 h 1901347"/>
                  <a:gd name="connsiteX3" fmla="*/ 950674 w 1901347"/>
                  <a:gd name="connsiteY3" fmla="*/ 0 h 1901347"/>
                  <a:gd name="connsiteX4" fmla="*/ 1901348 w 1901347"/>
                  <a:gd name="connsiteY4" fmla="*/ 950674 h 1901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347" h="1901347">
                    <a:moveTo>
                      <a:pt x="1901348" y="950674"/>
                    </a:moveTo>
                    <a:cubicBezTo>
                      <a:pt x="1901348" y="1475717"/>
                      <a:pt x="1475717" y="1901348"/>
                      <a:pt x="950674" y="1901348"/>
                    </a:cubicBezTo>
                    <a:cubicBezTo>
                      <a:pt x="425631" y="1901348"/>
                      <a:pt x="0" y="1475717"/>
                      <a:pt x="0" y="950674"/>
                    </a:cubicBezTo>
                    <a:cubicBezTo>
                      <a:pt x="0" y="425631"/>
                      <a:pt x="425631" y="0"/>
                      <a:pt x="950674" y="0"/>
                    </a:cubicBezTo>
                    <a:cubicBezTo>
                      <a:pt x="1475717" y="0"/>
                      <a:pt x="1901348" y="425631"/>
                      <a:pt x="1901348" y="950674"/>
                    </a:cubicBezTo>
                    <a:close/>
                  </a:path>
                </a:pathLst>
              </a:custGeom>
              <a:noFill/>
              <a:ln w="31750" cap="rnd">
                <a:solidFill>
                  <a:schemeClr val="bg1"/>
                </a:solidFill>
                <a:prstDash val="solid"/>
                <a:round/>
              </a:ln>
            </p:spPr>
            <p:txBody>
              <a:bodyPr rtlCol="0" anchor="ctr"/>
              <a:lstStyle/>
              <a:p>
                <a:endParaRPr lang="sv-SE" sz="900"/>
              </a:p>
            </p:txBody>
          </p:sp>
          <p:sp>
            <p:nvSpPr>
              <p:cNvPr id="37" name="Freeform 36">
                <a:extLst>
                  <a:ext uri="{FF2B5EF4-FFF2-40B4-BE49-F238E27FC236}">
                    <a16:creationId xmlns:a16="http://schemas.microsoft.com/office/drawing/2014/main" id="{45BFCACF-49D1-7F0F-174D-406696128612}"/>
                  </a:ext>
                </a:extLst>
              </p:cNvPr>
              <p:cNvSpPr/>
              <p:nvPr/>
            </p:nvSpPr>
            <p:spPr>
              <a:xfrm>
                <a:off x="9971650" y="4526825"/>
                <a:ext cx="423302" cy="423302"/>
              </a:xfrm>
              <a:custGeom>
                <a:avLst/>
                <a:gdLst>
                  <a:gd name="connsiteX0" fmla="*/ 1346795 w 1346795"/>
                  <a:gd name="connsiteY0" fmla="*/ 0 h 1346795"/>
                  <a:gd name="connsiteX1" fmla="*/ 0 w 1346795"/>
                  <a:gd name="connsiteY1" fmla="*/ 1346795 h 1346795"/>
                </a:gdLst>
                <a:ahLst/>
                <a:cxnLst>
                  <a:cxn ang="0">
                    <a:pos x="connsiteX0" y="connsiteY0"/>
                  </a:cxn>
                  <a:cxn ang="0">
                    <a:pos x="connsiteX1" y="connsiteY1"/>
                  </a:cxn>
                </a:cxnLst>
                <a:rect l="l" t="t" r="r" b="b"/>
                <a:pathLst>
                  <a:path w="1346795" h="1346795">
                    <a:moveTo>
                      <a:pt x="1346795" y="0"/>
                    </a:moveTo>
                    <a:lnTo>
                      <a:pt x="0" y="1346795"/>
                    </a:lnTo>
                  </a:path>
                </a:pathLst>
              </a:custGeom>
              <a:ln w="31750" cap="flat">
                <a:solidFill>
                  <a:schemeClr val="bg1"/>
                </a:solidFill>
                <a:prstDash val="solid"/>
                <a:round/>
              </a:ln>
            </p:spPr>
            <p:txBody>
              <a:bodyPr rtlCol="0" anchor="ctr"/>
              <a:lstStyle/>
              <a:p>
                <a:endParaRPr lang="sv-SE" sz="900"/>
              </a:p>
            </p:txBody>
          </p:sp>
        </p:grpSp>
        <p:sp>
          <p:nvSpPr>
            <p:cNvPr id="38" name="Freeform 37">
              <a:extLst>
                <a:ext uri="{FF2B5EF4-FFF2-40B4-BE49-F238E27FC236}">
                  <a16:creationId xmlns:a16="http://schemas.microsoft.com/office/drawing/2014/main" id="{677A816E-71E5-6541-D449-296F27DF7632}"/>
                </a:ext>
              </a:extLst>
            </p:cNvPr>
            <p:cNvSpPr/>
            <p:nvPr/>
          </p:nvSpPr>
          <p:spPr>
            <a:xfrm>
              <a:off x="10046482" y="4496240"/>
              <a:ext cx="39806" cy="485936"/>
            </a:xfrm>
            <a:custGeom>
              <a:avLst/>
              <a:gdLst>
                <a:gd name="connsiteX0" fmla="*/ 0 w 126648"/>
                <a:gd name="connsiteY0" fmla="*/ 1546070 h 1546069"/>
                <a:gd name="connsiteX1" fmla="*/ 126648 w 126648"/>
                <a:gd name="connsiteY1" fmla="*/ 1374283 h 1546069"/>
                <a:gd name="connsiteX2" fmla="*/ 0 w 126648"/>
                <a:gd name="connsiteY2" fmla="*/ 1202497 h 1546069"/>
                <a:gd name="connsiteX3" fmla="*/ 126648 w 126648"/>
                <a:gd name="connsiteY3" fmla="*/ 1030710 h 1546069"/>
                <a:gd name="connsiteX4" fmla="*/ 0 w 126648"/>
                <a:gd name="connsiteY4" fmla="*/ 858933 h 1546069"/>
                <a:gd name="connsiteX5" fmla="*/ 126648 w 126648"/>
                <a:gd name="connsiteY5" fmla="*/ 687147 h 1546069"/>
                <a:gd name="connsiteX6" fmla="*/ 0 w 126648"/>
                <a:gd name="connsiteY6" fmla="*/ 515360 h 1546069"/>
                <a:gd name="connsiteX7" fmla="*/ 126648 w 126648"/>
                <a:gd name="connsiteY7" fmla="*/ 343573 h 1546069"/>
                <a:gd name="connsiteX8" fmla="*/ 0 w 126648"/>
                <a:gd name="connsiteY8" fmla="*/ 171787 h 1546069"/>
                <a:gd name="connsiteX9" fmla="*/ 126648 w 126648"/>
                <a:gd name="connsiteY9" fmla="*/ 0 h 15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48" h="1546069">
                  <a:moveTo>
                    <a:pt x="0" y="1546070"/>
                  </a:moveTo>
                  <a:cubicBezTo>
                    <a:pt x="0" y="1460176"/>
                    <a:pt x="126648" y="1460176"/>
                    <a:pt x="126648" y="1374283"/>
                  </a:cubicBezTo>
                  <a:cubicBezTo>
                    <a:pt x="126648" y="1288390"/>
                    <a:pt x="0" y="1288390"/>
                    <a:pt x="0" y="1202497"/>
                  </a:cubicBezTo>
                  <a:cubicBezTo>
                    <a:pt x="0" y="1116603"/>
                    <a:pt x="126648" y="1116603"/>
                    <a:pt x="126648" y="1030710"/>
                  </a:cubicBezTo>
                  <a:cubicBezTo>
                    <a:pt x="126648" y="944817"/>
                    <a:pt x="0" y="944817"/>
                    <a:pt x="0" y="858933"/>
                  </a:cubicBezTo>
                  <a:cubicBezTo>
                    <a:pt x="0" y="773040"/>
                    <a:pt x="126648" y="773040"/>
                    <a:pt x="126648" y="687147"/>
                  </a:cubicBezTo>
                  <a:cubicBezTo>
                    <a:pt x="126648" y="601253"/>
                    <a:pt x="0" y="601253"/>
                    <a:pt x="0" y="515360"/>
                  </a:cubicBezTo>
                  <a:cubicBezTo>
                    <a:pt x="0" y="429467"/>
                    <a:pt x="126648" y="429467"/>
                    <a:pt x="126648" y="343573"/>
                  </a:cubicBezTo>
                  <a:cubicBezTo>
                    <a:pt x="126648" y="257680"/>
                    <a:pt x="0" y="257680"/>
                    <a:pt x="0" y="171787"/>
                  </a:cubicBezTo>
                  <a:cubicBezTo>
                    <a:pt x="0" y="85893"/>
                    <a:pt x="126648" y="85893"/>
                    <a:pt x="126648" y="0"/>
                  </a:cubicBezTo>
                </a:path>
              </a:pathLst>
            </a:custGeom>
            <a:noFill/>
            <a:ln w="19965" cap="sq">
              <a:solidFill>
                <a:schemeClr val="bg1"/>
              </a:solidFill>
              <a:prstDash val="solid"/>
              <a:round/>
            </a:ln>
          </p:spPr>
          <p:txBody>
            <a:bodyPr rtlCol="0" anchor="ctr"/>
            <a:lstStyle/>
            <a:p>
              <a:endParaRPr lang="sv-SE"/>
            </a:p>
          </p:txBody>
        </p:sp>
        <p:sp>
          <p:nvSpPr>
            <p:cNvPr id="39" name="Freeform 38">
              <a:extLst>
                <a:ext uri="{FF2B5EF4-FFF2-40B4-BE49-F238E27FC236}">
                  <a16:creationId xmlns:a16="http://schemas.microsoft.com/office/drawing/2014/main" id="{1DFFC3B2-8EB0-AEF9-E29A-49ACACEE2B99}"/>
                </a:ext>
              </a:extLst>
            </p:cNvPr>
            <p:cNvSpPr/>
            <p:nvPr/>
          </p:nvSpPr>
          <p:spPr>
            <a:xfrm>
              <a:off x="10163396" y="4496239"/>
              <a:ext cx="39806" cy="485935"/>
            </a:xfrm>
            <a:custGeom>
              <a:avLst/>
              <a:gdLst>
                <a:gd name="connsiteX0" fmla="*/ 0 w 126648"/>
                <a:gd name="connsiteY0" fmla="*/ 1546070 h 1546069"/>
                <a:gd name="connsiteX1" fmla="*/ 126648 w 126648"/>
                <a:gd name="connsiteY1" fmla="*/ 1374283 h 1546069"/>
                <a:gd name="connsiteX2" fmla="*/ 0 w 126648"/>
                <a:gd name="connsiteY2" fmla="*/ 1202497 h 1546069"/>
                <a:gd name="connsiteX3" fmla="*/ 126648 w 126648"/>
                <a:gd name="connsiteY3" fmla="*/ 1030710 h 1546069"/>
                <a:gd name="connsiteX4" fmla="*/ 0 w 126648"/>
                <a:gd name="connsiteY4" fmla="*/ 858933 h 1546069"/>
                <a:gd name="connsiteX5" fmla="*/ 126648 w 126648"/>
                <a:gd name="connsiteY5" fmla="*/ 687147 h 1546069"/>
                <a:gd name="connsiteX6" fmla="*/ 0 w 126648"/>
                <a:gd name="connsiteY6" fmla="*/ 515360 h 1546069"/>
                <a:gd name="connsiteX7" fmla="*/ 126648 w 126648"/>
                <a:gd name="connsiteY7" fmla="*/ 343573 h 1546069"/>
                <a:gd name="connsiteX8" fmla="*/ 0 w 126648"/>
                <a:gd name="connsiteY8" fmla="*/ 171787 h 1546069"/>
                <a:gd name="connsiteX9" fmla="*/ 126648 w 126648"/>
                <a:gd name="connsiteY9" fmla="*/ 0 h 15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48" h="1546069">
                  <a:moveTo>
                    <a:pt x="0" y="1546070"/>
                  </a:moveTo>
                  <a:cubicBezTo>
                    <a:pt x="0" y="1460176"/>
                    <a:pt x="126648" y="1460176"/>
                    <a:pt x="126648" y="1374283"/>
                  </a:cubicBezTo>
                  <a:cubicBezTo>
                    <a:pt x="126648" y="1288390"/>
                    <a:pt x="0" y="1288390"/>
                    <a:pt x="0" y="1202497"/>
                  </a:cubicBezTo>
                  <a:cubicBezTo>
                    <a:pt x="0" y="1116603"/>
                    <a:pt x="126648" y="1116603"/>
                    <a:pt x="126648" y="1030710"/>
                  </a:cubicBezTo>
                  <a:cubicBezTo>
                    <a:pt x="126648" y="944817"/>
                    <a:pt x="0" y="944817"/>
                    <a:pt x="0" y="858933"/>
                  </a:cubicBezTo>
                  <a:cubicBezTo>
                    <a:pt x="0" y="773040"/>
                    <a:pt x="126648" y="773040"/>
                    <a:pt x="126648" y="687147"/>
                  </a:cubicBezTo>
                  <a:cubicBezTo>
                    <a:pt x="126648" y="601253"/>
                    <a:pt x="0" y="601253"/>
                    <a:pt x="0" y="515360"/>
                  </a:cubicBezTo>
                  <a:cubicBezTo>
                    <a:pt x="0" y="429467"/>
                    <a:pt x="126648" y="429467"/>
                    <a:pt x="126648" y="343573"/>
                  </a:cubicBezTo>
                  <a:cubicBezTo>
                    <a:pt x="126648" y="257680"/>
                    <a:pt x="0" y="257680"/>
                    <a:pt x="0" y="171787"/>
                  </a:cubicBezTo>
                  <a:cubicBezTo>
                    <a:pt x="0" y="85893"/>
                    <a:pt x="126648" y="85893"/>
                    <a:pt x="126648" y="0"/>
                  </a:cubicBezTo>
                </a:path>
              </a:pathLst>
            </a:custGeom>
            <a:noFill/>
            <a:ln w="19965" cap="sq">
              <a:solidFill>
                <a:schemeClr val="bg1"/>
              </a:solidFill>
              <a:prstDash val="solid"/>
              <a:round/>
            </a:ln>
          </p:spPr>
          <p:txBody>
            <a:bodyPr rtlCol="0" anchor="ctr"/>
            <a:lstStyle/>
            <a:p>
              <a:endParaRPr lang="sv-SE"/>
            </a:p>
          </p:txBody>
        </p:sp>
        <p:sp>
          <p:nvSpPr>
            <p:cNvPr id="40" name="Freeform 39">
              <a:extLst>
                <a:ext uri="{FF2B5EF4-FFF2-40B4-BE49-F238E27FC236}">
                  <a16:creationId xmlns:a16="http://schemas.microsoft.com/office/drawing/2014/main" id="{A5018462-7193-EBE2-87B9-D055C0337C00}"/>
                </a:ext>
              </a:extLst>
            </p:cNvPr>
            <p:cNvSpPr/>
            <p:nvPr/>
          </p:nvSpPr>
          <p:spPr>
            <a:xfrm>
              <a:off x="10280311" y="4496240"/>
              <a:ext cx="39806" cy="485936"/>
            </a:xfrm>
            <a:custGeom>
              <a:avLst/>
              <a:gdLst>
                <a:gd name="connsiteX0" fmla="*/ 0 w 126648"/>
                <a:gd name="connsiteY0" fmla="*/ 1546070 h 1546069"/>
                <a:gd name="connsiteX1" fmla="*/ 126648 w 126648"/>
                <a:gd name="connsiteY1" fmla="*/ 1374283 h 1546069"/>
                <a:gd name="connsiteX2" fmla="*/ 0 w 126648"/>
                <a:gd name="connsiteY2" fmla="*/ 1202497 h 1546069"/>
                <a:gd name="connsiteX3" fmla="*/ 126648 w 126648"/>
                <a:gd name="connsiteY3" fmla="*/ 1030710 h 1546069"/>
                <a:gd name="connsiteX4" fmla="*/ 0 w 126648"/>
                <a:gd name="connsiteY4" fmla="*/ 858933 h 1546069"/>
                <a:gd name="connsiteX5" fmla="*/ 126648 w 126648"/>
                <a:gd name="connsiteY5" fmla="*/ 687147 h 1546069"/>
                <a:gd name="connsiteX6" fmla="*/ 0 w 126648"/>
                <a:gd name="connsiteY6" fmla="*/ 515360 h 1546069"/>
                <a:gd name="connsiteX7" fmla="*/ 126648 w 126648"/>
                <a:gd name="connsiteY7" fmla="*/ 343573 h 1546069"/>
                <a:gd name="connsiteX8" fmla="*/ 0 w 126648"/>
                <a:gd name="connsiteY8" fmla="*/ 171787 h 1546069"/>
                <a:gd name="connsiteX9" fmla="*/ 126648 w 126648"/>
                <a:gd name="connsiteY9" fmla="*/ 0 h 15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48" h="1546069">
                  <a:moveTo>
                    <a:pt x="0" y="1546070"/>
                  </a:moveTo>
                  <a:cubicBezTo>
                    <a:pt x="0" y="1460176"/>
                    <a:pt x="126648" y="1460176"/>
                    <a:pt x="126648" y="1374283"/>
                  </a:cubicBezTo>
                  <a:cubicBezTo>
                    <a:pt x="126648" y="1288390"/>
                    <a:pt x="0" y="1288390"/>
                    <a:pt x="0" y="1202497"/>
                  </a:cubicBezTo>
                  <a:cubicBezTo>
                    <a:pt x="0" y="1116603"/>
                    <a:pt x="126648" y="1116603"/>
                    <a:pt x="126648" y="1030710"/>
                  </a:cubicBezTo>
                  <a:cubicBezTo>
                    <a:pt x="126648" y="944817"/>
                    <a:pt x="0" y="944817"/>
                    <a:pt x="0" y="858933"/>
                  </a:cubicBezTo>
                  <a:cubicBezTo>
                    <a:pt x="0" y="773040"/>
                    <a:pt x="126648" y="773040"/>
                    <a:pt x="126648" y="687147"/>
                  </a:cubicBezTo>
                  <a:cubicBezTo>
                    <a:pt x="126648" y="601253"/>
                    <a:pt x="0" y="601253"/>
                    <a:pt x="0" y="515360"/>
                  </a:cubicBezTo>
                  <a:cubicBezTo>
                    <a:pt x="0" y="429467"/>
                    <a:pt x="126648" y="429467"/>
                    <a:pt x="126648" y="343573"/>
                  </a:cubicBezTo>
                  <a:cubicBezTo>
                    <a:pt x="126648" y="257680"/>
                    <a:pt x="0" y="257680"/>
                    <a:pt x="0" y="171787"/>
                  </a:cubicBezTo>
                  <a:cubicBezTo>
                    <a:pt x="0" y="85893"/>
                    <a:pt x="126648" y="85893"/>
                    <a:pt x="126648" y="0"/>
                  </a:cubicBezTo>
                </a:path>
              </a:pathLst>
            </a:custGeom>
            <a:noFill/>
            <a:ln w="19965" cap="sq">
              <a:solidFill>
                <a:schemeClr val="bg1"/>
              </a:solidFill>
              <a:prstDash val="solid"/>
              <a:round/>
            </a:ln>
          </p:spPr>
          <p:txBody>
            <a:bodyPr rtlCol="0" anchor="ctr"/>
            <a:lstStyle/>
            <a:p>
              <a:endParaRPr lang="sv-SE"/>
            </a:p>
          </p:txBody>
        </p:sp>
      </p:grpSp>
      <p:cxnSp>
        <p:nvCxnSpPr>
          <p:cNvPr id="7" name="Straight Connector 6">
            <a:extLst>
              <a:ext uri="{FF2B5EF4-FFF2-40B4-BE49-F238E27FC236}">
                <a16:creationId xmlns:a16="http://schemas.microsoft.com/office/drawing/2014/main" id="{4DDDE601-D9F3-EF08-81ED-DD73E77B5193}"/>
              </a:ext>
            </a:extLst>
          </p:cNvPr>
          <p:cNvCxnSpPr/>
          <p:nvPr/>
        </p:nvCxnSpPr>
        <p:spPr>
          <a:xfrm>
            <a:off x="539750" y="3930650"/>
            <a:ext cx="1111091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6ED1F3C-D86C-145A-7A40-082DA2BC47AC}"/>
              </a:ext>
            </a:extLst>
          </p:cNvPr>
          <p:cNvCxnSpPr/>
          <p:nvPr/>
        </p:nvCxnSpPr>
        <p:spPr>
          <a:xfrm>
            <a:off x="3997905" y="2056721"/>
            <a:ext cx="0" cy="155109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CA8E04-A2F2-1FE6-C5A3-D082ED004660}"/>
              </a:ext>
            </a:extLst>
          </p:cNvPr>
          <p:cNvCxnSpPr/>
          <p:nvPr/>
        </p:nvCxnSpPr>
        <p:spPr>
          <a:xfrm>
            <a:off x="8182073" y="2056721"/>
            <a:ext cx="0" cy="155109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EDCE8DF-6489-BD74-66BF-4151BB915E01}"/>
              </a:ext>
            </a:extLst>
          </p:cNvPr>
          <p:cNvCxnSpPr/>
          <p:nvPr/>
        </p:nvCxnSpPr>
        <p:spPr>
          <a:xfrm>
            <a:off x="6096000" y="4217594"/>
            <a:ext cx="0" cy="155109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Mask">
            <a:extLst>
              <a:ext uri="{FF2B5EF4-FFF2-40B4-BE49-F238E27FC236}">
                <a16:creationId xmlns:a16="http://schemas.microsoft.com/office/drawing/2014/main" id="{D959C1A5-E27B-BB81-8D41-E998C0E0AD28}"/>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
        <p:nvSpPr>
          <p:cNvPr id="3" name="TextBox 2">
            <a:extLst>
              <a:ext uri="{FF2B5EF4-FFF2-40B4-BE49-F238E27FC236}">
                <a16:creationId xmlns:a16="http://schemas.microsoft.com/office/drawing/2014/main" id="{7A136CE7-BB05-CD21-0E66-8872791EB606}"/>
              </a:ext>
            </a:extLst>
          </p:cNvPr>
          <p:cNvSpPr txBox="1"/>
          <p:nvPr/>
        </p:nvSpPr>
        <p:spPr>
          <a:xfrm>
            <a:off x="6789233" y="4171960"/>
            <a:ext cx="2785680" cy="1015663"/>
          </a:xfrm>
          <a:prstGeom prst="rect">
            <a:avLst/>
          </a:prstGeom>
          <a:noFill/>
        </p:spPr>
        <p:txBody>
          <a:bodyPr wrap="square" lIns="0" tIns="0" rIns="0" bIns="0" rtlCol="0" anchor="b">
            <a:spAutoFit/>
          </a:bodyPr>
          <a:lstStyle/>
          <a:p>
            <a:pPr algn="ctr"/>
            <a:r>
              <a:rPr lang="sv-SE" sz="6600" dirty="0">
                <a:solidFill>
                  <a:schemeClr val="bg1"/>
                </a:solidFill>
              </a:rPr>
              <a:t>Gastätt</a:t>
            </a:r>
          </a:p>
        </p:txBody>
      </p:sp>
    </p:spTree>
    <p:extLst>
      <p:ext uri="{BB962C8B-B14F-4D97-AF65-F5344CB8AC3E}">
        <p14:creationId xmlns:p14="http://schemas.microsoft.com/office/powerpoint/2010/main" val="59465727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17" presetClass="entr" presetSubtype="1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 calcmode="lin" valueType="num">
                                      <p:cBhvr>
                                        <p:cTn id="41" dur="500" fill="hold"/>
                                        <p:tgtEl>
                                          <p:spTgt spid="7"/>
                                        </p:tgtEl>
                                        <p:attrNameLst>
                                          <p:attrName>ppt_w</p:attrName>
                                        </p:attrNameLst>
                                      </p:cBhvr>
                                      <p:tavLst>
                                        <p:tav tm="0">
                                          <p:val>
                                            <p:fltVal val="0"/>
                                          </p:val>
                                        </p:tav>
                                        <p:tav tm="100000">
                                          <p:val>
                                            <p:strVal val="#ppt_w"/>
                                          </p:val>
                                        </p:tav>
                                      </p:tavLst>
                                    </p:anim>
                                    <p:anim calcmode="lin" valueType="num">
                                      <p:cBhvr>
                                        <p:cTn id="42" dur="500" fill="hold"/>
                                        <p:tgtEl>
                                          <p:spTgt spid="7"/>
                                        </p:tgtEl>
                                        <p:attrNameLst>
                                          <p:attrName>ppt_h</p:attrName>
                                        </p:attrNameLst>
                                      </p:cBhvr>
                                      <p:tavLst>
                                        <p:tav tm="0">
                                          <p:val>
                                            <p:strVal val="#ppt_h"/>
                                          </p:val>
                                        </p:tav>
                                        <p:tav tm="100000">
                                          <p:val>
                                            <p:strVal val="#ppt_h"/>
                                          </p:val>
                                        </p:tav>
                                      </p:tavLst>
                                    </p:anim>
                                  </p:childTnLst>
                                </p:cTn>
                              </p:par>
                              <p:par>
                                <p:cTn id="43" presetID="17" presetClass="entr" presetSubtype="4"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p:cTn id="45" dur="500" fill="hold"/>
                                        <p:tgtEl>
                                          <p:spTgt spid="19"/>
                                        </p:tgtEl>
                                        <p:attrNameLst>
                                          <p:attrName>ppt_x</p:attrName>
                                        </p:attrNameLst>
                                      </p:cBhvr>
                                      <p:tavLst>
                                        <p:tav tm="0">
                                          <p:val>
                                            <p:strVal val="#ppt_x"/>
                                          </p:val>
                                        </p:tav>
                                        <p:tav tm="100000">
                                          <p:val>
                                            <p:strVal val="#ppt_x"/>
                                          </p:val>
                                        </p:tav>
                                      </p:tavLst>
                                    </p:anim>
                                    <p:anim calcmode="lin" valueType="num">
                                      <p:cBhvr>
                                        <p:cTn id="46" dur="500" fill="hold"/>
                                        <p:tgtEl>
                                          <p:spTgt spid="19"/>
                                        </p:tgtEl>
                                        <p:attrNameLst>
                                          <p:attrName>ppt_y</p:attrName>
                                        </p:attrNameLst>
                                      </p:cBhvr>
                                      <p:tavLst>
                                        <p:tav tm="0">
                                          <p:val>
                                            <p:strVal val="#ppt_y+#ppt_h/2"/>
                                          </p:val>
                                        </p:tav>
                                        <p:tav tm="100000">
                                          <p:val>
                                            <p:strVal val="#ppt_y"/>
                                          </p:val>
                                        </p:tav>
                                      </p:tavLst>
                                    </p:anim>
                                    <p:anim calcmode="lin" valueType="num">
                                      <p:cBhvr>
                                        <p:cTn id="47" dur="500" fill="hold"/>
                                        <p:tgtEl>
                                          <p:spTgt spid="19"/>
                                        </p:tgtEl>
                                        <p:attrNameLst>
                                          <p:attrName>ppt_w</p:attrName>
                                        </p:attrNameLst>
                                      </p:cBhvr>
                                      <p:tavLst>
                                        <p:tav tm="0">
                                          <p:val>
                                            <p:strVal val="#ppt_w"/>
                                          </p:val>
                                        </p:tav>
                                        <p:tav tm="100000">
                                          <p:val>
                                            <p:strVal val="#ppt_w"/>
                                          </p:val>
                                        </p:tav>
                                      </p:tavLst>
                                    </p:anim>
                                    <p:anim calcmode="lin" valueType="num">
                                      <p:cBhvr>
                                        <p:cTn id="48" dur="500" fill="hold"/>
                                        <p:tgtEl>
                                          <p:spTgt spid="19"/>
                                        </p:tgtEl>
                                        <p:attrNameLst>
                                          <p:attrName>ppt_h</p:attrName>
                                        </p:attrNameLst>
                                      </p:cBhvr>
                                      <p:tavLst>
                                        <p:tav tm="0">
                                          <p:val>
                                            <p:fltVal val="0"/>
                                          </p:val>
                                        </p:tav>
                                        <p:tav tm="100000">
                                          <p:val>
                                            <p:strVal val="#ppt_h"/>
                                          </p:val>
                                        </p:tav>
                                      </p:tavLst>
                                    </p:anim>
                                  </p:childTnLst>
                                </p:cTn>
                              </p:par>
                              <p:par>
                                <p:cTn id="49" presetID="17" presetClass="entr" presetSubtype="4"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p:cTn id="51" dur="500" fill="hold"/>
                                        <p:tgtEl>
                                          <p:spTgt spid="20"/>
                                        </p:tgtEl>
                                        <p:attrNameLst>
                                          <p:attrName>ppt_x</p:attrName>
                                        </p:attrNameLst>
                                      </p:cBhvr>
                                      <p:tavLst>
                                        <p:tav tm="0">
                                          <p:val>
                                            <p:strVal val="#ppt_x"/>
                                          </p:val>
                                        </p:tav>
                                        <p:tav tm="100000">
                                          <p:val>
                                            <p:strVal val="#ppt_x"/>
                                          </p:val>
                                        </p:tav>
                                      </p:tavLst>
                                    </p:anim>
                                    <p:anim calcmode="lin" valueType="num">
                                      <p:cBhvr>
                                        <p:cTn id="52" dur="500" fill="hold"/>
                                        <p:tgtEl>
                                          <p:spTgt spid="20"/>
                                        </p:tgtEl>
                                        <p:attrNameLst>
                                          <p:attrName>ppt_y</p:attrName>
                                        </p:attrNameLst>
                                      </p:cBhvr>
                                      <p:tavLst>
                                        <p:tav tm="0">
                                          <p:val>
                                            <p:strVal val="#ppt_y+#ppt_h/2"/>
                                          </p:val>
                                        </p:tav>
                                        <p:tav tm="100000">
                                          <p:val>
                                            <p:strVal val="#ppt_y"/>
                                          </p:val>
                                        </p:tav>
                                      </p:tavLst>
                                    </p:anim>
                                    <p:anim calcmode="lin" valueType="num">
                                      <p:cBhvr>
                                        <p:cTn id="53" dur="500" fill="hold"/>
                                        <p:tgtEl>
                                          <p:spTgt spid="20"/>
                                        </p:tgtEl>
                                        <p:attrNameLst>
                                          <p:attrName>ppt_w</p:attrName>
                                        </p:attrNameLst>
                                      </p:cBhvr>
                                      <p:tavLst>
                                        <p:tav tm="0">
                                          <p:val>
                                            <p:strVal val="#ppt_w"/>
                                          </p:val>
                                        </p:tav>
                                        <p:tav tm="100000">
                                          <p:val>
                                            <p:strVal val="#ppt_w"/>
                                          </p:val>
                                        </p:tav>
                                      </p:tavLst>
                                    </p:anim>
                                    <p:anim calcmode="lin" valueType="num">
                                      <p:cBhvr>
                                        <p:cTn id="54" dur="500" fill="hold"/>
                                        <p:tgtEl>
                                          <p:spTgt spid="20"/>
                                        </p:tgtEl>
                                        <p:attrNameLst>
                                          <p:attrName>ppt_h</p:attrName>
                                        </p:attrNameLst>
                                      </p:cBhvr>
                                      <p:tavLst>
                                        <p:tav tm="0">
                                          <p:val>
                                            <p:fltVal val="0"/>
                                          </p:val>
                                        </p:tav>
                                        <p:tav tm="100000">
                                          <p:val>
                                            <p:strVal val="#ppt_h"/>
                                          </p:val>
                                        </p:tav>
                                      </p:tavLst>
                                    </p:anim>
                                  </p:childTnLst>
                                </p:cTn>
                              </p:par>
                              <p:par>
                                <p:cTn id="55" presetID="17" presetClass="entr" presetSubtype="1" fill="hold" nodeType="withEffect">
                                  <p:stCondLst>
                                    <p:cond delay="0"/>
                                  </p:stCondLst>
                                  <p:childTnLst>
                                    <p:set>
                                      <p:cBhvr>
                                        <p:cTn id="56" dur="1" fill="hold">
                                          <p:stCondLst>
                                            <p:cond delay="0"/>
                                          </p:stCondLst>
                                        </p:cTn>
                                        <p:tgtEl>
                                          <p:spTgt spid="21"/>
                                        </p:tgtEl>
                                        <p:attrNameLst>
                                          <p:attrName>style.visibility</p:attrName>
                                        </p:attrNameLst>
                                      </p:cBhvr>
                                      <p:to>
                                        <p:strVal val="visible"/>
                                      </p:to>
                                    </p:set>
                                    <p:anim calcmode="lin" valueType="num">
                                      <p:cBhvr>
                                        <p:cTn id="57" dur="500" fill="hold"/>
                                        <p:tgtEl>
                                          <p:spTgt spid="21"/>
                                        </p:tgtEl>
                                        <p:attrNameLst>
                                          <p:attrName>ppt_x</p:attrName>
                                        </p:attrNameLst>
                                      </p:cBhvr>
                                      <p:tavLst>
                                        <p:tav tm="0">
                                          <p:val>
                                            <p:strVal val="#ppt_x"/>
                                          </p:val>
                                        </p:tav>
                                        <p:tav tm="100000">
                                          <p:val>
                                            <p:strVal val="#ppt_x"/>
                                          </p:val>
                                        </p:tav>
                                      </p:tavLst>
                                    </p:anim>
                                    <p:anim calcmode="lin" valueType="num">
                                      <p:cBhvr>
                                        <p:cTn id="58" dur="500" fill="hold"/>
                                        <p:tgtEl>
                                          <p:spTgt spid="21"/>
                                        </p:tgtEl>
                                        <p:attrNameLst>
                                          <p:attrName>ppt_y</p:attrName>
                                        </p:attrNameLst>
                                      </p:cBhvr>
                                      <p:tavLst>
                                        <p:tav tm="0">
                                          <p:val>
                                            <p:strVal val="#ppt_y-#ppt_h/2"/>
                                          </p:val>
                                        </p:tav>
                                        <p:tav tm="100000">
                                          <p:val>
                                            <p:strVal val="#ppt_y"/>
                                          </p:val>
                                        </p:tav>
                                      </p:tavLst>
                                    </p:anim>
                                    <p:anim calcmode="lin" valueType="num">
                                      <p:cBhvr>
                                        <p:cTn id="59" dur="500" fill="hold"/>
                                        <p:tgtEl>
                                          <p:spTgt spid="21"/>
                                        </p:tgtEl>
                                        <p:attrNameLst>
                                          <p:attrName>ppt_w</p:attrName>
                                        </p:attrNameLst>
                                      </p:cBhvr>
                                      <p:tavLst>
                                        <p:tav tm="0">
                                          <p:val>
                                            <p:strVal val="#ppt_w"/>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childTnLst>
                                </p:cTn>
                              </p:par>
                              <p:par>
                                <p:cTn id="61" presetID="10" presetClass="entr" presetSubtype="0"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1" grpId="0"/>
      <p:bldP spid="12" grpId="0"/>
      <p:bldP spid="13" grpId="0"/>
      <p:bldP spid="14" grpId="0"/>
      <p:bldP spid="15" grpId="0"/>
      <p:bldP spid="18" grpId="0"/>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D8B7ADC9-6386-9AB9-70EA-778429F38956}"/>
            </a:ext>
          </a:extLst>
        </p:cNvPr>
        <p:cNvGrpSpPr/>
        <p:nvPr/>
      </p:nvGrpSpPr>
      <p:grpSpPr>
        <a:xfrm>
          <a:off x="0" y="0"/>
          <a:ext cx="0" cy="0"/>
          <a:chOff x="0" y="0"/>
          <a:chExt cx="0" cy="0"/>
        </a:xfrm>
      </p:grpSpPr>
      <p:pic>
        <p:nvPicPr>
          <p:cNvPr id="3" name="Picture 2" descr="A building with lights in the sky&#10;&#10;AI-generated content may be incorrect.">
            <a:extLst>
              <a:ext uri="{FF2B5EF4-FFF2-40B4-BE49-F238E27FC236}">
                <a16:creationId xmlns:a16="http://schemas.microsoft.com/office/drawing/2014/main" id="{3BB40536-8D7A-D7BB-9A4D-8D15F2078B8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57" name="!!Hybrit_logo">
            <a:extLst>
              <a:ext uri="{FF2B5EF4-FFF2-40B4-BE49-F238E27FC236}">
                <a16:creationId xmlns:a16="http://schemas.microsoft.com/office/drawing/2014/main" id="{B71D3294-2342-742A-94BB-414F7274B636}"/>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B51BD212-F836-DE01-439E-F11FB5F64EE9}"/>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F6C5A775-1234-DC9B-0190-718EC638F9A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CDB2E0E6-337F-D4EE-F2C9-65E9C4794F58}"/>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C2C14DC5-C301-0958-824A-C7B60BD4A06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E4C2BBAA-DFDE-673D-F49C-57F426A85702}"/>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5" name="!!Title 6">
            <a:extLst>
              <a:ext uri="{FF2B5EF4-FFF2-40B4-BE49-F238E27FC236}">
                <a16:creationId xmlns:a16="http://schemas.microsoft.com/office/drawing/2014/main" id="{CD35D340-47D7-DC0F-C69C-940AF5EFB51D}"/>
              </a:ext>
            </a:extLst>
          </p:cNvPr>
          <p:cNvSpPr>
            <a:spLocks noGrp="1"/>
          </p:cNvSpPr>
          <p:nvPr>
            <p:ph type="title"/>
          </p:nvPr>
        </p:nvSpPr>
        <p:spPr>
          <a:xfrm>
            <a:off x="546099" y="752400"/>
            <a:ext cx="7163547" cy="1356708"/>
          </a:xfrm>
        </p:spPr>
        <p:txBody>
          <a:bodyPr anchor="t">
            <a:noAutofit/>
          </a:bodyPr>
          <a:lstStyle/>
          <a:p>
            <a:r>
              <a:rPr lang="sv-SE" dirty="0">
                <a:solidFill>
                  <a:schemeClr val="bg1"/>
                </a:solidFill>
              </a:rPr>
              <a:t>Integration </a:t>
            </a:r>
            <a:br>
              <a:rPr lang="sv-SE" dirty="0">
                <a:solidFill>
                  <a:schemeClr val="bg1"/>
                </a:solidFill>
              </a:rPr>
            </a:br>
            <a:r>
              <a:rPr lang="sv-SE" dirty="0">
                <a:solidFill>
                  <a:schemeClr val="bg1"/>
                </a:solidFill>
              </a:rPr>
              <a:t>med förbrukare</a:t>
            </a:r>
          </a:p>
        </p:txBody>
      </p:sp>
      <p:sp>
        <p:nvSpPr>
          <p:cNvPr id="4" name="!!TextBox 90">
            <a:extLst>
              <a:ext uri="{FF2B5EF4-FFF2-40B4-BE49-F238E27FC236}">
                <a16:creationId xmlns:a16="http://schemas.microsoft.com/office/drawing/2014/main" id="{190DAE3E-8FEE-82A1-A717-11A7E2796BBA}"/>
              </a:ext>
            </a:extLst>
          </p:cNvPr>
          <p:cNvSpPr txBox="1"/>
          <p:nvPr/>
        </p:nvSpPr>
        <p:spPr>
          <a:xfrm>
            <a:off x="571858" y="2407809"/>
            <a:ext cx="5410199" cy="2277547"/>
          </a:xfrm>
          <a:prstGeom prst="rect">
            <a:avLst/>
          </a:prstGeom>
          <a:noFill/>
        </p:spPr>
        <p:txBody>
          <a:bodyPr wrap="square" lIns="0" tIns="0" rIns="0" bIns="0" rtlCol="0">
            <a:spAutoFit/>
          </a:bodyPr>
          <a:lstStyle/>
          <a:p>
            <a:pPr lvl="0">
              <a:spcAft>
                <a:spcPts val="1600"/>
              </a:spcAft>
              <a:defRPr/>
            </a:pPr>
            <a:r>
              <a:rPr lang="sv-SE" dirty="0" err="1">
                <a:solidFill>
                  <a:srgbClr val="FFFFFF"/>
                </a:solidFill>
              </a:rPr>
              <a:t>HYBRIT:s</a:t>
            </a:r>
            <a:r>
              <a:rPr lang="sv-SE" dirty="0">
                <a:solidFill>
                  <a:srgbClr val="FFFFFF"/>
                </a:solidFill>
              </a:rPr>
              <a:t> pilotanläggning för direktreduktion</a:t>
            </a:r>
            <a:br>
              <a:rPr lang="sv-SE" dirty="0">
                <a:solidFill>
                  <a:srgbClr val="FFFFFF"/>
                </a:solidFill>
              </a:rPr>
            </a:br>
            <a:r>
              <a:rPr lang="sv-SE" dirty="0">
                <a:solidFill>
                  <a:srgbClr val="FFFFFF"/>
                </a:solidFill>
              </a:rPr>
              <a:t>och SSAB:s industriella koksgasnät</a:t>
            </a:r>
            <a:br>
              <a:rPr lang="sv-SE" dirty="0">
                <a:solidFill>
                  <a:srgbClr val="FFFFFF"/>
                </a:solidFill>
              </a:rPr>
            </a:br>
            <a:endParaRPr lang="sv-SE" sz="1200" dirty="0">
              <a:solidFill>
                <a:srgbClr val="FFFFFF"/>
              </a:solidFill>
            </a:endParaRPr>
          </a:p>
          <a:p>
            <a:pPr marL="342900" lvl="0" indent="-342900">
              <a:spcAft>
                <a:spcPts val="1600"/>
              </a:spcAft>
              <a:buBlip>
                <a:blip r:embed="rId4">
                  <a:extLst>
                    <a:ext uri="{96DAC541-7B7A-43D3-8B79-37D633B846F1}">
                      <asvg:svgBlip xmlns:asvg="http://schemas.microsoft.com/office/drawing/2016/SVG/main" r:embed="rId5"/>
                    </a:ext>
                  </a:extLst>
                </a:blip>
              </a:buBlip>
              <a:defRPr/>
            </a:pPr>
            <a:r>
              <a:rPr lang="sv-SE" sz="2000" b="1" dirty="0">
                <a:solidFill>
                  <a:srgbClr val="FFFFFF"/>
                </a:solidFill>
              </a:rPr>
              <a:t>Fungerar i värdekedjan</a:t>
            </a:r>
          </a:p>
          <a:p>
            <a:pPr marL="342900" lvl="0" indent="-342900">
              <a:spcAft>
                <a:spcPts val="1600"/>
              </a:spcAft>
              <a:buBlip>
                <a:blip r:embed="rId4">
                  <a:extLst>
                    <a:ext uri="{96DAC541-7B7A-43D3-8B79-37D633B846F1}">
                      <asvg:svgBlip xmlns:asvg="http://schemas.microsoft.com/office/drawing/2016/SVG/main" r:embed="rId5"/>
                    </a:ext>
                  </a:extLst>
                </a:blip>
              </a:buBlip>
              <a:defRPr/>
            </a:pPr>
            <a:r>
              <a:rPr lang="sv-SE" sz="2000" b="1" dirty="0">
                <a:solidFill>
                  <a:srgbClr val="FFFFFF"/>
                </a:solidFill>
              </a:rPr>
              <a:t>Fungerar som reservsystem</a:t>
            </a:r>
          </a:p>
          <a:p>
            <a:pPr marL="342900" lvl="0" indent="-342900">
              <a:spcAft>
                <a:spcPts val="1200"/>
              </a:spcAft>
              <a:buBlip>
                <a:blip r:embed="rId4">
                  <a:extLst>
                    <a:ext uri="{96DAC541-7B7A-43D3-8B79-37D633B846F1}">
                      <asvg:svgBlip xmlns:asvg="http://schemas.microsoft.com/office/drawing/2016/SVG/main" r:embed="rId5"/>
                    </a:ext>
                  </a:extLst>
                </a:blip>
              </a:buBlip>
              <a:defRPr/>
            </a:pPr>
            <a:endParaRPr lang="sv-SE" sz="2000" b="1" dirty="0">
              <a:solidFill>
                <a:srgbClr val="FFFFFF"/>
              </a:solidFill>
            </a:endParaRPr>
          </a:p>
        </p:txBody>
      </p:sp>
      <p:sp>
        <p:nvSpPr>
          <p:cNvPr id="2" name="!!Mask">
            <a:extLst>
              <a:ext uri="{FF2B5EF4-FFF2-40B4-BE49-F238E27FC236}">
                <a16:creationId xmlns:a16="http://schemas.microsoft.com/office/drawing/2014/main" id="{263377FE-1009-46CB-7E40-15BB8C38A42A}"/>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93718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E0C51-FE81-F50E-A333-3A194E5A2DB8}"/>
            </a:ext>
          </a:extLst>
        </p:cNvPr>
        <p:cNvGrpSpPr/>
        <p:nvPr/>
      </p:nvGrpSpPr>
      <p:grpSpPr>
        <a:xfrm>
          <a:off x="0" y="0"/>
          <a:ext cx="0" cy="0"/>
          <a:chOff x="0" y="0"/>
          <a:chExt cx="0" cy="0"/>
        </a:xfrm>
      </p:grpSpPr>
      <p:pic>
        <p:nvPicPr>
          <p:cNvPr id="6" name="!!Hero1" descr="A factory in the snow&#10;&#10;Description automatically generated">
            <a:extLst>
              <a:ext uri="{FF2B5EF4-FFF2-40B4-BE49-F238E27FC236}">
                <a16:creationId xmlns:a16="http://schemas.microsoft.com/office/drawing/2014/main" id="{2F138E06-2841-8AB9-9BC0-6A159731F20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 y="0"/>
            <a:ext cx="15262577" cy="8585200"/>
          </a:xfrm>
          <a:prstGeom prst="rect">
            <a:avLst/>
          </a:prstGeom>
        </p:spPr>
      </p:pic>
      <p:sp>
        <p:nvSpPr>
          <p:cNvPr id="2" name="!!40">
            <a:extLst>
              <a:ext uri="{FF2B5EF4-FFF2-40B4-BE49-F238E27FC236}">
                <a16:creationId xmlns:a16="http://schemas.microsoft.com/office/drawing/2014/main" id="{AB036274-CF35-67C4-0A19-1E0B2F3C1A6F}"/>
              </a:ext>
            </a:extLst>
          </p:cNvPr>
          <p:cNvSpPr txBox="1"/>
          <p:nvPr/>
        </p:nvSpPr>
        <p:spPr>
          <a:xfrm>
            <a:off x="546100" y="1759261"/>
            <a:ext cx="11099800" cy="3062377"/>
          </a:xfrm>
          <a:prstGeom prst="rect">
            <a:avLst/>
          </a:prstGeom>
          <a:noFill/>
        </p:spPr>
        <p:txBody>
          <a:bodyPr wrap="square" lIns="0" tIns="0" rIns="0" bIns="0" rtlCol="0">
            <a:spAutoFit/>
          </a:bodyPr>
          <a:lstStyle/>
          <a:p>
            <a:pPr algn="ctr"/>
            <a:r>
              <a:rPr lang="sv-SE" sz="19900" dirty="0">
                <a:solidFill>
                  <a:schemeClr val="bg1"/>
                </a:solidFill>
                <a:latin typeface="+mj-lt"/>
              </a:rPr>
              <a:t>25–40</a:t>
            </a:r>
            <a:r>
              <a:rPr lang="sv-SE" sz="10000" dirty="0">
                <a:solidFill>
                  <a:schemeClr val="bg1"/>
                </a:solidFill>
                <a:latin typeface="+mj-lt"/>
              </a:rPr>
              <a:t> </a:t>
            </a:r>
            <a:r>
              <a:rPr lang="sv-SE" sz="19900" dirty="0">
                <a:solidFill>
                  <a:schemeClr val="bg1"/>
                </a:solidFill>
                <a:latin typeface="+mj-lt"/>
              </a:rPr>
              <a:t>%</a:t>
            </a:r>
          </a:p>
        </p:txBody>
      </p:sp>
      <p:sp>
        <p:nvSpPr>
          <p:cNvPr id="21" name="!!Rectangle blue">
            <a:extLst>
              <a:ext uri="{FF2B5EF4-FFF2-40B4-BE49-F238E27FC236}">
                <a16:creationId xmlns:a16="http://schemas.microsoft.com/office/drawing/2014/main" id="{D2A35DC3-ED46-5393-7669-277D317DC665}"/>
              </a:ext>
            </a:extLst>
          </p:cNvPr>
          <p:cNvSpPr/>
          <p:nvPr/>
        </p:nvSpPr>
        <p:spPr>
          <a:xfrm flipH="1">
            <a:off x="13243560" y="1"/>
            <a:ext cx="243839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Logovertikal">
            <a:extLst>
              <a:ext uri="{FF2B5EF4-FFF2-40B4-BE49-F238E27FC236}">
                <a16:creationId xmlns:a16="http://schemas.microsoft.com/office/drawing/2014/main" id="{DC972D98-C1D9-A318-A334-7BE2524B456E}"/>
              </a:ext>
            </a:extLst>
          </p:cNvPr>
          <p:cNvSpPr/>
          <p:nvPr/>
        </p:nvSpPr>
        <p:spPr>
          <a:xfrm>
            <a:off x="13488812" y="0"/>
            <a:ext cx="898363" cy="6861227"/>
          </a:xfrm>
          <a:custGeom>
            <a:avLst/>
            <a:gdLst>
              <a:gd name="connsiteX0" fmla="*/ 26504 w 898363"/>
              <a:gd name="connsiteY0" fmla="*/ 5999309 h 6861227"/>
              <a:gd name="connsiteX1" fmla="*/ 871859 w 898363"/>
              <a:gd name="connsiteY1" fmla="*/ 5999309 h 6861227"/>
              <a:gd name="connsiteX2" fmla="*/ 871859 w 898363"/>
              <a:gd name="connsiteY2" fmla="*/ 6155602 h 6861227"/>
              <a:gd name="connsiteX3" fmla="*/ 526964 w 898363"/>
              <a:gd name="connsiteY3" fmla="*/ 6155602 h 6861227"/>
              <a:gd name="connsiteX4" fmla="*/ 526964 w 898363"/>
              <a:gd name="connsiteY4" fmla="*/ 6861227 h 6861227"/>
              <a:gd name="connsiteX5" fmla="*/ 370707 w 898363"/>
              <a:gd name="connsiteY5" fmla="*/ 6861227 h 6861227"/>
              <a:gd name="connsiteX6" fmla="*/ 370707 w 898363"/>
              <a:gd name="connsiteY6" fmla="*/ 6155602 h 6861227"/>
              <a:gd name="connsiteX7" fmla="*/ 26504 w 898363"/>
              <a:gd name="connsiteY7" fmla="*/ 6155602 h 6861227"/>
              <a:gd name="connsiteX8" fmla="*/ 371053 w 898363"/>
              <a:gd name="connsiteY8" fmla="*/ 4799447 h 6861227"/>
              <a:gd name="connsiteX9" fmla="*/ 527310 w 898363"/>
              <a:gd name="connsiteY9" fmla="*/ 4799447 h 6861227"/>
              <a:gd name="connsiteX10" fmla="*/ 527310 w 898363"/>
              <a:gd name="connsiteY10" fmla="*/ 5661250 h 6861227"/>
              <a:gd name="connsiteX11" fmla="*/ 371053 w 898363"/>
              <a:gd name="connsiteY11" fmla="*/ 5661250 h 6861227"/>
              <a:gd name="connsiteX12" fmla="*/ 78590 w 898363"/>
              <a:gd name="connsiteY12" fmla="*/ 3599470 h 6861227"/>
              <a:gd name="connsiteX13" fmla="*/ 671583 w 898363"/>
              <a:gd name="connsiteY13" fmla="*/ 3599470 h 6861227"/>
              <a:gd name="connsiteX14" fmla="*/ 759968 w 898363"/>
              <a:gd name="connsiteY14" fmla="*/ 3618373 h 6861227"/>
              <a:gd name="connsiteX15" fmla="*/ 818506 w 898363"/>
              <a:gd name="connsiteY15" fmla="*/ 3665860 h 6861227"/>
              <a:gd name="connsiteX16" fmla="*/ 851002 w 898363"/>
              <a:gd name="connsiteY16" fmla="*/ 3727524 h 6861227"/>
              <a:gd name="connsiteX17" fmla="*/ 860912 w 898363"/>
              <a:gd name="connsiteY17" fmla="*/ 3789419 h 6861227"/>
              <a:gd name="connsiteX18" fmla="*/ 860912 w 898363"/>
              <a:gd name="connsiteY18" fmla="*/ 3889120 h 6861227"/>
              <a:gd name="connsiteX19" fmla="*/ 861027 w 898363"/>
              <a:gd name="connsiteY19" fmla="*/ 3889350 h 6861227"/>
              <a:gd name="connsiteX20" fmla="*/ 847776 w 898363"/>
              <a:gd name="connsiteY20" fmla="*/ 3984901 h 6861227"/>
              <a:gd name="connsiteX21" fmla="*/ 812053 w 898363"/>
              <a:gd name="connsiteY21" fmla="*/ 4059129 h 6861227"/>
              <a:gd name="connsiteX22" fmla="*/ 760082 w 898363"/>
              <a:gd name="connsiteY22" fmla="*/ 4114108 h 6861227"/>
              <a:gd name="connsiteX23" fmla="*/ 698548 w 898363"/>
              <a:gd name="connsiteY23" fmla="*/ 4151683 h 6861227"/>
              <a:gd name="connsiteX24" fmla="*/ 633671 w 898363"/>
              <a:gd name="connsiteY24" fmla="*/ 4173006 h 6861227"/>
              <a:gd name="connsiteX25" fmla="*/ 572136 w 898363"/>
              <a:gd name="connsiteY25" fmla="*/ 4179576 h 6861227"/>
              <a:gd name="connsiteX26" fmla="*/ 898363 w 898363"/>
              <a:gd name="connsiteY26" fmla="*/ 4461388 h 6861227"/>
              <a:gd name="connsiteX27" fmla="*/ 656833 w 898363"/>
              <a:gd name="connsiteY27" fmla="*/ 4461388 h 6861227"/>
              <a:gd name="connsiteX28" fmla="*/ 331182 w 898363"/>
              <a:gd name="connsiteY28" fmla="*/ 4179576 h 6861227"/>
              <a:gd name="connsiteX29" fmla="*/ 218829 w 898363"/>
              <a:gd name="connsiteY29" fmla="*/ 4179576 h 6861227"/>
              <a:gd name="connsiteX30" fmla="*/ 218829 w 898363"/>
              <a:gd name="connsiteY30" fmla="*/ 4023283 h 6861227"/>
              <a:gd name="connsiteX31" fmla="*/ 572136 w 898363"/>
              <a:gd name="connsiteY31" fmla="*/ 4023283 h 6861227"/>
              <a:gd name="connsiteX32" fmla="*/ 625950 w 898363"/>
              <a:gd name="connsiteY32" fmla="*/ 4010950 h 6861227"/>
              <a:gd name="connsiteX33" fmla="*/ 668010 w 898363"/>
              <a:gd name="connsiteY33" fmla="*/ 3984210 h 6861227"/>
              <a:gd name="connsiteX34" fmla="*/ 695321 w 898363"/>
              <a:gd name="connsiteY34" fmla="*/ 3943638 h 6861227"/>
              <a:gd name="connsiteX35" fmla="*/ 704885 w 898363"/>
              <a:gd name="connsiteY35" fmla="*/ 3889235 h 6861227"/>
              <a:gd name="connsiteX36" fmla="*/ 704885 w 898363"/>
              <a:gd name="connsiteY36" fmla="*/ 3790687 h 6861227"/>
              <a:gd name="connsiteX37" fmla="*/ 701544 w 898363"/>
              <a:gd name="connsiteY37" fmla="*/ 3770517 h 6861227"/>
              <a:gd name="connsiteX38" fmla="*/ 693132 w 898363"/>
              <a:gd name="connsiteY38" fmla="*/ 3760258 h 6861227"/>
              <a:gd name="connsiteX39" fmla="*/ 682300 w 898363"/>
              <a:gd name="connsiteY39" fmla="*/ 3756339 h 6861227"/>
              <a:gd name="connsiteX40" fmla="*/ 671813 w 898363"/>
              <a:gd name="connsiteY40" fmla="*/ 3755763 h 6861227"/>
              <a:gd name="connsiteX41" fmla="*/ 156257 w 898363"/>
              <a:gd name="connsiteY41" fmla="*/ 3755763 h 6861227"/>
              <a:gd name="connsiteX42" fmla="*/ 156257 w 898363"/>
              <a:gd name="connsiteY42" fmla="*/ 4461273 h 6861227"/>
              <a:gd name="connsiteX43" fmla="*/ 0 w 898363"/>
              <a:gd name="connsiteY43" fmla="*/ 4461273 h 6861227"/>
              <a:gd name="connsiteX44" fmla="*/ 0 w 898363"/>
              <a:gd name="connsiteY44" fmla="*/ 3678193 h 6861227"/>
              <a:gd name="connsiteX45" fmla="*/ 5992 w 898363"/>
              <a:gd name="connsiteY45" fmla="*/ 3647533 h 6861227"/>
              <a:gd name="connsiteX46" fmla="*/ 22471 w 898363"/>
              <a:gd name="connsiteY46" fmla="*/ 3622291 h 6861227"/>
              <a:gd name="connsiteX47" fmla="*/ 47361 w 898363"/>
              <a:gd name="connsiteY47" fmla="*/ 3605463 h 6861227"/>
              <a:gd name="connsiteX48" fmla="*/ 78590 w 898363"/>
              <a:gd name="connsiteY48" fmla="*/ 3599470 h 6861227"/>
              <a:gd name="connsiteX49" fmla="*/ 174810 w 898363"/>
              <a:gd name="connsiteY49" fmla="*/ 2556132 h 6861227"/>
              <a:gd name="connsiteX50" fmla="*/ 174810 w 898363"/>
              <a:gd name="connsiteY50" fmla="*/ 3105464 h 6861227"/>
              <a:gd name="connsiteX51" fmla="*/ 690366 w 898363"/>
              <a:gd name="connsiteY51" fmla="*/ 3105464 h 6861227"/>
              <a:gd name="connsiteX52" fmla="*/ 700622 w 898363"/>
              <a:gd name="connsiteY52" fmla="*/ 3104888 h 6861227"/>
              <a:gd name="connsiteX53" fmla="*/ 711454 w 898363"/>
              <a:gd name="connsiteY53" fmla="*/ 3101314 h 6861227"/>
              <a:gd name="connsiteX54" fmla="*/ 719866 w 898363"/>
              <a:gd name="connsiteY54" fmla="*/ 3091056 h 6861227"/>
              <a:gd name="connsiteX55" fmla="*/ 723438 w 898363"/>
              <a:gd name="connsiteY55" fmla="*/ 3071231 h 6861227"/>
              <a:gd name="connsiteX56" fmla="*/ 723438 w 898363"/>
              <a:gd name="connsiteY56" fmla="*/ 3042416 h 6861227"/>
              <a:gd name="connsiteX57" fmla="*/ 723438 w 898363"/>
              <a:gd name="connsiteY57" fmla="*/ 3042186 h 6861227"/>
              <a:gd name="connsiteX58" fmla="*/ 713873 w 898363"/>
              <a:gd name="connsiteY58" fmla="*/ 2987207 h 6861227"/>
              <a:gd name="connsiteX59" fmla="*/ 686793 w 898363"/>
              <a:gd name="connsiteY59" fmla="*/ 2945482 h 6861227"/>
              <a:gd name="connsiteX60" fmla="*/ 644733 w 898363"/>
              <a:gd name="connsiteY60" fmla="*/ 2918742 h 6861227"/>
              <a:gd name="connsiteX61" fmla="*/ 589421 w 898363"/>
              <a:gd name="connsiteY61" fmla="*/ 2909406 h 6861227"/>
              <a:gd name="connsiteX62" fmla="*/ 237382 w 898363"/>
              <a:gd name="connsiteY62" fmla="*/ 2909406 h 6861227"/>
              <a:gd name="connsiteX63" fmla="*/ 237382 w 898363"/>
              <a:gd name="connsiteY63" fmla="*/ 2751960 h 6861227"/>
              <a:gd name="connsiteX64" fmla="*/ 519128 w 898363"/>
              <a:gd name="connsiteY64" fmla="*/ 2751960 h 6861227"/>
              <a:gd name="connsiteX65" fmla="*/ 574440 w 898363"/>
              <a:gd name="connsiteY65" fmla="*/ 2742624 h 6861227"/>
              <a:gd name="connsiteX66" fmla="*/ 616501 w 898363"/>
              <a:gd name="connsiteY66" fmla="*/ 2715883 h 6861227"/>
              <a:gd name="connsiteX67" fmla="*/ 643235 w 898363"/>
              <a:gd name="connsiteY67" fmla="*/ 2674159 h 6861227"/>
              <a:gd name="connsiteX68" fmla="*/ 652569 w 898363"/>
              <a:gd name="connsiteY68" fmla="*/ 2619181 h 6861227"/>
              <a:gd name="connsiteX69" fmla="*/ 652569 w 898363"/>
              <a:gd name="connsiteY69" fmla="*/ 2589788 h 6861227"/>
              <a:gd name="connsiteX70" fmla="*/ 620073 w 898363"/>
              <a:gd name="connsiteY70" fmla="*/ 2556132 h 6861227"/>
              <a:gd name="connsiteX71" fmla="*/ 97373 w 898363"/>
              <a:gd name="connsiteY71" fmla="*/ 2399839 h 6861227"/>
              <a:gd name="connsiteX72" fmla="*/ 620073 w 898363"/>
              <a:gd name="connsiteY72" fmla="*/ 2399839 h 6861227"/>
              <a:gd name="connsiteX73" fmla="*/ 681954 w 898363"/>
              <a:gd name="connsiteY73" fmla="*/ 2410097 h 6861227"/>
              <a:gd name="connsiteX74" fmla="*/ 743604 w 898363"/>
              <a:gd name="connsiteY74" fmla="*/ 2442831 h 6861227"/>
              <a:gd name="connsiteX75" fmla="*/ 791080 w 898363"/>
              <a:gd name="connsiteY75" fmla="*/ 2501383 h 6861227"/>
              <a:gd name="connsiteX76" fmla="*/ 809978 w 898363"/>
              <a:gd name="connsiteY76" fmla="*/ 2589788 h 6861227"/>
              <a:gd name="connsiteX77" fmla="*/ 809978 w 898363"/>
              <a:gd name="connsiteY77" fmla="*/ 2619181 h 6861227"/>
              <a:gd name="connsiteX78" fmla="*/ 796150 w 898363"/>
              <a:gd name="connsiteY78" fmla="*/ 2708391 h 6861227"/>
              <a:gd name="connsiteX79" fmla="*/ 751670 w 898363"/>
              <a:gd name="connsiteY79" fmla="*/ 2798871 h 6861227"/>
              <a:gd name="connsiteX80" fmla="*/ 801221 w 898363"/>
              <a:gd name="connsiteY80" fmla="*/ 2837944 h 6861227"/>
              <a:gd name="connsiteX81" fmla="*/ 841783 w 898363"/>
              <a:gd name="connsiteY81" fmla="*/ 2890849 h 6861227"/>
              <a:gd name="connsiteX82" fmla="*/ 869439 w 898363"/>
              <a:gd name="connsiteY82" fmla="*/ 2958737 h 6861227"/>
              <a:gd name="connsiteX83" fmla="*/ 879695 w 898363"/>
              <a:gd name="connsiteY83" fmla="*/ 3042301 h 6861227"/>
              <a:gd name="connsiteX84" fmla="*/ 879695 w 898363"/>
              <a:gd name="connsiteY84" fmla="*/ 3072269 h 6861227"/>
              <a:gd name="connsiteX85" fmla="*/ 869785 w 898363"/>
              <a:gd name="connsiteY85" fmla="*/ 3134164 h 6861227"/>
              <a:gd name="connsiteX86" fmla="*/ 837289 w 898363"/>
              <a:gd name="connsiteY86" fmla="*/ 3195482 h 6861227"/>
              <a:gd name="connsiteX87" fmla="*/ 778750 w 898363"/>
              <a:gd name="connsiteY87" fmla="*/ 3242624 h 6861227"/>
              <a:gd name="connsiteX88" fmla="*/ 690366 w 898363"/>
              <a:gd name="connsiteY88" fmla="*/ 3261526 h 6861227"/>
              <a:gd name="connsiteX89" fmla="*/ 97373 w 898363"/>
              <a:gd name="connsiteY89" fmla="*/ 3261526 h 6861227"/>
              <a:gd name="connsiteX90" fmla="*/ 66144 w 898363"/>
              <a:gd name="connsiteY90" fmla="*/ 3255533 h 6861227"/>
              <a:gd name="connsiteX91" fmla="*/ 41254 w 898363"/>
              <a:gd name="connsiteY91" fmla="*/ 3239051 h 6861227"/>
              <a:gd name="connsiteX92" fmla="*/ 24775 w 898363"/>
              <a:gd name="connsiteY92" fmla="*/ 3214154 h 6861227"/>
              <a:gd name="connsiteX93" fmla="*/ 18783 w 898363"/>
              <a:gd name="connsiteY93" fmla="*/ 3182919 h 6861227"/>
              <a:gd name="connsiteX94" fmla="*/ 18783 w 898363"/>
              <a:gd name="connsiteY94" fmla="*/ 2478562 h 6861227"/>
              <a:gd name="connsiteX95" fmla="*/ 24775 w 898363"/>
              <a:gd name="connsiteY95" fmla="*/ 2447903 h 6861227"/>
              <a:gd name="connsiteX96" fmla="*/ 41254 w 898363"/>
              <a:gd name="connsiteY96" fmla="*/ 2422661 h 6861227"/>
              <a:gd name="connsiteX97" fmla="*/ 66144 w 898363"/>
              <a:gd name="connsiteY97" fmla="*/ 2405832 h 6861227"/>
              <a:gd name="connsiteX98" fmla="*/ 97373 w 898363"/>
              <a:gd name="connsiteY98" fmla="*/ 2399839 h 6861227"/>
              <a:gd name="connsiteX99" fmla="*/ 723899 w 898363"/>
              <a:gd name="connsiteY99" fmla="*/ 1199631 h 6861227"/>
              <a:gd name="connsiteX100" fmla="*/ 880156 w 898363"/>
              <a:gd name="connsiteY100" fmla="*/ 1199631 h 6861227"/>
              <a:gd name="connsiteX101" fmla="*/ 880156 w 898363"/>
              <a:gd name="connsiteY101" fmla="*/ 1488128 h 6861227"/>
              <a:gd name="connsiteX102" fmla="*/ 880041 w 898363"/>
              <a:gd name="connsiteY102" fmla="*/ 1488359 h 6861227"/>
              <a:gd name="connsiteX103" fmla="*/ 866559 w 898363"/>
              <a:gd name="connsiteY103" fmla="*/ 1583909 h 6861227"/>
              <a:gd name="connsiteX104" fmla="*/ 830836 w 898363"/>
              <a:gd name="connsiteY104" fmla="*/ 1658137 h 6861227"/>
              <a:gd name="connsiteX105" fmla="*/ 778866 w 898363"/>
              <a:gd name="connsiteY105" fmla="*/ 1713117 h 6861227"/>
              <a:gd name="connsiteX106" fmla="*/ 717331 w 898363"/>
              <a:gd name="connsiteY106" fmla="*/ 1750691 h 6861227"/>
              <a:gd name="connsiteX107" fmla="*/ 652685 w 898363"/>
              <a:gd name="connsiteY107" fmla="*/ 1772015 h 6861227"/>
              <a:gd name="connsiteX108" fmla="*/ 591150 w 898363"/>
              <a:gd name="connsiteY108" fmla="*/ 1778584 h 6861227"/>
              <a:gd name="connsiteX109" fmla="*/ 528002 w 898363"/>
              <a:gd name="connsiteY109" fmla="*/ 1778584 h 6861227"/>
              <a:gd name="connsiteX110" fmla="*/ 528002 w 898363"/>
              <a:gd name="connsiteY110" fmla="*/ 2061664 h 6861227"/>
              <a:gd name="connsiteX111" fmla="*/ 370592 w 898363"/>
              <a:gd name="connsiteY111" fmla="*/ 2061664 h 6861227"/>
              <a:gd name="connsiteX112" fmla="*/ 370592 w 898363"/>
              <a:gd name="connsiteY112" fmla="*/ 1778584 h 6861227"/>
              <a:gd name="connsiteX113" fmla="*/ 308136 w 898363"/>
              <a:gd name="connsiteY113" fmla="*/ 1778584 h 6861227"/>
              <a:gd name="connsiteX114" fmla="*/ 246601 w 898363"/>
              <a:gd name="connsiteY114" fmla="*/ 1772015 h 6861227"/>
              <a:gd name="connsiteX115" fmla="*/ 181724 w 898363"/>
              <a:gd name="connsiteY115" fmla="*/ 1750691 h 6861227"/>
              <a:gd name="connsiteX116" fmla="*/ 120074 w 898363"/>
              <a:gd name="connsiteY116" fmla="*/ 1713117 h 6861227"/>
              <a:gd name="connsiteX117" fmla="*/ 68103 w 898363"/>
              <a:gd name="connsiteY117" fmla="*/ 1658137 h 6861227"/>
              <a:gd name="connsiteX118" fmla="*/ 32035 w 898363"/>
              <a:gd name="connsiteY118" fmla="*/ 1583564 h 6861227"/>
              <a:gd name="connsiteX119" fmla="*/ 18553 w 898363"/>
              <a:gd name="connsiteY119" fmla="*/ 1488244 h 6861227"/>
              <a:gd name="connsiteX120" fmla="*/ 18553 w 898363"/>
              <a:gd name="connsiteY120" fmla="*/ 1199746 h 6861227"/>
              <a:gd name="connsiteX121" fmla="*/ 174810 w 898363"/>
              <a:gd name="connsiteY121" fmla="*/ 1199746 h 6861227"/>
              <a:gd name="connsiteX122" fmla="*/ 174810 w 898363"/>
              <a:gd name="connsiteY122" fmla="*/ 1488244 h 6861227"/>
              <a:gd name="connsiteX123" fmla="*/ 184374 w 898363"/>
              <a:gd name="connsiteY123" fmla="*/ 1543223 h 6861227"/>
              <a:gd name="connsiteX124" fmla="*/ 211454 w 898363"/>
              <a:gd name="connsiteY124" fmla="*/ 1584947 h 6861227"/>
              <a:gd name="connsiteX125" fmla="*/ 253860 w 898363"/>
              <a:gd name="connsiteY125" fmla="*/ 1611687 h 6861227"/>
              <a:gd name="connsiteX126" fmla="*/ 309403 w 898363"/>
              <a:gd name="connsiteY126" fmla="*/ 1621023 h 6861227"/>
              <a:gd name="connsiteX127" fmla="*/ 591265 w 898363"/>
              <a:gd name="connsiteY127" fmla="*/ 1621023 h 6861227"/>
              <a:gd name="connsiteX128" fmla="*/ 636898 w 898363"/>
              <a:gd name="connsiteY128" fmla="*/ 1611687 h 6861227"/>
              <a:gd name="connsiteX129" fmla="*/ 679534 w 898363"/>
              <a:gd name="connsiteY129" fmla="*/ 1592093 h 6861227"/>
              <a:gd name="connsiteX130" fmla="*/ 711339 w 898363"/>
              <a:gd name="connsiteY130" fmla="*/ 1553596 h 6861227"/>
              <a:gd name="connsiteX131" fmla="*/ 723899 w 898363"/>
              <a:gd name="connsiteY131" fmla="*/ 1488128 h 6861227"/>
              <a:gd name="connsiteX132" fmla="*/ 18668 w 898363"/>
              <a:gd name="connsiteY132" fmla="*/ 0 h 6861227"/>
              <a:gd name="connsiteX133" fmla="*/ 174925 w 898363"/>
              <a:gd name="connsiteY133" fmla="*/ 0 h 6861227"/>
              <a:gd name="connsiteX134" fmla="*/ 174925 w 898363"/>
              <a:gd name="connsiteY134" fmla="*/ 352121 h 6861227"/>
              <a:gd name="connsiteX135" fmla="*/ 723438 w 898363"/>
              <a:gd name="connsiteY135" fmla="*/ 352121 h 6861227"/>
              <a:gd name="connsiteX136" fmla="*/ 723438 w 898363"/>
              <a:gd name="connsiteY136" fmla="*/ 0 h 6861227"/>
              <a:gd name="connsiteX137" fmla="*/ 879695 w 898363"/>
              <a:gd name="connsiteY137" fmla="*/ 0 h 6861227"/>
              <a:gd name="connsiteX138" fmla="*/ 879695 w 898363"/>
              <a:gd name="connsiteY138" fmla="*/ 861803 h 6861227"/>
              <a:gd name="connsiteX139" fmla="*/ 723438 w 898363"/>
              <a:gd name="connsiteY139" fmla="*/ 861803 h 6861227"/>
              <a:gd name="connsiteX140" fmla="*/ 723438 w 898363"/>
              <a:gd name="connsiteY140" fmla="*/ 509682 h 6861227"/>
              <a:gd name="connsiteX141" fmla="*/ 174925 w 898363"/>
              <a:gd name="connsiteY141" fmla="*/ 509682 h 6861227"/>
              <a:gd name="connsiteX142" fmla="*/ 174925 w 898363"/>
              <a:gd name="connsiteY142" fmla="*/ 861803 h 6861227"/>
              <a:gd name="connsiteX143" fmla="*/ 18668 w 898363"/>
              <a:gd name="connsiteY143" fmla="*/ 861803 h 686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98363" h="6861227">
                <a:moveTo>
                  <a:pt x="26504" y="5999309"/>
                </a:moveTo>
                <a:lnTo>
                  <a:pt x="871859" y="5999309"/>
                </a:lnTo>
                <a:lnTo>
                  <a:pt x="871859" y="6155602"/>
                </a:lnTo>
                <a:lnTo>
                  <a:pt x="526964" y="6155602"/>
                </a:lnTo>
                <a:lnTo>
                  <a:pt x="526964" y="6861227"/>
                </a:lnTo>
                <a:lnTo>
                  <a:pt x="370707" y="6861227"/>
                </a:lnTo>
                <a:lnTo>
                  <a:pt x="370707" y="6155602"/>
                </a:lnTo>
                <a:lnTo>
                  <a:pt x="26504" y="6155602"/>
                </a:lnTo>
                <a:close/>
                <a:moveTo>
                  <a:pt x="371053" y="4799447"/>
                </a:moveTo>
                <a:lnTo>
                  <a:pt x="527310" y="4799447"/>
                </a:lnTo>
                <a:lnTo>
                  <a:pt x="527310" y="5661250"/>
                </a:lnTo>
                <a:lnTo>
                  <a:pt x="371053" y="5661250"/>
                </a:lnTo>
                <a:close/>
                <a:moveTo>
                  <a:pt x="78590" y="3599470"/>
                </a:moveTo>
                <a:lnTo>
                  <a:pt x="671583" y="3599470"/>
                </a:lnTo>
                <a:cubicBezTo>
                  <a:pt x="706499" y="3599470"/>
                  <a:pt x="735883" y="3605809"/>
                  <a:pt x="759968" y="3618373"/>
                </a:cubicBezTo>
                <a:cubicBezTo>
                  <a:pt x="784051" y="3631051"/>
                  <a:pt x="803526" y="3646842"/>
                  <a:pt x="818506" y="3665860"/>
                </a:cubicBezTo>
                <a:cubicBezTo>
                  <a:pt x="833486" y="3684878"/>
                  <a:pt x="844318" y="3705394"/>
                  <a:pt x="851002" y="3727524"/>
                </a:cubicBezTo>
                <a:cubicBezTo>
                  <a:pt x="857570" y="3749539"/>
                  <a:pt x="860912" y="3770171"/>
                  <a:pt x="860912" y="3789419"/>
                </a:cubicBezTo>
                <a:lnTo>
                  <a:pt x="860912" y="3889120"/>
                </a:lnTo>
                <a:lnTo>
                  <a:pt x="861027" y="3889350"/>
                </a:lnTo>
                <a:cubicBezTo>
                  <a:pt x="861027" y="3924966"/>
                  <a:pt x="856648" y="3956893"/>
                  <a:pt x="847776" y="3984901"/>
                </a:cubicBezTo>
                <a:cubicBezTo>
                  <a:pt x="838902" y="4012909"/>
                  <a:pt x="827033" y="4037690"/>
                  <a:pt x="812053" y="4059129"/>
                </a:cubicBezTo>
                <a:cubicBezTo>
                  <a:pt x="797072" y="4080567"/>
                  <a:pt x="779672" y="4098894"/>
                  <a:pt x="760082" y="4114108"/>
                </a:cubicBezTo>
                <a:cubicBezTo>
                  <a:pt x="740493" y="4129323"/>
                  <a:pt x="719981" y="4141886"/>
                  <a:pt x="698548" y="4151683"/>
                </a:cubicBezTo>
                <a:cubicBezTo>
                  <a:pt x="677114" y="4161480"/>
                  <a:pt x="655450" y="4168626"/>
                  <a:pt x="633671" y="4173006"/>
                </a:cubicBezTo>
                <a:cubicBezTo>
                  <a:pt x="611892" y="4177386"/>
                  <a:pt x="591265" y="4179576"/>
                  <a:pt x="572136" y="4179576"/>
                </a:cubicBezTo>
                <a:lnTo>
                  <a:pt x="898363" y="4461388"/>
                </a:lnTo>
                <a:lnTo>
                  <a:pt x="656833" y="4461388"/>
                </a:lnTo>
                <a:lnTo>
                  <a:pt x="331182" y="4179576"/>
                </a:lnTo>
                <a:lnTo>
                  <a:pt x="218829" y="4179576"/>
                </a:lnTo>
                <a:lnTo>
                  <a:pt x="218829" y="4023283"/>
                </a:lnTo>
                <a:lnTo>
                  <a:pt x="572136" y="4023283"/>
                </a:lnTo>
                <a:cubicBezTo>
                  <a:pt x="591726" y="4021669"/>
                  <a:pt x="609702" y="4017520"/>
                  <a:pt x="625950" y="4010950"/>
                </a:cubicBezTo>
                <a:cubicBezTo>
                  <a:pt x="642198" y="4004380"/>
                  <a:pt x="656141" y="3995390"/>
                  <a:pt x="668010" y="3984210"/>
                </a:cubicBezTo>
                <a:cubicBezTo>
                  <a:pt x="679765" y="3972914"/>
                  <a:pt x="688983" y="3959428"/>
                  <a:pt x="695321" y="3943638"/>
                </a:cubicBezTo>
                <a:cubicBezTo>
                  <a:pt x="701774" y="3927847"/>
                  <a:pt x="704885" y="3909636"/>
                  <a:pt x="704885" y="3889235"/>
                </a:cubicBezTo>
                <a:lnTo>
                  <a:pt x="704885" y="3790687"/>
                </a:lnTo>
                <a:cubicBezTo>
                  <a:pt x="704885" y="3781927"/>
                  <a:pt x="703733" y="3775127"/>
                  <a:pt x="701544" y="3770517"/>
                </a:cubicBezTo>
                <a:cubicBezTo>
                  <a:pt x="699354" y="3765906"/>
                  <a:pt x="696473" y="3762448"/>
                  <a:pt x="693132" y="3760258"/>
                </a:cubicBezTo>
                <a:cubicBezTo>
                  <a:pt x="689674" y="3758068"/>
                  <a:pt x="686102" y="3756801"/>
                  <a:pt x="682300" y="3756339"/>
                </a:cubicBezTo>
                <a:cubicBezTo>
                  <a:pt x="678497" y="3755994"/>
                  <a:pt x="674925" y="3755763"/>
                  <a:pt x="671813" y="3755763"/>
                </a:cubicBezTo>
                <a:lnTo>
                  <a:pt x="156257" y="3755763"/>
                </a:lnTo>
                <a:lnTo>
                  <a:pt x="156257" y="4461273"/>
                </a:lnTo>
                <a:lnTo>
                  <a:pt x="0" y="4461273"/>
                </a:lnTo>
                <a:lnTo>
                  <a:pt x="0" y="3678193"/>
                </a:lnTo>
                <a:cubicBezTo>
                  <a:pt x="0" y="3667358"/>
                  <a:pt x="1959" y="3657215"/>
                  <a:pt x="5992" y="3647533"/>
                </a:cubicBezTo>
                <a:cubicBezTo>
                  <a:pt x="10026" y="3637967"/>
                  <a:pt x="15557" y="3629438"/>
                  <a:pt x="22471" y="3622291"/>
                </a:cubicBezTo>
                <a:cubicBezTo>
                  <a:pt x="29500" y="3615030"/>
                  <a:pt x="37797" y="3609498"/>
                  <a:pt x="47361" y="3605463"/>
                </a:cubicBezTo>
                <a:cubicBezTo>
                  <a:pt x="57041" y="3601429"/>
                  <a:pt x="67412" y="3599470"/>
                  <a:pt x="78590" y="3599470"/>
                </a:cubicBezTo>
                <a:close/>
                <a:moveTo>
                  <a:pt x="174810" y="2556132"/>
                </a:moveTo>
                <a:lnTo>
                  <a:pt x="174810" y="3105464"/>
                </a:lnTo>
                <a:lnTo>
                  <a:pt x="690366" y="3105464"/>
                </a:lnTo>
                <a:cubicBezTo>
                  <a:pt x="693132" y="3105464"/>
                  <a:pt x="696588" y="3105233"/>
                  <a:pt x="700622" y="3104888"/>
                </a:cubicBezTo>
                <a:cubicBezTo>
                  <a:pt x="704655" y="3104542"/>
                  <a:pt x="708227" y="3103274"/>
                  <a:pt x="711454" y="3101314"/>
                </a:cubicBezTo>
                <a:cubicBezTo>
                  <a:pt x="714680" y="3099355"/>
                  <a:pt x="717446" y="3095897"/>
                  <a:pt x="719866" y="3091056"/>
                </a:cubicBezTo>
                <a:cubicBezTo>
                  <a:pt x="722286" y="3086215"/>
                  <a:pt x="723438" y="3079645"/>
                  <a:pt x="723438" y="3071231"/>
                </a:cubicBezTo>
                <a:lnTo>
                  <a:pt x="723438" y="3042416"/>
                </a:lnTo>
                <a:lnTo>
                  <a:pt x="723438" y="3042186"/>
                </a:lnTo>
                <a:cubicBezTo>
                  <a:pt x="723438" y="3021785"/>
                  <a:pt x="720211" y="3003458"/>
                  <a:pt x="713873" y="2987207"/>
                </a:cubicBezTo>
                <a:cubicBezTo>
                  <a:pt x="707536" y="2970955"/>
                  <a:pt x="698432" y="2957123"/>
                  <a:pt x="686793" y="2945482"/>
                </a:cubicBezTo>
                <a:cubicBezTo>
                  <a:pt x="675155" y="2933841"/>
                  <a:pt x="661212" y="2924966"/>
                  <a:pt x="644733" y="2918742"/>
                </a:cubicBezTo>
                <a:cubicBezTo>
                  <a:pt x="628370" y="2912518"/>
                  <a:pt x="609817" y="2909406"/>
                  <a:pt x="589421" y="2909406"/>
                </a:cubicBezTo>
                <a:lnTo>
                  <a:pt x="237382" y="2909406"/>
                </a:lnTo>
                <a:lnTo>
                  <a:pt x="237382" y="2751960"/>
                </a:lnTo>
                <a:lnTo>
                  <a:pt x="519128" y="2751960"/>
                </a:lnTo>
                <a:cubicBezTo>
                  <a:pt x="539525" y="2751960"/>
                  <a:pt x="557962" y="2748848"/>
                  <a:pt x="574440" y="2742624"/>
                </a:cubicBezTo>
                <a:cubicBezTo>
                  <a:pt x="590919" y="2736400"/>
                  <a:pt x="604862" y="2727525"/>
                  <a:pt x="616501" y="2715883"/>
                </a:cubicBezTo>
                <a:cubicBezTo>
                  <a:pt x="628139" y="2704242"/>
                  <a:pt x="637012" y="2690295"/>
                  <a:pt x="643235" y="2674159"/>
                </a:cubicBezTo>
                <a:cubicBezTo>
                  <a:pt x="649458" y="2657907"/>
                  <a:pt x="652569" y="2639581"/>
                  <a:pt x="652569" y="2619181"/>
                </a:cubicBezTo>
                <a:lnTo>
                  <a:pt x="652569" y="2589788"/>
                </a:lnTo>
                <a:cubicBezTo>
                  <a:pt x="652569" y="2567313"/>
                  <a:pt x="641737" y="2556132"/>
                  <a:pt x="620073" y="2556132"/>
                </a:cubicBezTo>
                <a:close/>
                <a:moveTo>
                  <a:pt x="97373" y="2399839"/>
                </a:moveTo>
                <a:lnTo>
                  <a:pt x="620073" y="2399839"/>
                </a:lnTo>
                <a:cubicBezTo>
                  <a:pt x="639317" y="2399839"/>
                  <a:pt x="659944" y="2403181"/>
                  <a:pt x="681954" y="2410097"/>
                </a:cubicBezTo>
                <a:cubicBezTo>
                  <a:pt x="703964" y="2416898"/>
                  <a:pt x="724475" y="2427847"/>
                  <a:pt x="743604" y="2442831"/>
                </a:cubicBezTo>
                <a:cubicBezTo>
                  <a:pt x="762618" y="2457815"/>
                  <a:pt x="778404" y="2477409"/>
                  <a:pt x="791080" y="2501383"/>
                </a:cubicBezTo>
                <a:cubicBezTo>
                  <a:pt x="803756" y="2525473"/>
                  <a:pt x="809978" y="2554864"/>
                  <a:pt x="809978" y="2589788"/>
                </a:cubicBezTo>
                <a:lnTo>
                  <a:pt x="809978" y="2619181"/>
                </a:lnTo>
                <a:cubicBezTo>
                  <a:pt x="809978" y="2646842"/>
                  <a:pt x="805369" y="2676579"/>
                  <a:pt x="796150" y="2708391"/>
                </a:cubicBezTo>
                <a:cubicBezTo>
                  <a:pt x="786932" y="2740203"/>
                  <a:pt x="772182" y="2770401"/>
                  <a:pt x="751670" y="2798871"/>
                </a:cubicBezTo>
                <a:cubicBezTo>
                  <a:pt x="769301" y="2809705"/>
                  <a:pt x="785780" y="2822730"/>
                  <a:pt x="801221" y="2837944"/>
                </a:cubicBezTo>
                <a:cubicBezTo>
                  <a:pt x="816662" y="2853158"/>
                  <a:pt x="830144" y="2870793"/>
                  <a:pt x="841783" y="2890849"/>
                </a:cubicBezTo>
                <a:cubicBezTo>
                  <a:pt x="853422" y="2910904"/>
                  <a:pt x="862640" y="2933495"/>
                  <a:pt x="869439" y="2958737"/>
                </a:cubicBezTo>
                <a:cubicBezTo>
                  <a:pt x="876238" y="2983979"/>
                  <a:pt x="879695" y="3011872"/>
                  <a:pt x="879695" y="3042301"/>
                </a:cubicBezTo>
                <a:lnTo>
                  <a:pt x="879695" y="3072269"/>
                </a:lnTo>
                <a:cubicBezTo>
                  <a:pt x="879695" y="3091517"/>
                  <a:pt x="876353" y="3112149"/>
                  <a:pt x="869785" y="3134164"/>
                </a:cubicBezTo>
                <a:cubicBezTo>
                  <a:pt x="863101" y="3156178"/>
                  <a:pt x="852384" y="3176580"/>
                  <a:pt x="837289" y="3195482"/>
                </a:cubicBezTo>
                <a:cubicBezTo>
                  <a:pt x="822309" y="3214270"/>
                  <a:pt x="802719" y="3230060"/>
                  <a:pt x="778750" y="3242624"/>
                </a:cubicBezTo>
                <a:cubicBezTo>
                  <a:pt x="754666" y="3255302"/>
                  <a:pt x="725282" y="3261526"/>
                  <a:pt x="690366" y="3261526"/>
                </a:cubicBezTo>
                <a:lnTo>
                  <a:pt x="97373" y="3261526"/>
                </a:lnTo>
                <a:cubicBezTo>
                  <a:pt x="86195" y="3261526"/>
                  <a:pt x="75709" y="3259567"/>
                  <a:pt x="66144" y="3255533"/>
                </a:cubicBezTo>
                <a:cubicBezTo>
                  <a:pt x="56580" y="3251499"/>
                  <a:pt x="48168" y="3246082"/>
                  <a:pt x="41254" y="3239051"/>
                </a:cubicBezTo>
                <a:cubicBezTo>
                  <a:pt x="34224" y="3232020"/>
                  <a:pt x="28693" y="3223721"/>
                  <a:pt x="24775" y="3214154"/>
                </a:cubicBezTo>
                <a:cubicBezTo>
                  <a:pt x="20742" y="3204588"/>
                  <a:pt x="18783" y="3194099"/>
                  <a:pt x="18783" y="3182919"/>
                </a:cubicBezTo>
                <a:lnTo>
                  <a:pt x="18783" y="2478562"/>
                </a:lnTo>
                <a:cubicBezTo>
                  <a:pt x="18783" y="2467727"/>
                  <a:pt x="20742" y="2457584"/>
                  <a:pt x="24775" y="2447903"/>
                </a:cubicBezTo>
                <a:cubicBezTo>
                  <a:pt x="28808" y="2438336"/>
                  <a:pt x="34340" y="2429807"/>
                  <a:pt x="41254" y="2422661"/>
                </a:cubicBezTo>
                <a:cubicBezTo>
                  <a:pt x="48283" y="2415399"/>
                  <a:pt x="56580" y="2409867"/>
                  <a:pt x="66144" y="2405832"/>
                </a:cubicBezTo>
                <a:cubicBezTo>
                  <a:pt x="75824" y="2401798"/>
                  <a:pt x="86195" y="2399839"/>
                  <a:pt x="97373" y="2399839"/>
                </a:cubicBezTo>
                <a:close/>
                <a:moveTo>
                  <a:pt x="723899" y="1199631"/>
                </a:moveTo>
                <a:lnTo>
                  <a:pt x="880156" y="1199631"/>
                </a:lnTo>
                <a:lnTo>
                  <a:pt x="880156" y="1488128"/>
                </a:lnTo>
                <a:lnTo>
                  <a:pt x="880041" y="1488359"/>
                </a:lnTo>
                <a:cubicBezTo>
                  <a:pt x="880041" y="1523974"/>
                  <a:pt x="875547" y="1555901"/>
                  <a:pt x="866559" y="1583909"/>
                </a:cubicBezTo>
                <a:cubicBezTo>
                  <a:pt x="857570" y="1611918"/>
                  <a:pt x="845586" y="1636699"/>
                  <a:pt x="830836" y="1658137"/>
                </a:cubicBezTo>
                <a:cubicBezTo>
                  <a:pt x="815971" y="1679576"/>
                  <a:pt x="798686" y="1697902"/>
                  <a:pt x="778866" y="1713117"/>
                </a:cubicBezTo>
                <a:cubicBezTo>
                  <a:pt x="759046" y="1728331"/>
                  <a:pt x="738534" y="1740894"/>
                  <a:pt x="717331" y="1750691"/>
                </a:cubicBezTo>
                <a:cubicBezTo>
                  <a:pt x="696128" y="1760489"/>
                  <a:pt x="674579" y="1767635"/>
                  <a:pt x="652685" y="1772015"/>
                </a:cubicBezTo>
                <a:cubicBezTo>
                  <a:pt x="630905" y="1776395"/>
                  <a:pt x="610394" y="1778584"/>
                  <a:pt x="591150" y="1778584"/>
                </a:cubicBezTo>
                <a:lnTo>
                  <a:pt x="528002" y="1778584"/>
                </a:lnTo>
                <a:lnTo>
                  <a:pt x="528002" y="2061664"/>
                </a:lnTo>
                <a:lnTo>
                  <a:pt x="370592" y="2061664"/>
                </a:lnTo>
                <a:lnTo>
                  <a:pt x="370592" y="1778584"/>
                </a:lnTo>
                <a:lnTo>
                  <a:pt x="308136" y="1778584"/>
                </a:lnTo>
                <a:cubicBezTo>
                  <a:pt x="288891" y="1778584"/>
                  <a:pt x="268380" y="1776395"/>
                  <a:pt x="246601" y="1772015"/>
                </a:cubicBezTo>
                <a:cubicBezTo>
                  <a:pt x="224821" y="1767635"/>
                  <a:pt x="203157" y="1760489"/>
                  <a:pt x="181724" y="1750691"/>
                </a:cubicBezTo>
                <a:cubicBezTo>
                  <a:pt x="160290" y="1740894"/>
                  <a:pt x="139779" y="1728331"/>
                  <a:pt x="120074" y="1713117"/>
                </a:cubicBezTo>
                <a:cubicBezTo>
                  <a:pt x="100484" y="1697902"/>
                  <a:pt x="83084" y="1679576"/>
                  <a:pt x="68103" y="1658137"/>
                </a:cubicBezTo>
                <a:cubicBezTo>
                  <a:pt x="53123" y="1636699"/>
                  <a:pt x="41024" y="1611918"/>
                  <a:pt x="32035" y="1583564"/>
                </a:cubicBezTo>
                <a:cubicBezTo>
                  <a:pt x="23047" y="1555325"/>
                  <a:pt x="18553" y="1523513"/>
                  <a:pt x="18553" y="1488244"/>
                </a:cubicBezTo>
                <a:lnTo>
                  <a:pt x="18553" y="1199746"/>
                </a:lnTo>
                <a:lnTo>
                  <a:pt x="174810" y="1199746"/>
                </a:lnTo>
                <a:lnTo>
                  <a:pt x="174810" y="1488244"/>
                </a:lnTo>
                <a:cubicBezTo>
                  <a:pt x="174810" y="1508644"/>
                  <a:pt x="178037" y="1526971"/>
                  <a:pt x="184374" y="1543223"/>
                </a:cubicBezTo>
                <a:cubicBezTo>
                  <a:pt x="190828" y="1559474"/>
                  <a:pt x="199816" y="1573421"/>
                  <a:pt x="211454" y="1584947"/>
                </a:cubicBezTo>
                <a:cubicBezTo>
                  <a:pt x="223093" y="1596588"/>
                  <a:pt x="237152" y="1605463"/>
                  <a:pt x="253860" y="1611687"/>
                </a:cubicBezTo>
                <a:cubicBezTo>
                  <a:pt x="270454" y="1617911"/>
                  <a:pt x="289007" y="1621023"/>
                  <a:pt x="309403" y="1621023"/>
                </a:cubicBezTo>
                <a:lnTo>
                  <a:pt x="591265" y="1621023"/>
                </a:lnTo>
                <a:cubicBezTo>
                  <a:pt x="606130" y="1618603"/>
                  <a:pt x="621341" y="1615491"/>
                  <a:pt x="636898" y="1611687"/>
                </a:cubicBezTo>
                <a:cubicBezTo>
                  <a:pt x="652569" y="1607884"/>
                  <a:pt x="666743" y="1601429"/>
                  <a:pt x="679534" y="1592093"/>
                </a:cubicBezTo>
                <a:cubicBezTo>
                  <a:pt x="692325" y="1582872"/>
                  <a:pt x="702926" y="1570078"/>
                  <a:pt x="711339" y="1553596"/>
                </a:cubicBezTo>
                <a:cubicBezTo>
                  <a:pt x="719751" y="1537229"/>
                  <a:pt x="723899" y="1515330"/>
                  <a:pt x="723899" y="1488128"/>
                </a:cubicBezTo>
                <a:close/>
                <a:moveTo>
                  <a:pt x="18668" y="0"/>
                </a:moveTo>
                <a:lnTo>
                  <a:pt x="174925" y="0"/>
                </a:lnTo>
                <a:lnTo>
                  <a:pt x="174925" y="352121"/>
                </a:lnTo>
                <a:lnTo>
                  <a:pt x="723438" y="352121"/>
                </a:lnTo>
                <a:lnTo>
                  <a:pt x="723438" y="0"/>
                </a:lnTo>
                <a:lnTo>
                  <a:pt x="879695" y="0"/>
                </a:lnTo>
                <a:lnTo>
                  <a:pt x="879695" y="861803"/>
                </a:lnTo>
                <a:lnTo>
                  <a:pt x="723438" y="861803"/>
                </a:lnTo>
                <a:lnTo>
                  <a:pt x="723438" y="509682"/>
                </a:lnTo>
                <a:lnTo>
                  <a:pt x="174925" y="509682"/>
                </a:lnTo>
                <a:lnTo>
                  <a:pt x="174925" y="861803"/>
                </a:lnTo>
                <a:lnTo>
                  <a:pt x="18668" y="861803"/>
                </a:lnTo>
                <a:close/>
              </a:path>
            </a:pathLst>
          </a:custGeom>
          <a:solidFill>
            <a:srgbClr val="FFFFFF"/>
          </a:solidFill>
          <a:ln w="0" cap="flat">
            <a:noFill/>
            <a:prstDash val="solid"/>
            <a:miter/>
          </a:ln>
        </p:spPr>
        <p:txBody>
          <a:bodyPr rtlCol="0" anchor="ctr"/>
          <a:lstStyle/>
          <a:p>
            <a:endParaRPr lang="en-GB" dirty="0"/>
          </a:p>
        </p:txBody>
      </p:sp>
      <p:sp>
        <p:nvSpPr>
          <p:cNvPr id="3" name="!!Jointventure">
            <a:extLst>
              <a:ext uri="{FF2B5EF4-FFF2-40B4-BE49-F238E27FC236}">
                <a16:creationId xmlns:a16="http://schemas.microsoft.com/office/drawing/2014/main" id="{F8E3B76E-15AC-DC0D-E3B2-94CAD302C16B}"/>
              </a:ext>
            </a:extLst>
          </p:cNvPr>
          <p:cNvSpPr/>
          <p:nvPr/>
        </p:nvSpPr>
        <p:spPr>
          <a:xfrm rot="16200000">
            <a:off x="10077993" y="3165565"/>
            <a:ext cx="6872470" cy="541336"/>
          </a:xfrm>
          <a:prstGeom prst="rect">
            <a:avLst/>
          </a:prstGeom>
          <a:solidFill>
            <a:srgbClr val="F4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spc="200" dirty="0">
                <a:solidFill>
                  <a:schemeClr val="tx2"/>
                </a:solidFill>
                <a:latin typeface="Aptos Light" panose="020B0004020202020204" pitchFamily="34" charset="0"/>
              </a:rPr>
              <a:t>ETT BOLAG SAMÄGT AV SSAB, LKAB AND VATTENFALL</a:t>
            </a:r>
          </a:p>
        </p:txBody>
      </p:sp>
      <p:sp>
        <p:nvSpPr>
          <p:cNvPr id="5" name="!!Mask">
            <a:extLst>
              <a:ext uri="{FF2B5EF4-FFF2-40B4-BE49-F238E27FC236}">
                <a16:creationId xmlns:a16="http://schemas.microsoft.com/office/drawing/2014/main" id="{C80609A1-C321-81F0-BD29-7B0E6CFD526C}"/>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308161636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33A0E243-CA39-8B74-6FC6-F2F2E7FDC120}"/>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128F67B-90DE-5F1C-C286-E3DDAABDE912}"/>
              </a:ext>
            </a:extLst>
          </p:cNvPr>
          <p:cNvPicPr>
            <a:picLocks noChangeAspect="1"/>
          </p:cNvPicPr>
          <p:nvPr/>
        </p:nvPicPr>
        <p:blipFill>
          <a:blip r:embed="rId3"/>
          <a:srcRect l="8879" t="35871" r="33176" b="6167"/>
          <a:stretch/>
        </p:blipFill>
        <p:spPr>
          <a:xfrm>
            <a:off x="0" y="0"/>
            <a:ext cx="12193067" cy="6858000"/>
          </a:xfrm>
          <a:prstGeom prst="rect">
            <a:avLst/>
          </a:prstGeom>
        </p:spPr>
      </p:pic>
      <p:sp>
        <p:nvSpPr>
          <p:cNvPr id="20" name="!!Title 19">
            <a:extLst>
              <a:ext uri="{FF2B5EF4-FFF2-40B4-BE49-F238E27FC236}">
                <a16:creationId xmlns:a16="http://schemas.microsoft.com/office/drawing/2014/main" id="{6DF2576A-DDA7-A69A-73D0-B16E458049FA}"/>
              </a:ext>
            </a:extLst>
          </p:cNvPr>
          <p:cNvSpPr>
            <a:spLocks noGrp="1"/>
          </p:cNvSpPr>
          <p:nvPr>
            <p:ph type="title"/>
          </p:nvPr>
        </p:nvSpPr>
        <p:spPr/>
        <p:txBody>
          <a:bodyPr/>
          <a:lstStyle/>
          <a:p>
            <a:r>
              <a:rPr lang="sv-SE" dirty="0">
                <a:solidFill>
                  <a:schemeClr val="bg1"/>
                </a:solidFill>
              </a:rPr>
              <a:t>Integration mot</a:t>
            </a:r>
            <a:br>
              <a:rPr lang="sv-SE" dirty="0">
                <a:solidFill>
                  <a:schemeClr val="bg1"/>
                </a:solidFill>
              </a:rPr>
            </a:br>
            <a:r>
              <a:rPr lang="sv-SE" dirty="0">
                <a:solidFill>
                  <a:schemeClr val="bg1"/>
                </a:solidFill>
              </a:rPr>
              <a:t>elmarknaden  </a:t>
            </a:r>
          </a:p>
        </p:txBody>
      </p:sp>
      <p:grpSp>
        <p:nvGrpSpPr>
          <p:cNvPr id="7" name="!!Hybrit_logo">
            <a:extLst>
              <a:ext uri="{FF2B5EF4-FFF2-40B4-BE49-F238E27FC236}">
                <a16:creationId xmlns:a16="http://schemas.microsoft.com/office/drawing/2014/main" id="{6EBC02F1-87E9-A683-F8FD-2918B30CA57D}"/>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A7203336-BF2C-07C5-3907-9021CA0166A7}"/>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3696C585-C96B-4E82-55DC-6757C3B0CCA9}"/>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1475F991-EE3F-491F-7097-5920668AD598}"/>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E10BCCCA-9CCD-8167-3100-289D9487F67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2" name="Freeform 11">
              <a:extLst>
                <a:ext uri="{FF2B5EF4-FFF2-40B4-BE49-F238E27FC236}">
                  <a16:creationId xmlns:a16="http://schemas.microsoft.com/office/drawing/2014/main" id="{D5CF3FB1-4C58-23DA-0CC0-67F343B1CD4A}"/>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3" name="Rounded Rectangle 2">
            <a:extLst>
              <a:ext uri="{FF2B5EF4-FFF2-40B4-BE49-F238E27FC236}">
                <a16:creationId xmlns:a16="http://schemas.microsoft.com/office/drawing/2014/main" id="{060E2FA8-B033-8285-8CD3-8BDC75EAC8B8}"/>
              </a:ext>
            </a:extLst>
          </p:cNvPr>
          <p:cNvSpPr/>
          <p:nvPr/>
        </p:nvSpPr>
        <p:spPr>
          <a:xfrm>
            <a:off x="53638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ounded Rectangle 12">
            <a:extLst>
              <a:ext uri="{FF2B5EF4-FFF2-40B4-BE49-F238E27FC236}">
                <a16:creationId xmlns:a16="http://schemas.microsoft.com/office/drawing/2014/main" id="{2222231F-7DE9-45D3-4FF3-81D6192D483A}"/>
              </a:ext>
            </a:extLst>
          </p:cNvPr>
          <p:cNvSpPr/>
          <p:nvPr/>
        </p:nvSpPr>
        <p:spPr>
          <a:xfrm>
            <a:off x="446124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ounded Rectangle 13">
            <a:extLst>
              <a:ext uri="{FF2B5EF4-FFF2-40B4-BE49-F238E27FC236}">
                <a16:creationId xmlns:a16="http://schemas.microsoft.com/office/drawing/2014/main" id="{E4530463-D550-C6D3-CF73-2F7E5BE98510}"/>
              </a:ext>
            </a:extLst>
          </p:cNvPr>
          <p:cNvSpPr/>
          <p:nvPr/>
        </p:nvSpPr>
        <p:spPr>
          <a:xfrm>
            <a:off x="8386101"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Box 14">
            <a:extLst>
              <a:ext uri="{FF2B5EF4-FFF2-40B4-BE49-F238E27FC236}">
                <a16:creationId xmlns:a16="http://schemas.microsoft.com/office/drawing/2014/main" id="{C967FCAC-E616-D85A-CEA2-FB663B3F5458}"/>
              </a:ext>
            </a:extLst>
          </p:cNvPr>
          <p:cNvSpPr txBox="1"/>
          <p:nvPr/>
        </p:nvSpPr>
        <p:spPr>
          <a:xfrm>
            <a:off x="541241" y="4654602"/>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dirty="0">
                <a:solidFill>
                  <a:schemeClr val="bg1"/>
                </a:solidFill>
              </a:rPr>
              <a:t>i realtid, på samma sätt som </a:t>
            </a:r>
            <a:br>
              <a:rPr lang="sv-SE" sz="1600" dirty="0">
                <a:solidFill>
                  <a:schemeClr val="bg1"/>
                </a:solidFill>
              </a:rPr>
            </a:br>
            <a:r>
              <a:rPr lang="sv-SE" sz="1600" dirty="0">
                <a:solidFill>
                  <a:schemeClr val="bg1"/>
                </a:solidFill>
              </a:rPr>
              <a:t>en kommersiell anläggning</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16" name="TextBox 15">
            <a:extLst>
              <a:ext uri="{FF2B5EF4-FFF2-40B4-BE49-F238E27FC236}">
                <a16:creationId xmlns:a16="http://schemas.microsoft.com/office/drawing/2014/main" id="{3AC7F5F7-07FF-831F-A07E-423346207A01}"/>
              </a:ext>
            </a:extLst>
          </p:cNvPr>
          <p:cNvSpPr txBox="1"/>
          <p:nvPr/>
        </p:nvSpPr>
        <p:spPr>
          <a:xfrm>
            <a:off x="541241" y="3553861"/>
            <a:ext cx="3254841" cy="666914"/>
          </a:xfrm>
          <a:prstGeom prst="rect">
            <a:avLst/>
          </a:prstGeom>
          <a:noFill/>
        </p:spPr>
        <p:txBody>
          <a:bodyPr wrap="square" lIns="0" tIns="0" rIns="0" bIns="0">
            <a:spAutoFit/>
          </a:bodyPr>
          <a:lstStyle/>
          <a:p>
            <a:pPr algn="ctr">
              <a:lnSpc>
                <a:spcPct val="90000"/>
              </a:lnSpc>
            </a:pPr>
            <a:r>
              <a:rPr lang="sv-SE" sz="2400" b="1" dirty="0">
                <a:solidFill>
                  <a:schemeClr val="bg1"/>
                </a:solidFill>
              </a:rPr>
              <a:t>Automatiserat</a:t>
            </a:r>
            <a:br>
              <a:rPr lang="sv-SE" sz="2400" b="1" dirty="0">
                <a:solidFill>
                  <a:schemeClr val="bg1"/>
                </a:solidFill>
              </a:rPr>
            </a:br>
            <a:r>
              <a:rPr lang="sv-SE" sz="2400" b="1" dirty="0">
                <a:solidFill>
                  <a:schemeClr val="bg1"/>
                </a:solidFill>
              </a:rPr>
              <a:t>och integrerat</a:t>
            </a:r>
          </a:p>
        </p:txBody>
      </p:sp>
      <p:sp>
        <p:nvSpPr>
          <p:cNvPr id="17" name="TextBox 16">
            <a:extLst>
              <a:ext uri="{FF2B5EF4-FFF2-40B4-BE49-F238E27FC236}">
                <a16:creationId xmlns:a16="http://schemas.microsoft.com/office/drawing/2014/main" id="{B5C9D89B-EF16-2F84-FF03-3C5398FC6694}"/>
              </a:ext>
            </a:extLst>
          </p:cNvPr>
          <p:cNvSpPr txBox="1"/>
          <p:nvPr/>
        </p:nvSpPr>
        <p:spPr>
          <a:xfrm>
            <a:off x="4466101" y="4654602"/>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dirty="0">
                <a:solidFill>
                  <a:schemeClr val="bg1"/>
                </a:solidFill>
              </a:rPr>
              <a:t>har praktiskt kunnat visats</a:t>
            </a:r>
            <a:br>
              <a:rPr lang="sv-SE" sz="1600" dirty="0">
                <a:solidFill>
                  <a:schemeClr val="bg1"/>
                </a:solidFill>
              </a:rPr>
            </a:br>
            <a:r>
              <a:rPr lang="sv-SE" sz="1600" dirty="0">
                <a:solidFill>
                  <a:schemeClr val="bg1"/>
                </a:solidFill>
              </a:rPr>
              <a:t>på dagens elmarknad (SE1) </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22" name="TextBox 21">
            <a:extLst>
              <a:ext uri="{FF2B5EF4-FFF2-40B4-BE49-F238E27FC236}">
                <a16:creationId xmlns:a16="http://schemas.microsoft.com/office/drawing/2014/main" id="{CF87CB8E-EBE8-CE48-8412-2DCA70D4EDB7}"/>
              </a:ext>
            </a:extLst>
          </p:cNvPr>
          <p:cNvSpPr txBox="1"/>
          <p:nvPr/>
        </p:nvSpPr>
        <p:spPr>
          <a:xfrm>
            <a:off x="4466101" y="3553861"/>
            <a:ext cx="3254841" cy="999313"/>
          </a:xfrm>
          <a:prstGeom prst="rect">
            <a:avLst/>
          </a:prstGeom>
          <a:noFill/>
        </p:spPr>
        <p:txBody>
          <a:bodyPr wrap="square" lIns="0" tIns="0" rIns="0" bIns="0">
            <a:spAutoFit/>
          </a:bodyPr>
          <a:lstStyle/>
          <a:p>
            <a:pPr algn="ctr">
              <a:lnSpc>
                <a:spcPct val="90000"/>
              </a:lnSpc>
            </a:pPr>
            <a:r>
              <a:rPr lang="sv-SE" sz="2400" b="1" dirty="0">
                <a:solidFill>
                  <a:schemeClr val="bg1"/>
                </a:solidFill>
              </a:rPr>
              <a:t>i besparingar </a:t>
            </a:r>
            <a:br>
              <a:rPr lang="sv-SE" sz="2400" b="1" dirty="0">
                <a:solidFill>
                  <a:schemeClr val="bg1"/>
                </a:solidFill>
              </a:rPr>
            </a:br>
            <a:r>
              <a:rPr lang="sv-SE" sz="2400" b="1" dirty="0">
                <a:solidFill>
                  <a:schemeClr val="bg1"/>
                </a:solidFill>
              </a:rPr>
              <a:t>av den rörliga driftskostnaden</a:t>
            </a:r>
          </a:p>
        </p:txBody>
      </p:sp>
      <p:sp>
        <p:nvSpPr>
          <p:cNvPr id="23" name="TextBox 22">
            <a:extLst>
              <a:ext uri="{FF2B5EF4-FFF2-40B4-BE49-F238E27FC236}">
                <a16:creationId xmlns:a16="http://schemas.microsoft.com/office/drawing/2014/main" id="{CE79CB6C-762F-F267-67F4-20C64E64008B}"/>
              </a:ext>
            </a:extLst>
          </p:cNvPr>
          <p:cNvSpPr txBox="1"/>
          <p:nvPr/>
        </p:nvSpPr>
        <p:spPr>
          <a:xfrm>
            <a:off x="8390962" y="4675150"/>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noProof="0" dirty="0">
                <a:solidFill>
                  <a:schemeClr val="bg1"/>
                </a:solidFill>
              </a:rPr>
              <a:t>simulering av framtida </a:t>
            </a:r>
            <a:br>
              <a:rPr lang="sv-SE" sz="1600" noProof="0" dirty="0">
                <a:solidFill>
                  <a:schemeClr val="bg1"/>
                </a:solidFill>
              </a:rPr>
            </a:br>
            <a:r>
              <a:rPr lang="sv-SE" sz="1600" noProof="0" dirty="0">
                <a:solidFill>
                  <a:schemeClr val="bg1"/>
                </a:solidFill>
              </a:rPr>
              <a:t>kommersiell drift </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24" name="TextBox 23">
            <a:extLst>
              <a:ext uri="{FF2B5EF4-FFF2-40B4-BE49-F238E27FC236}">
                <a16:creationId xmlns:a16="http://schemas.microsoft.com/office/drawing/2014/main" id="{E82AD369-8320-6076-04E7-6FBD65150AA6}"/>
              </a:ext>
            </a:extLst>
          </p:cNvPr>
          <p:cNvSpPr txBox="1"/>
          <p:nvPr/>
        </p:nvSpPr>
        <p:spPr>
          <a:xfrm>
            <a:off x="8390962" y="3553861"/>
            <a:ext cx="3254841" cy="999313"/>
          </a:xfrm>
          <a:prstGeom prst="rect">
            <a:avLst/>
          </a:prstGeom>
          <a:noFill/>
        </p:spPr>
        <p:txBody>
          <a:bodyPr wrap="square" lIns="0" tIns="0" rIns="0" bIns="0">
            <a:spAutoFit/>
          </a:bodyPr>
          <a:lstStyle/>
          <a:p>
            <a:pPr algn="ctr">
              <a:lnSpc>
                <a:spcPct val="90000"/>
              </a:lnSpc>
            </a:pPr>
            <a:r>
              <a:rPr lang="sv-SE" sz="2400" b="1" dirty="0">
                <a:solidFill>
                  <a:schemeClr val="bg1"/>
                </a:solidFill>
              </a:rPr>
              <a:t>i besparingar</a:t>
            </a:r>
            <a:br>
              <a:rPr lang="sv-SE" sz="2400" b="1" dirty="0">
                <a:solidFill>
                  <a:schemeClr val="bg1"/>
                </a:solidFill>
              </a:rPr>
            </a:br>
            <a:r>
              <a:rPr lang="sv-SE" sz="2400" b="1" dirty="0">
                <a:solidFill>
                  <a:schemeClr val="bg1"/>
                </a:solidFill>
              </a:rPr>
              <a:t>av den rörliga </a:t>
            </a:r>
            <a:br>
              <a:rPr lang="sv-SE" sz="2400" b="1" dirty="0">
                <a:solidFill>
                  <a:schemeClr val="bg1"/>
                </a:solidFill>
              </a:rPr>
            </a:br>
            <a:r>
              <a:rPr lang="sv-SE" sz="2400" b="1" dirty="0">
                <a:solidFill>
                  <a:schemeClr val="bg1"/>
                </a:solidFill>
              </a:rPr>
              <a:t>driftskostnaden</a:t>
            </a:r>
          </a:p>
        </p:txBody>
      </p:sp>
      <p:pic>
        <p:nvPicPr>
          <p:cNvPr id="33" name="Graphic 32">
            <a:extLst>
              <a:ext uri="{FF2B5EF4-FFF2-40B4-BE49-F238E27FC236}">
                <a16:creationId xmlns:a16="http://schemas.microsoft.com/office/drawing/2014/main" id="{9B60CB05-8A0B-0BB4-A6BB-EA921F02B0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3558" y="2725407"/>
            <a:ext cx="1790207" cy="722505"/>
          </a:xfrm>
          <a:prstGeom prst="rect">
            <a:avLst/>
          </a:prstGeom>
        </p:spPr>
      </p:pic>
      <p:sp>
        <p:nvSpPr>
          <p:cNvPr id="44" name="TextBox 43">
            <a:extLst>
              <a:ext uri="{FF2B5EF4-FFF2-40B4-BE49-F238E27FC236}">
                <a16:creationId xmlns:a16="http://schemas.microsoft.com/office/drawing/2014/main" id="{BB91E632-D4F4-8D0D-BA03-92CCEE51733C}"/>
              </a:ext>
            </a:extLst>
          </p:cNvPr>
          <p:cNvSpPr txBox="1"/>
          <p:nvPr/>
        </p:nvSpPr>
        <p:spPr>
          <a:xfrm>
            <a:off x="4466101" y="2818435"/>
            <a:ext cx="3254841" cy="613309"/>
          </a:xfrm>
          <a:prstGeom prst="rect">
            <a:avLst/>
          </a:prstGeom>
          <a:noFill/>
        </p:spPr>
        <p:txBody>
          <a:bodyPr wrap="square" lIns="0" tIns="0" rIns="0" bIns="0">
            <a:spAutoFit/>
          </a:bodyPr>
          <a:lstStyle/>
          <a:p>
            <a:pPr algn="ctr">
              <a:lnSpc>
                <a:spcPct val="90000"/>
              </a:lnSpc>
            </a:pPr>
            <a:r>
              <a:rPr lang="sv-SE" sz="4400" b="1" dirty="0">
                <a:solidFill>
                  <a:schemeClr val="bg1"/>
                </a:solidFill>
                <a:latin typeface="+mj-lt"/>
              </a:rPr>
              <a:t>26-31</a:t>
            </a:r>
            <a:r>
              <a:rPr lang="sv-SE" sz="2200" b="1" dirty="0">
                <a:solidFill>
                  <a:schemeClr val="bg1"/>
                </a:solidFill>
                <a:latin typeface="+mj-lt"/>
              </a:rPr>
              <a:t> </a:t>
            </a:r>
            <a:r>
              <a:rPr lang="sv-SE" sz="4400" b="1" dirty="0">
                <a:solidFill>
                  <a:schemeClr val="bg1"/>
                </a:solidFill>
                <a:latin typeface="+mj-lt"/>
              </a:rPr>
              <a:t>%</a:t>
            </a:r>
          </a:p>
        </p:txBody>
      </p:sp>
      <p:sp>
        <p:nvSpPr>
          <p:cNvPr id="52" name="TextBox 51">
            <a:extLst>
              <a:ext uri="{FF2B5EF4-FFF2-40B4-BE49-F238E27FC236}">
                <a16:creationId xmlns:a16="http://schemas.microsoft.com/office/drawing/2014/main" id="{7BB0A3D0-6E86-012D-1CF6-8076284E1A06}"/>
              </a:ext>
            </a:extLst>
          </p:cNvPr>
          <p:cNvSpPr txBox="1"/>
          <p:nvPr/>
        </p:nvSpPr>
        <p:spPr>
          <a:xfrm>
            <a:off x="8390962" y="2818435"/>
            <a:ext cx="3254841" cy="613309"/>
          </a:xfrm>
          <a:prstGeom prst="rect">
            <a:avLst/>
          </a:prstGeom>
          <a:noFill/>
        </p:spPr>
        <p:txBody>
          <a:bodyPr wrap="square" lIns="0" tIns="0" rIns="0" bIns="0">
            <a:spAutoFit/>
          </a:bodyPr>
          <a:lstStyle/>
          <a:p>
            <a:pPr algn="ctr">
              <a:lnSpc>
                <a:spcPct val="90000"/>
              </a:lnSpc>
            </a:pPr>
            <a:r>
              <a:rPr lang="sv-SE" sz="4400" b="1" dirty="0">
                <a:solidFill>
                  <a:schemeClr val="bg1"/>
                </a:solidFill>
                <a:latin typeface="+mj-lt"/>
              </a:rPr>
              <a:t>25-40</a:t>
            </a:r>
            <a:r>
              <a:rPr lang="sv-SE" sz="2200" b="1" dirty="0">
                <a:solidFill>
                  <a:schemeClr val="bg1"/>
                </a:solidFill>
                <a:latin typeface="+mj-lt"/>
              </a:rPr>
              <a:t> </a:t>
            </a:r>
            <a:r>
              <a:rPr lang="sv-SE" sz="4400" b="1" dirty="0">
                <a:solidFill>
                  <a:schemeClr val="bg1"/>
                </a:solidFill>
                <a:latin typeface="+mj-lt"/>
              </a:rPr>
              <a:t>%</a:t>
            </a:r>
          </a:p>
        </p:txBody>
      </p:sp>
      <p:sp>
        <p:nvSpPr>
          <p:cNvPr id="5" name="!!Mask">
            <a:extLst>
              <a:ext uri="{FF2B5EF4-FFF2-40B4-BE49-F238E27FC236}">
                <a16:creationId xmlns:a16="http://schemas.microsoft.com/office/drawing/2014/main" id="{CF5D3856-01DD-4CF8-C9E3-B390606BBA86}"/>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343927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 grpId="0" animBg="1"/>
      <p:bldP spid="13" grpId="0" animBg="1"/>
      <p:bldP spid="14" grpId="0" animBg="1"/>
      <p:bldP spid="15" grpId="0"/>
      <p:bldP spid="16" grpId="0"/>
      <p:bldP spid="17" grpId="0"/>
      <p:bldP spid="22" grpId="0"/>
      <p:bldP spid="23" grpId="0"/>
      <p:bldP spid="24" grpId="0"/>
      <p:bldP spid="44" grpId="0"/>
      <p:bldP spid="52"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F1FC92F-063A-BD49-C699-F99C97F62B3E}"/>
            </a:ext>
          </a:extLst>
        </p:cNvPr>
        <p:cNvGrpSpPr/>
        <p:nvPr/>
      </p:nvGrpSpPr>
      <p:grpSpPr>
        <a:xfrm>
          <a:off x="0" y="0"/>
          <a:ext cx="0" cy="0"/>
          <a:chOff x="0" y="0"/>
          <a:chExt cx="0" cy="0"/>
        </a:xfrm>
      </p:grpSpPr>
      <p:pic>
        <p:nvPicPr>
          <p:cNvPr id="3" name="!!SäkerhetBG" descr="A metal pole with trees in the background&#10;&#10;AI-generated content may be incorrect.">
            <a:extLst>
              <a:ext uri="{FF2B5EF4-FFF2-40B4-BE49-F238E27FC236}">
                <a16:creationId xmlns:a16="http://schemas.microsoft.com/office/drawing/2014/main" id="{E2147BF9-064F-3E7D-2E6F-76AA95A49FC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5" t="-1" r="-1" b="-1"/>
          <a:stretch/>
        </p:blipFill>
        <p:spPr>
          <a:xfrm>
            <a:off x="-3894221" y="0"/>
            <a:ext cx="16086221" cy="6858000"/>
          </a:xfrm>
          <a:prstGeom prst="rect">
            <a:avLst/>
          </a:prstGeom>
        </p:spPr>
      </p:pic>
      <p:grpSp>
        <p:nvGrpSpPr>
          <p:cNvPr id="257" name="!!Hybrit_logo">
            <a:extLst>
              <a:ext uri="{FF2B5EF4-FFF2-40B4-BE49-F238E27FC236}">
                <a16:creationId xmlns:a16="http://schemas.microsoft.com/office/drawing/2014/main" id="{FE562259-6C06-D852-4F5F-0DD63B6313C9}"/>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C4E04478-068C-AC91-B608-216B65B882D0}"/>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C97D3D93-62BA-AC73-F163-318770170F6A}"/>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40007343-A8EB-AD92-E659-E3D2F56277C6}"/>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81F6BEC8-32E1-7B93-2A7B-A7812D74BAC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2E2C2739-C3D5-1626-7CC0-CD224CB6E191}"/>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6" name="!!TextBox 5">
            <a:extLst>
              <a:ext uri="{FF2B5EF4-FFF2-40B4-BE49-F238E27FC236}">
                <a16:creationId xmlns:a16="http://schemas.microsoft.com/office/drawing/2014/main" id="{6671602A-5C68-81A3-3B37-DE691DBDDC6D}"/>
              </a:ext>
            </a:extLst>
          </p:cNvPr>
          <p:cNvSpPr txBox="1"/>
          <p:nvPr/>
        </p:nvSpPr>
        <p:spPr>
          <a:xfrm>
            <a:off x="546101" y="3153775"/>
            <a:ext cx="5405438" cy="830997"/>
          </a:xfrm>
          <a:prstGeom prst="rect">
            <a:avLst/>
          </a:prstGeom>
          <a:noFill/>
        </p:spPr>
        <p:txBody>
          <a:bodyPr wrap="square" lIns="0" tIns="0" rIns="0" bIns="0" rtlCol="0">
            <a:spAutoFit/>
          </a:bodyPr>
          <a:lstStyle/>
          <a:p>
            <a:pPr marL="285750" lvl="0" indent="-285750">
              <a:buBlip>
                <a:blip r:embed="rId4">
                  <a:extLst>
                    <a:ext uri="{96DAC541-7B7A-43D3-8B79-37D633B846F1}">
                      <asvg:svgBlip xmlns:asvg="http://schemas.microsoft.com/office/drawing/2016/SVG/main" r:embed="rId5"/>
                    </a:ext>
                  </a:extLst>
                </a:blip>
              </a:buBlip>
              <a:defRPr/>
            </a:pPr>
            <a:r>
              <a:rPr lang="sv-SE" dirty="0">
                <a:solidFill>
                  <a:srgbClr val="FFFFFF"/>
                </a:solidFill>
              </a:rPr>
              <a:t>En viktig aspekt vid vätgaslagring är</a:t>
            </a:r>
            <a:br>
              <a:rPr lang="sv-SE" dirty="0">
                <a:solidFill>
                  <a:srgbClr val="FFFFFF"/>
                </a:solidFill>
              </a:rPr>
            </a:br>
            <a:r>
              <a:rPr lang="sv-SE" dirty="0">
                <a:solidFill>
                  <a:srgbClr val="FFFFFF"/>
                </a:solidFill>
              </a:rPr>
              <a:t>säkerheten, eftersom vätgas i kontakt </a:t>
            </a:r>
            <a:br>
              <a:rPr lang="sv-SE" dirty="0">
                <a:solidFill>
                  <a:srgbClr val="FFFFFF"/>
                </a:solidFill>
              </a:rPr>
            </a:br>
            <a:r>
              <a:rPr lang="sv-SE" dirty="0">
                <a:solidFill>
                  <a:srgbClr val="FFFFFF"/>
                </a:solidFill>
              </a:rPr>
              <a:t>med syrgas ger en lättantändlig gas</a:t>
            </a:r>
            <a:endParaRPr kumimoji="0" lang="sv-SE" sz="18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4" name="!!Title lagring">
            <a:extLst>
              <a:ext uri="{FF2B5EF4-FFF2-40B4-BE49-F238E27FC236}">
                <a16:creationId xmlns:a16="http://schemas.microsoft.com/office/drawing/2014/main" id="{D0422997-254F-3ECC-F254-55AF28E93CC6}"/>
              </a:ext>
            </a:extLst>
          </p:cNvPr>
          <p:cNvSpPr>
            <a:spLocks noGrp="1"/>
          </p:cNvSpPr>
          <p:nvPr>
            <p:ph type="title"/>
          </p:nvPr>
        </p:nvSpPr>
        <p:spPr>
          <a:xfrm>
            <a:off x="546100" y="799200"/>
            <a:ext cx="10080625" cy="2003500"/>
          </a:xfrm>
        </p:spPr>
        <p:txBody>
          <a:bodyPr anchor="b"/>
          <a:lstStyle/>
          <a:p>
            <a:r>
              <a:rPr lang="sv-SE" sz="5000" dirty="0">
                <a:solidFill>
                  <a:schemeClr val="bg1"/>
                </a:solidFill>
              </a:rPr>
              <a:t>Säkerhet </a:t>
            </a:r>
            <a:br>
              <a:rPr lang="sv-SE" sz="5000" dirty="0">
                <a:solidFill>
                  <a:schemeClr val="bg1"/>
                </a:solidFill>
              </a:rPr>
            </a:br>
            <a:r>
              <a:rPr lang="sv-SE" sz="5000" dirty="0">
                <a:solidFill>
                  <a:schemeClr val="bg1"/>
                </a:solidFill>
              </a:rPr>
              <a:t>vid vätgaslagring</a:t>
            </a:r>
          </a:p>
        </p:txBody>
      </p:sp>
      <p:sp>
        <p:nvSpPr>
          <p:cNvPr id="2" name="!!Mask">
            <a:extLst>
              <a:ext uri="{FF2B5EF4-FFF2-40B4-BE49-F238E27FC236}">
                <a16:creationId xmlns:a16="http://schemas.microsoft.com/office/drawing/2014/main" id="{79909104-9BDC-55D6-17ED-74AB2132CA60}"/>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09753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78479941-3B91-3AA0-21D3-86B119152E52}"/>
            </a:ext>
          </a:extLst>
        </p:cNvPr>
        <p:cNvGrpSpPr/>
        <p:nvPr/>
      </p:nvGrpSpPr>
      <p:grpSpPr>
        <a:xfrm>
          <a:off x="0" y="0"/>
          <a:ext cx="0" cy="0"/>
          <a:chOff x="0" y="0"/>
          <a:chExt cx="0" cy="0"/>
        </a:xfrm>
      </p:grpSpPr>
      <p:pic>
        <p:nvPicPr>
          <p:cNvPr id="10" name="!!SäkerhetBG" descr="A metal pole with trees in the background&#10;&#10;AI-generated content may be incorrect.">
            <a:extLst>
              <a:ext uri="{FF2B5EF4-FFF2-40B4-BE49-F238E27FC236}">
                <a16:creationId xmlns:a16="http://schemas.microsoft.com/office/drawing/2014/main" id="{AE525E04-5DF7-C7CF-30DE-A572BD984BD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5" t="-1" r="-1" b="-1"/>
          <a:stretch/>
        </p:blipFill>
        <p:spPr>
          <a:xfrm>
            <a:off x="0" y="-182880"/>
            <a:ext cx="16944153" cy="7223760"/>
          </a:xfrm>
          <a:prstGeom prst="rect">
            <a:avLst/>
          </a:prstGeom>
        </p:spPr>
      </p:pic>
      <p:sp>
        <p:nvSpPr>
          <p:cNvPr id="13" name="Rounded Rectangle 12">
            <a:extLst>
              <a:ext uri="{FF2B5EF4-FFF2-40B4-BE49-F238E27FC236}">
                <a16:creationId xmlns:a16="http://schemas.microsoft.com/office/drawing/2014/main" id="{E673CC01-F518-A5CE-4C13-FACDF90FBD2A}"/>
              </a:ext>
            </a:extLst>
          </p:cNvPr>
          <p:cNvSpPr/>
          <p:nvPr/>
        </p:nvSpPr>
        <p:spPr>
          <a:xfrm>
            <a:off x="53638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ounded Rectangle 13">
            <a:extLst>
              <a:ext uri="{FF2B5EF4-FFF2-40B4-BE49-F238E27FC236}">
                <a16:creationId xmlns:a16="http://schemas.microsoft.com/office/drawing/2014/main" id="{70A2A2F5-90A6-1AFC-0114-9E48931229FF}"/>
              </a:ext>
            </a:extLst>
          </p:cNvPr>
          <p:cNvSpPr/>
          <p:nvPr/>
        </p:nvSpPr>
        <p:spPr>
          <a:xfrm>
            <a:off x="4461240"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ounded Rectangle 14">
            <a:extLst>
              <a:ext uri="{FF2B5EF4-FFF2-40B4-BE49-F238E27FC236}">
                <a16:creationId xmlns:a16="http://schemas.microsoft.com/office/drawing/2014/main" id="{9DC04A5D-7116-4803-5765-D5244ACE9398}"/>
              </a:ext>
            </a:extLst>
          </p:cNvPr>
          <p:cNvSpPr/>
          <p:nvPr/>
        </p:nvSpPr>
        <p:spPr>
          <a:xfrm>
            <a:off x="8386101" y="2459038"/>
            <a:ext cx="3264562"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257" name="!!Hybrit_logo">
            <a:extLst>
              <a:ext uri="{FF2B5EF4-FFF2-40B4-BE49-F238E27FC236}">
                <a16:creationId xmlns:a16="http://schemas.microsoft.com/office/drawing/2014/main" id="{AC6DFD32-30DD-95C1-BA0C-D34F4A476949}"/>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88A66586-5395-9FF6-E8F7-7F73029A65B8}"/>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6E55566F-310D-0A57-5508-40F2293B92A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81B9E10F-6DDC-5E57-9915-AA9B3B4BA287}"/>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7D21489E-379D-7611-AB92-0EE1A7E60F71}"/>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25AB0CF0-5E55-2DE1-916E-4B8CDD0C8292}"/>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2" name="Group 1">
            <a:extLst>
              <a:ext uri="{FF2B5EF4-FFF2-40B4-BE49-F238E27FC236}">
                <a16:creationId xmlns:a16="http://schemas.microsoft.com/office/drawing/2014/main" id="{A695710D-2C32-1FA6-A1D5-82EB55C205C4}"/>
              </a:ext>
            </a:extLst>
          </p:cNvPr>
          <p:cNvGrpSpPr/>
          <p:nvPr/>
        </p:nvGrpSpPr>
        <p:grpSpPr>
          <a:xfrm>
            <a:off x="850761" y="2741768"/>
            <a:ext cx="2635800" cy="2100248"/>
            <a:chOff x="850761" y="2741768"/>
            <a:chExt cx="2635800" cy="2100248"/>
          </a:xfrm>
        </p:grpSpPr>
        <p:sp>
          <p:nvSpPr>
            <p:cNvPr id="16" name="TextBox 15">
              <a:extLst>
                <a:ext uri="{FF2B5EF4-FFF2-40B4-BE49-F238E27FC236}">
                  <a16:creationId xmlns:a16="http://schemas.microsoft.com/office/drawing/2014/main" id="{311866C1-2033-B48B-1FFF-C2D3639E9487}"/>
                </a:ext>
              </a:extLst>
            </p:cNvPr>
            <p:cNvSpPr txBox="1"/>
            <p:nvPr/>
          </p:nvSpPr>
          <p:spPr>
            <a:xfrm>
              <a:off x="850761" y="3236448"/>
              <a:ext cx="2635800" cy="16055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400"/>
                </a:spcAft>
                <a:buClrTx/>
                <a:buSzTx/>
                <a:buFontTx/>
                <a:buNone/>
                <a:tabLst/>
                <a:defRPr/>
              </a:pPr>
              <a: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t>Ingen antändning </a:t>
              </a:r>
              <a:b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t>eller explosioner</a:t>
              </a:r>
              <a:endPar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3400"/>
                </a:spcAft>
                <a:buClrTx/>
                <a:buSzTx/>
                <a:buFontTx/>
                <a:buNone/>
                <a:tabLst/>
                <a:defRPr/>
              </a:pPr>
              <a:r>
                <a:rPr lang="sv-SE" sz="1600" dirty="0">
                  <a:solidFill>
                    <a:srgbClr val="FFFFFF"/>
                  </a:solidFill>
                  <a:latin typeface="Aptos" panose="02110004020202020204"/>
                </a:rPr>
                <a:t>K</a:t>
              </a: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an ske inuti ett bergrum som </a:t>
              </a:r>
              <a:b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är fyllt med 100 % vätgas   </a:t>
              </a:r>
            </a:p>
          </p:txBody>
        </p:sp>
        <p:sp>
          <p:nvSpPr>
            <p:cNvPr id="22" name="Freeform 21">
              <a:extLst>
                <a:ext uri="{FF2B5EF4-FFF2-40B4-BE49-F238E27FC236}">
                  <a16:creationId xmlns:a16="http://schemas.microsoft.com/office/drawing/2014/main" id="{645580CD-AEA3-D90D-3404-D634F4E6BA3D}"/>
                </a:ext>
              </a:extLst>
            </p:cNvPr>
            <p:cNvSpPr/>
            <p:nvPr/>
          </p:nvSpPr>
          <p:spPr>
            <a:xfrm>
              <a:off x="2024014"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5" name="Group 4">
            <a:extLst>
              <a:ext uri="{FF2B5EF4-FFF2-40B4-BE49-F238E27FC236}">
                <a16:creationId xmlns:a16="http://schemas.microsoft.com/office/drawing/2014/main" id="{F0577903-896A-2989-FA5A-2B20EA840418}"/>
              </a:ext>
            </a:extLst>
          </p:cNvPr>
          <p:cNvGrpSpPr/>
          <p:nvPr/>
        </p:nvGrpSpPr>
        <p:grpSpPr>
          <a:xfrm>
            <a:off x="4775618" y="2741768"/>
            <a:ext cx="2635806" cy="2100248"/>
            <a:chOff x="4775618" y="2741768"/>
            <a:chExt cx="2635806" cy="2100248"/>
          </a:xfrm>
        </p:grpSpPr>
        <p:sp>
          <p:nvSpPr>
            <p:cNvPr id="20" name="TextBox 19">
              <a:extLst>
                <a:ext uri="{FF2B5EF4-FFF2-40B4-BE49-F238E27FC236}">
                  <a16:creationId xmlns:a16="http://schemas.microsoft.com/office/drawing/2014/main" id="{72BDDBC6-093C-44EE-C1B7-957CDDDAC116}"/>
                </a:ext>
              </a:extLst>
            </p:cNvPr>
            <p:cNvSpPr txBox="1"/>
            <p:nvPr/>
          </p:nvSpPr>
          <p:spPr>
            <a:xfrm>
              <a:off x="4775618" y="3236448"/>
              <a:ext cx="2635806" cy="16055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400"/>
                </a:spcAft>
                <a:buClrTx/>
                <a:buSzTx/>
                <a:buFontTx/>
                <a:buNone/>
                <a:tabLst/>
                <a:defRPr/>
              </a:pPr>
              <a: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t>Djupläge </a:t>
              </a:r>
              <a:b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t>och bergmassa</a:t>
              </a:r>
              <a:endPar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3400"/>
                </a:spcAft>
                <a:buClrTx/>
                <a:buSzTx/>
                <a:buFontTx/>
                <a:buNone/>
                <a:tabLst/>
                <a:defRPr/>
              </a:pP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Håller emot den </a:t>
              </a:r>
              <a:b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uppåtriktade kraften</a:t>
              </a:r>
            </a:p>
          </p:txBody>
        </p:sp>
        <p:sp>
          <p:nvSpPr>
            <p:cNvPr id="23" name="Freeform 22">
              <a:extLst>
                <a:ext uri="{FF2B5EF4-FFF2-40B4-BE49-F238E27FC236}">
                  <a16:creationId xmlns:a16="http://schemas.microsoft.com/office/drawing/2014/main" id="{693EFD5F-C308-BE9B-01B1-AA0A52E463D8}"/>
                </a:ext>
              </a:extLst>
            </p:cNvPr>
            <p:cNvSpPr/>
            <p:nvPr/>
          </p:nvSpPr>
          <p:spPr>
            <a:xfrm>
              <a:off x="5948874"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11" name="Group 10">
            <a:extLst>
              <a:ext uri="{FF2B5EF4-FFF2-40B4-BE49-F238E27FC236}">
                <a16:creationId xmlns:a16="http://schemas.microsoft.com/office/drawing/2014/main" id="{CDD8B547-E83D-B8D9-260D-F4EFB7FD2BC6}"/>
              </a:ext>
            </a:extLst>
          </p:cNvPr>
          <p:cNvGrpSpPr/>
          <p:nvPr/>
        </p:nvGrpSpPr>
        <p:grpSpPr>
          <a:xfrm>
            <a:off x="8530565" y="2741768"/>
            <a:ext cx="2975636" cy="2100248"/>
            <a:chOff x="8530565" y="2741768"/>
            <a:chExt cx="2975636" cy="2100248"/>
          </a:xfrm>
        </p:grpSpPr>
        <p:sp>
          <p:nvSpPr>
            <p:cNvPr id="21" name="TextBox 20">
              <a:extLst>
                <a:ext uri="{FF2B5EF4-FFF2-40B4-BE49-F238E27FC236}">
                  <a16:creationId xmlns:a16="http://schemas.microsoft.com/office/drawing/2014/main" id="{9E476183-3630-774C-9F8F-5C7FFD4E49B0}"/>
                </a:ext>
              </a:extLst>
            </p:cNvPr>
            <p:cNvSpPr txBox="1"/>
            <p:nvPr/>
          </p:nvSpPr>
          <p:spPr>
            <a:xfrm>
              <a:off x="8530565" y="3236448"/>
              <a:ext cx="2975636" cy="16055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400"/>
                </a:spcAft>
                <a:buClrTx/>
                <a:buSzTx/>
                <a:buFontTx/>
                <a:buNone/>
                <a:tabLst/>
                <a:defRPr/>
              </a:pPr>
              <a:r>
                <a:rPr kumimoji="0" lang="sv-SE" sz="2200" b="1" i="0" u="none" strike="noStrike" kern="1200" cap="none" spc="0" normalizeH="0" baseline="0" noProof="0" dirty="0">
                  <a:ln>
                    <a:noFill/>
                  </a:ln>
                  <a:solidFill>
                    <a:srgbClr val="FFFFFF"/>
                  </a:solidFill>
                  <a:effectLst/>
                  <a:uLnTx/>
                  <a:uFillTx/>
                  <a:latin typeface="Aptos" panose="02110004020202020204"/>
                  <a:ea typeface="+mn-ea"/>
                  <a:cs typeface="+mn-cs"/>
                </a:rPr>
                <a:t>Materialval och kvalitetskontroll</a:t>
              </a:r>
              <a:endPar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3400"/>
                </a:spcAft>
                <a:buClrTx/>
                <a:buSzTx/>
                <a:buFontTx/>
                <a:buNone/>
                <a:tabLst/>
                <a:defRPr/>
              </a:pPr>
              <a:r>
                <a:rPr lang="sv-SE" sz="1600" dirty="0">
                  <a:solidFill>
                    <a:srgbClr val="FFFFFF"/>
                  </a:solidFill>
                  <a:latin typeface="Aptos" panose="02110004020202020204"/>
                </a:rPr>
                <a:t>V</a:t>
              </a:r>
              <a:r>
                <a:rPr kumimoji="0" lang="sv-SE" sz="1600" b="0" i="0" u="none" strike="noStrike" kern="1200" cap="none" spc="0" normalizeH="0" baseline="0" noProof="0" dirty="0" err="1">
                  <a:ln>
                    <a:noFill/>
                  </a:ln>
                  <a:solidFill>
                    <a:srgbClr val="FFFFFF"/>
                  </a:solidFill>
                  <a:effectLst/>
                  <a:uLnTx/>
                  <a:uFillTx/>
                  <a:latin typeface="Aptos" panose="02110004020202020204"/>
                  <a:ea typeface="+mn-ea"/>
                  <a:cs typeface="+mn-cs"/>
                </a:rPr>
                <a:t>iktiga</a:t>
              </a: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 aspekter för att förhindra svagheter i konstruktionen</a:t>
              </a:r>
              <a:endParaRPr kumimoji="0" lang="sv-SE" sz="1600" b="0" i="0" u="none" strike="noStrike" kern="1200" cap="none" spc="0" normalizeH="0" baseline="0" noProof="0" dirty="0">
                <a:ln>
                  <a:noFill/>
                </a:ln>
                <a:solidFill>
                  <a:srgbClr val="FFFFFF"/>
                </a:solidFill>
                <a:effectLst/>
                <a:uLnTx/>
                <a:uFillTx/>
              </a:endParaRPr>
            </a:p>
          </p:txBody>
        </p:sp>
        <p:sp>
          <p:nvSpPr>
            <p:cNvPr id="24" name="Freeform 23">
              <a:extLst>
                <a:ext uri="{FF2B5EF4-FFF2-40B4-BE49-F238E27FC236}">
                  <a16:creationId xmlns:a16="http://schemas.microsoft.com/office/drawing/2014/main" id="{2D40541F-AA58-4231-1064-6B40F06458B2}"/>
                </a:ext>
              </a:extLst>
            </p:cNvPr>
            <p:cNvSpPr/>
            <p:nvPr/>
          </p:nvSpPr>
          <p:spPr>
            <a:xfrm>
              <a:off x="9873735" y="274176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cxnSp>
        <p:nvCxnSpPr>
          <p:cNvPr id="25" name="Straight Connector 24">
            <a:extLst>
              <a:ext uri="{FF2B5EF4-FFF2-40B4-BE49-F238E27FC236}">
                <a16:creationId xmlns:a16="http://schemas.microsoft.com/office/drawing/2014/main" id="{24F4C18F-247D-B949-8B16-3C970DA6A18B}"/>
              </a:ext>
            </a:extLst>
          </p:cNvPr>
          <p:cNvCxnSpPr/>
          <p:nvPr/>
        </p:nvCxnSpPr>
        <p:spPr>
          <a:xfrm>
            <a:off x="1390739"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1E66943-7E28-75A7-7B8E-3C4A941BAF71}"/>
              </a:ext>
            </a:extLst>
          </p:cNvPr>
          <p:cNvCxnSpPr/>
          <p:nvPr/>
        </p:nvCxnSpPr>
        <p:spPr>
          <a:xfrm>
            <a:off x="5315599"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19DFB04-27CB-7330-B3D3-9EC1F59E1D06}"/>
              </a:ext>
            </a:extLst>
          </p:cNvPr>
          <p:cNvCxnSpPr/>
          <p:nvPr/>
        </p:nvCxnSpPr>
        <p:spPr>
          <a:xfrm>
            <a:off x="9240460" y="4107171"/>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2E025BA6-23A8-A94E-5119-150353891B2F}"/>
              </a:ext>
            </a:extLst>
          </p:cNvPr>
          <p:cNvSpPr>
            <a:spLocks noGrp="1"/>
          </p:cNvSpPr>
          <p:nvPr>
            <p:ph type="title"/>
          </p:nvPr>
        </p:nvSpPr>
        <p:spPr/>
        <p:txBody>
          <a:bodyPr/>
          <a:lstStyle/>
          <a:p>
            <a:r>
              <a:rPr lang="sv-SE" dirty="0">
                <a:solidFill>
                  <a:schemeClr val="bg1"/>
                </a:solidFill>
              </a:rPr>
              <a:t>Lagra vätgas i bergrum </a:t>
            </a:r>
          </a:p>
        </p:txBody>
      </p:sp>
      <p:sp>
        <p:nvSpPr>
          <p:cNvPr id="8" name="!!Mask">
            <a:extLst>
              <a:ext uri="{FF2B5EF4-FFF2-40B4-BE49-F238E27FC236}">
                <a16:creationId xmlns:a16="http://schemas.microsoft.com/office/drawing/2014/main" id="{F13915FA-522A-050C-9987-9B399C58BD81}"/>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015146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7" presetClass="entr" presetSubtype="10" fill="hold" nodeType="withEffect">
                                  <p:stCondLst>
                                    <p:cond delay="200"/>
                                  </p:stCondLst>
                                  <p:childTnLst>
                                    <p:set>
                                      <p:cBhvr>
                                        <p:cTn id="12" dur="1" fill="hold">
                                          <p:stCondLst>
                                            <p:cond delay="0"/>
                                          </p:stCondLst>
                                        </p:cTn>
                                        <p:tgtEl>
                                          <p:spTgt spid="25"/>
                                        </p:tgtEl>
                                        <p:attrNameLst>
                                          <p:attrName>style.visibility</p:attrName>
                                        </p:attrNameLst>
                                      </p:cBhvr>
                                      <p:to>
                                        <p:strVal val="visible"/>
                                      </p:to>
                                    </p:set>
                                    <p:anim calcmode="lin" valueType="num">
                                      <p:cBhvr>
                                        <p:cTn id="13" dur="300" fill="hold"/>
                                        <p:tgtEl>
                                          <p:spTgt spid="25"/>
                                        </p:tgtEl>
                                        <p:attrNameLst>
                                          <p:attrName>ppt_w</p:attrName>
                                        </p:attrNameLst>
                                      </p:cBhvr>
                                      <p:tavLst>
                                        <p:tav tm="0">
                                          <p:val>
                                            <p:fltVal val="0"/>
                                          </p:val>
                                        </p:tav>
                                        <p:tav tm="100000">
                                          <p:val>
                                            <p:strVal val="#ppt_w"/>
                                          </p:val>
                                        </p:tav>
                                      </p:tavLst>
                                    </p:anim>
                                    <p:anim calcmode="lin" valueType="num">
                                      <p:cBhvr>
                                        <p:cTn id="14" dur="300" fill="hold"/>
                                        <p:tgtEl>
                                          <p:spTgt spid="25"/>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7" presetClass="entr" presetSubtype="10" fill="hold" nodeType="withEffect">
                                  <p:stCondLst>
                                    <p:cond delay="200"/>
                                  </p:stCondLst>
                                  <p:childTnLst>
                                    <p:set>
                                      <p:cBhvr>
                                        <p:cTn id="24" dur="1" fill="hold">
                                          <p:stCondLst>
                                            <p:cond delay="0"/>
                                          </p:stCondLst>
                                        </p:cTn>
                                        <p:tgtEl>
                                          <p:spTgt spid="26"/>
                                        </p:tgtEl>
                                        <p:attrNameLst>
                                          <p:attrName>style.visibility</p:attrName>
                                        </p:attrNameLst>
                                      </p:cBhvr>
                                      <p:to>
                                        <p:strVal val="visible"/>
                                      </p:to>
                                    </p:set>
                                    <p:anim calcmode="lin" valueType="num">
                                      <p:cBhvr>
                                        <p:cTn id="25" dur="300" fill="hold"/>
                                        <p:tgtEl>
                                          <p:spTgt spid="26"/>
                                        </p:tgtEl>
                                        <p:attrNameLst>
                                          <p:attrName>ppt_w</p:attrName>
                                        </p:attrNameLst>
                                      </p:cBhvr>
                                      <p:tavLst>
                                        <p:tav tm="0">
                                          <p:val>
                                            <p:fltVal val="0"/>
                                          </p:val>
                                        </p:tav>
                                        <p:tav tm="100000">
                                          <p:val>
                                            <p:strVal val="#ppt_w"/>
                                          </p:val>
                                        </p:tav>
                                      </p:tavLst>
                                    </p:anim>
                                    <p:anim calcmode="lin" valueType="num">
                                      <p:cBhvr>
                                        <p:cTn id="26" dur="300" fill="hold"/>
                                        <p:tgtEl>
                                          <p:spTgt spid="26"/>
                                        </p:tgtEl>
                                        <p:attrNameLst>
                                          <p:attrName>ppt_h</p:attrName>
                                        </p:attrNameLst>
                                      </p:cBhvr>
                                      <p:tavLst>
                                        <p:tav tm="0">
                                          <p:val>
                                            <p:strVal val="#ppt_h"/>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7" presetClass="entr" presetSubtype="10" fill="hold" nodeType="withEffect">
                                  <p:stCondLst>
                                    <p:cond delay="200"/>
                                  </p:stCondLst>
                                  <p:childTnLst>
                                    <p:set>
                                      <p:cBhvr>
                                        <p:cTn id="36" dur="1" fill="hold">
                                          <p:stCondLst>
                                            <p:cond delay="0"/>
                                          </p:stCondLst>
                                        </p:cTn>
                                        <p:tgtEl>
                                          <p:spTgt spid="27"/>
                                        </p:tgtEl>
                                        <p:attrNameLst>
                                          <p:attrName>style.visibility</p:attrName>
                                        </p:attrNameLst>
                                      </p:cBhvr>
                                      <p:to>
                                        <p:strVal val="visible"/>
                                      </p:to>
                                    </p:set>
                                    <p:anim calcmode="lin" valueType="num">
                                      <p:cBhvr>
                                        <p:cTn id="37" dur="300" fill="hold"/>
                                        <p:tgtEl>
                                          <p:spTgt spid="27"/>
                                        </p:tgtEl>
                                        <p:attrNameLst>
                                          <p:attrName>ppt_w</p:attrName>
                                        </p:attrNameLst>
                                      </p:cBhvr>
                                      <p:tavLst>
                                        <p:tav tm="0">
                                          <p:val>
                                            <p:fltVal val="0"/>
                                          </p:val>
                                        </p:tav>
                                        <p:tav tm="100000">
                                          <p:val>
                                            <p:strVal val="#ppt_w"/>
                                          </p:val>
                                        </p:tav>
                                      </p:tavLst>
                                    </p:anim>
                                    <p:anim calcmode="lin" valueType="num">
                                      <p:cBhvr>
                                        <p:cTn id="38" dur="300" fill="hold"/>
                                        <p:tgtEl>
                                          <p:spTgt spid="2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B5D45F9F-B767-9202-B1E8-94A8A33A1B18}"/>
            </a:ext>
          </a:extLst>
        </p:cNvPr>
        <p:cNvGrpSpPr/>
        <p:nvPr/>
      </p:nvGrpSpPr>
      <p:grpSpPr>
        <a:xfrm>
          <a:off x="0" y="0"/>
          <a:ext cx="0" cy="0"/>
          <a:chOff x="0" y="0"/>
          <a:chExt cx="0" cy="0"/>
        </a:xfrm>
      </p:grpSpPr>
      <p:pic>
        <p:nvPicPr>
          <p:cNvPr id="10" name="!!SäkerhetBG" descr="A metal pole with trees in the background&#10;&#10;AI-generated content may be incorrect.">
            <a:extLst>
              <a:ext uri="{FF2B5EF4-FFF2-40B4-BE49-F238E27FC236}">
                <a16:creationId xmlns:a16="http://schemas.microsoft.com/office/drawing/2014/main" id="{F1B4DF74-0251-BCFD-9347-4400455485E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5" t="-1" r="-1" b="-1"/>
          <a:stretch/>
        </p:blipFill>
        <p:spPr>
          <a:xfrm>
            <a:off x="0" y="-182880"/>
            <a:ext cx="16944153" cy="7223760"/>
          </a:xfrm>
          <a:prstGeom prst="rect">
            <a:avLst/>
          </a:prstGeom>
        </p:spPr>
      </p:pic>
      <p:sp>
        <p:nvSpPr>
          <p:cNvPr id="22" name="Freeform 21">
            <a:extLst>
              <a:ext uri="{FF2B5EF4-FFF2-40B4-BE49-F238E27FC236}">
                <a16:creationId xmlns:a16="http://schemas.microsoft.com/office/drawing/2014/main" id="{AA0DCB81-BB52-3452-13E2-502964FB9119}"/>
              </a:ext>
            </a:extLst>
          </p:cNvPr>
          <p:cNvSpPr/>
          <p:nvPr/>
        </p:nvSpPr>
        <p:spPr>
          <a:xfrm rot="10800000">
            <a:off x="-4056379" y="0"/>
            <a:ext cx="18555069" cy="6858001"/>
          </a:xfrm>
          <a:custGeom>
            <a:avLst/>
            <a:gdLst>
              <a:gd name="connsiteX0" fmla="*/ 18555069 w 18555069"/>
              <a:gd name="connsiteY0" fmla="*/ 6858001 h 6858001"/>
              <a:gd name="connsiteX1" fmla="*/ 6279071 w 18555069"/>
              <a:gd name="connsiteY1" fmla="*/ 6858001 h 6858001"/>
              <a:gd name="connsiteX2" fmla="*/ 5928883 w 18555069"/>
              <a:gd name="connsiteY2" fmla="*/ 6858001 h 6858001"/>
              <a:gd name="connsiteX3" fmla="*/ 1274000 w 18555069"/>
              <a:gd name="connsiteY3" fmla="*/ 6858001 h 6858001"/>
              <a:gd name="connsiteX4" fmla="*/ 76009 w 18555069"/>
              <a:gd name="connsiteY4" fmla="*/ 3828035 h 6858001"/>
              <a:gd name="connsiteX5" fmla="*/ 76009 w 18555069"/>
              <a:gd name="connsiteY5" fmla="*/ 3029967 h 6858001"/>
              <a:gd name="connsiteX6" fmla="*/ 1273874 w 18555069"/>
              <a:gd name="connsiteY6" fmla="*/ 0 h 6858001"/>
              <a:gd name="connsiteX7" fmla="*/ 6279071 w 18555069"/>
              <a:gd name="connsiteY7" fmla="*/ 0 h 6858001"/>
              <a:gd name="connsiteX8" fmla="*/ 6279071 w 18555069"/>
              <a:gd name="connsiteY8" fmla="*/ 1 h 6858001"/>
              <a:gd name="connsiteX9" fmla="*/ 18555069 w 18555069"/>
              <a:gd name="connsiteY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5069" h="6858001">
                <a:moveTo>
                  <a:pt x="18555069" y="6858001"/>
                </a:moveTo>
                <a:lnTo>
                  <a:pt x="6279071" y="6858001"/>
                </a:lnTo>
                <a:lnTo>
                  <a:pt x="5928883" y="6858001"/>
                </a:lnTo>
                <a:lnTo>
                  <a:pt x="1274000" y="6858001"/>
                </a:lnTo>
                <a:lnTo>
                  <a:pt x="76009" y="3828035"/>
                </a:lnTo>
                <a:cubicBezTo>
                  <a:pt x="-25337" y="3571685"/>
                  <a:pt x="-25337" y="3286317"/>
                  <a:pt x="76009" y="3029967"/>
                </a:cubicBezTo>
                <a:lnTo>
                  <a:pt x="1273874" y="0"/>
                </a:lnTo>
                <a:lnTo>
                  <a:pt x="6279071" y="0"/>
                </a:lnTo>
                <a:lnTo>
                  <a:pt x="6279071" y="1"/>
                </a:lnTo>
                <a:lnTo>
                  <a:pt x="18555069" y="1"/>
                </a:lnTo>
                <a:close/>
              </a:path>
            </a:pathLst>
          </a:custGeom>
          <a:solidFill>
            <a:schemeClr val="accent5">
              <a:alpha val="90000"/>
            </a:schemeClr>
          </a:solidFill>
          <a:ln w="0" cap="flat">
            <a:noFill/>
            <a:prstDash val="solid"/>
            <a:miter/>
          </a:ln>
        </p:spPr>
        <p:txBody>
          <a:bodyPr rtlCol="0" anchor="ctr"/>
          <a:lstStyle/>
          <a:p>
            <a:endParaRPr lang="sv-SE" dirty="0"/>
          </a:p>
        </p:txBody>
      </p:sp>
      <p:grpSp>
        <p:nvGrpSpPr>
          <p:cNvPr id="257" name="!!Hybrit_logo">
            <a:extLst>
              <a:ext uri="{FF2B5EF4-FFF2-40B4-BE49-F238E27FC236}">
                <a16:creationId xmlns:a16="http://schemas.microsoft.com/office/drawing/2014/main" id="{CD0A835C-0D9B-7AF6-678A-A6F56A026153}"/>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1A5463AD-64EF-9890-2421-9E0FE4802021}"/>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B80BF0EC-37C4-3F16-FB91-5E82D96C976E}"/>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555E1EDA-D93B-3FBB-D761-CE6EFB7C718F}"/>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D2973867-BD21-F2DB-2665-1FA5978AEBCC}"/>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CC5DEC33-21D1-FDA8-D6BA-D999D02446B6}"/>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21" name="Freeform 20">
            <a:extLst>
              <a:ext uri="{FF2B5EF4-FFF2-40B4-BE49-F238E27FC236}">
                <a16:creationId xmlns:a16="http://schemas.microsoft.com/office/drawing/2014/main" id="{9069F612-8CEE-1BFD-F980-596D4061469E}"/>
              </a:ext>
            </a:extLst>
          </p:cNvPr>
          <p:cNvSpPr/>
          <p:nvPr/>
        </p:nvSpPr>
        <p:spPr>
          <a:xfrm rot="10800000">
            <a:off x="-11747736" y="0"/>
            <a:ext cx="18555069" cy="6858001"/>
          </a:xfrm>
          <a:custGeom>
            <a:avLst/>
            <a:gdLst>
              <a:gd name="connsiteX0" fmla="*/ 18555069 w 18555069"/>
              <a:gd name="connsiteY0" fmla="*/ 6858001 h 6858001"/>
              <a:gd name="connsiteX1" fmla="*/ 6279071 w 18555069"/>
              <a:gd name="connsiteY1" fmla="*/ 6858001 h 6858001"/>
              <a:gd name="connsiteX2" fmla="*/ 5928883 w 18555069"/>
              <a:gd name="connsiteY2" fmla="*/ 6858001 h 6858001"/>
              <a:gd name="connsiteX3" fmla="*/ 1274000 w 18555069"/>
              <a:gd name="connsiteY3" fmla="*/ 6858001 h 6858001"/>
              <a:gd name="connsiteX4" fmla="*/ 76009 w 18555069"/>
              <a:gd name="connsiteY4" fmla="*/ 3828035 h 6858001"/>
              <a:gd name="connsiteX5" fmla="*/ 76009 w 18555069"/>
              <a:gd name="connsiteY5" fmla="*/ 3029967 h 6858001"/>
              <a:gd name="connsiteX6" fmla="*/ 1273874 w 18555069"/>
              <a:gd name="connsiteY6" fmla="*/ 0 h 6858001"/>
              <a:gd name="connsiteX7" fmla="*/ 6279071 w 18555069"/>
              <a:gd name="connsiteY7" fmla="*/ 0 h 6858001"/>
              <a:gd name="connsiteX8" fmla="*/ 6279071 w 18555069"/>
              <a:gd name="connsiteY8" fmla="*/ 1 h 6858001"/>
              <a:gd name="connsiteX9" fmla="*/ 18555069 w 18555069"/>
              <a:gd name="connsiteY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5069" h="6858001">
                <a:moveTo>
                  <a:pt x="18555069" y="6858001"/>
                </a:moveTo>
                <a:lnTo>
                  <a:pt x="6279071" y="6858001"/>
                </a:lnTo>
                <a:lnTo>
                  <a:pt x="5928883" y="6858001"/>
                </a:lnTo>
                <a:lnTo>
                  <a:pt x="1274000" y="6858001"/>
                </a:lnTo>
                <a:lnTo>
                  <a:pt x="76009" y="3828035"/>
                </a:lnTo>
                <a:cubicBezTo>
                  <a:pt x="-25337" y="3571685"/>
                  <a:pt x="-25337" y="3286317"/>
                  <a:pt x="76009" y="3029967"/>
                </a:cubicBezTo>
                <a:lnTo>
                  <a:pt x="1273874" y="0"/>
                </a:lnTo>
                <a:lnTo>
                  <a:pt x="6279071" y="0"/>
                </a:lnTo>
                <a:lnTo>
                  <a:pt x="6279071" y="1"/>
                </a:lnTo>
                <a:lnTo>
                  <a:pt x="18555069" y="1"/>
                </a:lnTo>
                <a:close/>
              </a:path>
            </a:pathLst>
          </a:custGeom>
          <a:solidFill>
            <a:schemeClr val="tx2"/>
          </a:solidFill>
          <a:ln w="0" cap="flat">
            <a:noFill/>
            <a:prstDash val="solid"/>
            <a:miter/>
          </a:ln>
        </p:spPr>
        <p:txBody>
          <a:bodyPr rtlCol="0" anchor="ctr"/>
          <a:lstStyle/>
          <a:p>
            <a:endParaRPr lang="sv-SE" dirty="0"/>
          </a:p>
        </p:txBody>
      </p:sp>
      <p:sp>
        <p:nvSpPr>
          <p:cNvPr id="2" name="Title 1">
            <a:extLst>
              <a:ext uri="{FF2B5EF4-FFF2-40B4-BE49-F238E27FC236}">
                <a16:creationId xmlns:a16="http://schemas.microsoft.com/office/drawing/2014/main" id="{1B64E83C-EFCF-9B82-7952-509503572D73}"/>
              </a:ext>
            </a:extLst>
          </p:cNvPr>
          <p:cNvSpPr>
            <a:spLocks noGrp="1"/>
          </p:cNvSpPr>
          <p:nvPr>
            <p:ph type="title"/>
          </p:nvPr>
        </p:nvSpPr>
        <p:spPr>
          <a:xfrm>
            <a:off x="546100" y="752400"/>
            <a:ext cx="10080625" cy="1356708"/>
          </a:xfrm>
        </p:spPr>
        <p:txBody>
          <a:bodyPr/>
          <a:lstStyle/>
          <a:p>
            <a:r>
              <a:rPr lang="sv-SE" noProof="0" dirty="0">
                <a:solidFill>
                  <a:schemeClr val="bg1"/>
                </a:solidFill>
              </a:rPr>
              <a:t>Tester av </a:t>
            </a:r>
            <a:br>
              <a:rPr lang="sv-SE" noProof="0" dirty="0">
                <a:solidFill>
                  <a:schemeClr val="bg1"/>
                </a:solidFill>
              </a:rPr>
            </a:br>
            <a:r>
              <a:rPr lang="sv-SE" noProof="0" dirty="0">
                <a:solidFill>
                  <a:schemeClr val="bg1"/>
                </a:solidFill>
              </a:rPr>
              <a:t>säkerhetssystem</a:t>
            </a:r>
          </a:p>
        </p:txBody>
      </p:sp>
      <p:sp>
        <p:nvSpPr>
          <p:cNvPr id="11" name="!!TextBox 90">
            <a:extLst>
              <a:ext uri="{FF2B5EF4-FFF2-40B4-BE49-F238E27FC236}">
                <a16:creationId xmlns:a16="http://schemas.microsoft.com/office/drawing/2014/main" id="{1AEE2853-86B6-8059-C5A6-9F88D9EB188B}"/>
              </a:ext>
            </a:extLst>
          </p:cNvPr>
          <p:cNvSpPr txBox="1"/>
          <p:nvPr/>
        </p:nvSpPr>
        <p:spPr>
          <a:xfrm>
            <a:off x="546099" y="2394500"/>
            <a:ext cx="5255611" cy="1107996"/>
          </a:xfrm>
          <a:prstGeom prst="rect">
            <a:avLst/>
          </a:prstGeom>
          <a:noFill/>
        </p:spPr>
        <p:txBody>
          <a:bodyPr wrap="square" lIns="0" tIns="0" rIns="0" bIns="0" rtlCol="0" anchor="t">
            <a:spAutoFit/>
          </a:bodyPr>
          <a:lstStyle/>
          <a:p>
            <a:pPr lvl="0">
              <a:spcAft>
                <a:spcPts val="1800"/>
              </a:spcAft>
              <a:defRPr/>
            </a:pPr>
            <a:r>
              <a:rPr lang="sv-SE" dirty="0">
                <a:solidFill>
                  <a:srgbClr val="FFFFFF"/>
                </a:solidFill>
              </a:rPr>
              <a:t>Konstruerat med ett system för snabb detektering </a:t>
            </a:r>
            <a:br>
              <a:rPr lang="sv-SE" dirty="0">
                <a:solidFill>
                  <a:srgbClr val="FFFFFF"/>
                </a:solidFill>
              </a:rPr>
            </a:br>
            <a:r>
              <a:rPr lang="sv-SE" dirty="0">
                <a:solidFill>
                  <a:srgbClr val="FFFFFF"/>
                </a:solidFill>
              </a:rPr>
              <a:t>av läckande vätgas, samt uppsamling och avledning till säker plats – om det mot förmodan skulle uppstå en vätgasläcka.</a:t>
            </a:r>
          </a:p>
        </p:txBody>
      </p:sp>
      <p:sp>
        <p:nvSpPr>
          <p:cNvPr id="26" name="TextBox 25">
            <a:extLst>
              <a:ext uri="{FF2B5EF4-FFF2-40B4-BE49-F238E27FC236}">
                <a16:creationId xmlns:a16="http://schemas.microsoft.com/office/drawing/2014/main" id="{66FA7CB1-7FD3-13BB-464C-CA40128C48D3}"/>
              </a:ext>
            </a:extLst>
          </p:cNvPr>
          <p:cNvSpPr txBox="1"/>
          <p:nvPr/>
        </p:nvSpPr>
        <p:spPr>
          <a:xfrm>
            <a:off x="7849364" y="3370781"/>
            <a:ext cx="2785680" cy="553998"/>
          </a:xfrm>
          <a:prstGeom prst="rect">
            <a:avLst/>
          </a:prstGeom>
          <a:noFill/>
        </p:spPr>
        <p:txBody>
          <a:bodyPr wrap="square" lIns="0" tIns="0" rIns="0" bIns="0" rtlCol="0">
            <a:spAutoFit/>
          </a:bodyPr>
          <a:lstStyle/>
          <a:p>
            <a:r>
              <a:rPr lang="sv-SE" dirty="0">
                <a:solidFill>
                  <a:schemeClr val="bg1"/>
                </a:solidFill>
              </a:rPr>
              <a:t>för detektion av även mycket små gasmängder</a:t>
            </a:r>
          </a:p>
        </p:txBody>
      </p:sp>
      <p:sp>
        <p:nvSpPr>
          <p:cNvPr id="27" name="TextBox 26">
            <a:extLst>
              <a:ext uri="{FF2B5EF4-FFF2-40B4-BE49-F238E27FC236}">
                <a16:creationId xmlns:a16="http://schemas.microsoft.com/office/drawing/2014/main" id="{5945D028-EB48-68C5-6C92-67BADAF3CA17}"/>
              </a:ext>
            </a:extLst>
          </p:cNvPr>
          <p:cNvSpPr txBox="1"/>
          <p:nvPr/>
        </p:nvSpPr>
        <p:spPr>
          <a:xfrm>
            <a:off x="7849364" y="2206461"/>
            <a:ext cx="3705510" cy="1107996"/>
          </a:xfrm>
          <a:prstGeom prst="rect">
            <a:avLst/>
          </a:prstGeom>
          <a:noFill/>
        </p:spPr>
        <p:txBody>
          <a:bodyPr wrap="square" lIns="0" tIns="0" rIns="0" bIns="0" rtlCol="0" anchor="b">
            <a:spAutoFit/>
          </a:bodyPr>
          <a:lstStyle/>
          <a:p>
            <a:r>
              <a:rPr lang="sv-SE" sz="7200" dirty="0">
                <a:solidFill>
                  <a:schemeClr val="bg1"/>
                </a:solidFill>
              </a:rPr>
              <a:t>&lt;10</a:t>
            </a:r>
            <a:r>
              <a:rPr lang="sv-SE" sz="4400" dirty="0">
                <a:solidFill>
                  <a:schemeClr val="bg1"/>
                </a:solidFill>
              </a:rPr>
              <a:t> </a:t>
            </a:r>
            <a:r>
              <a:rPr lang="sv-SE" sz="7200" dirty="0">
                <a:solidFill>
                  <a:schemeClr val="bg1"/>
                </a:solidFill>
              </a:rPr>
              <a:t>s</a:t>
            </a:r>
          </a:p>
        </p:txBody>
      </p:sp>
      <p:sp>
        <p:nvSpPr>
          <p:cNvPr id="28" name="TextBox 27">
            <a:extLst>
              <a:ext uri="{FF2B5EF4-FFF2-40B4-BE49-F238E27FC236}">
                <a16:creationId xmlns:a16="http://schemas.microsoft.com/office/drawing/2014/main" id="{1DA14231-79D6-A541-D4B8-BCAC9201C1E5}"/>
              </a:ext>
            </a:extLst>
          </p:cNvPr>
          <p:cNvSpPr txBox="1"/>
          <p:nvPr/>
        </p:nvSpPr>
        <p:spPr>
          <a:xfrm>
            <a:off x="7849364" y="5323400"/>
            <a:ext cx="2785680" cy="830997"/>
          </a:xfrm>
          <a:prstGeom prst="rect">
            <a:avLst/>
          </a:prstGeom>
          <a:noFill/>
        </p:spPr>
        <p:txBody>
          <a:bodyPr wrap="square" lIns="0" tIns="0" rIns="0" bIns="0" rtlCol="0">
            <a:spAutoFit/>
          </a:bodyPr>
          <a:lstStyle/>
          <a:p>
            <a:r>
              <a:rPr lang="sv-SE" dirty="0">
                <a:solidFill>
                  <a:schemeClr val="bg1"/>
                </a:solidFill>
              </a:rPr>
              <a:t>av den läckande vätgasen samlas in och avleds till säker plats</a:t>
            </a:r>
          </a:p>
        </p:txBody>
      </p:sp>
      <p:sp>
        <p:nvSpPr>
          <p:cNvPr id="29" name="TextBox 28">
            <a:extLst>
              <a:ext uri="{FF2B5EF4-FFF2-40B4-BE49-F238E27FC236}">
                <a16:creationId xmlns:a16="http://schemas.microsoft.com/office/drawing/2014/main" id="{C4A5BBBB-602D-219A-CE87-70C1D81E84D5}"/>
              </a:ext>
            </a:extLst>
          </p:cNvPr>
          <p:cNvSpPr txBox="1"/>
          <p:nvPr/>
        </p:nvSpPr>
        <p:spPr>
          <a:xfrm>
            <a:off x="7849363" y="4159080"/>
            <a:ext cx="4482613" cy="1107996"/>
          </a:xfrm>
          <a:prstGeom prst="rect">
            <a:avLst/>
          </a:prstGeom>
          <a:noFill/>
        </p:spPr>
        <p:txBody>
          <a:bodyPr wrap="square" lIns="0" tIns="0" rIns="0" bIns="0" rtlCol="0" anchor="b">
            <a:spAutoFit/>
          </a:bodyPr>
          <a:lstStyle/>
          <a:p>
            <a:r>
              <a:rPr lang="sv-SE" sz="7200" dirty="0">
                <a:solidFill>
                  <a:schemeClr val="bg1"/>
                </a:solidFill>
              </a:rPr>
              <a:t>90-100</a:t>
            </a:r>
            <a:r>
              <a:rPr lang="sv-SE" sz="3500" dirty="0">
                <a:solidFill>
                  <a:schemeClr val="bg1"/>
                </a:solidFill>
              </a:rPr>
              <a:t> </a:t>
            </a:r>
            <a:r>
              <a:rPr lang="sv-SE" sz="7200" dirty="0">
                <a:solidFill>
                  <a:schemeClr val="bg1"/>
                </a:solidFill>
              </a:rPr>
              <a:t>%</a:t>
            </a:r>
          </a:p>
        </p:txBody>
      </p:sp>
      <p:sp>
        <p:nvSpPr>
          <p:cNvPr id="30" name="!!TextBox 90">
            <a:extLst>
              <a:ext uri="{FF2B5EF4-FFF2-40B4-BE49-F238E27FC236}">
                <a16:creationId xmlns:a16="http://schemas.microsoft.com/office/drawing/2014/main" id="{CC3B6696-801D-993C-CAC9-30684172C826}"/>
              </a:ext>
            </a:extLst>
          </p:cNvPr>
          <p:cNvSpPr txBox="1"/>
          <p:nvPr/>
        </p:nvSpPr>
        <p:spPr>
          <a:xfrm>
            <a:off x="546100" y="4352659"/>
            <a:ext cx="4675056" cy="738664"/>
          </a:xfrm>
          <a:prstGeom prst="rect">
            <a:avLst/>
          </a:prstGeom>
          <a:noFill/>
        </p:spPr>
        <p:txBody>
          <a:bodyPr wrap="square" lIns="0" tIns="0" rIns="0" bIns="0" rtlCol="0" anchor="t">
            <a:spAutoFit/>
          </a:bodyPr>
          <a:lstStyle/>
          <a:p>
            <a:pPr marL="342900" lvl="0" indent="-342900">
              <a:spcAft>
                <a:spcPts val="1800"/>
              </a:spcAft>
              <a:buBlip>
                <a:blip r:embed="rId4">
                  <a:extLst>
                    <a:ext uri="{96DAC541-7B7A-43D3-8B79-37D633B846F1}">
                      <asvg:svgBlip xmlns:asvg="http://schemas.microsoft.com/office/drawing/2016/SVG/main" r:embed="rId5"/>
                    </a:ext>
                  </a:extLst>
                </a:blip>
              </a:buBlip>
              <a:defRPr/>
            </a:pPr>
            <a:r>
              <a:rPr lang="sv-SE" sz="2400" b="1" dirty="0">
                <a:solidFill>
                  <a:srgbClr val="FFFFFF"/>
                </a:solidFill>
              </a:rPr>
              <a:t>Lagret har visats vara gastätt </a:t>
            </a:r>
            <a:br>
              <a:rPr lang="sv-SE" sz="2400" b="1" dirty="0">
                <a:solidFill>
                  <a:srgbClr val="FFFFFF"/>
                </a:solidFill>
              </a:rPr>
            </a:br>
            <a:r>
              <a:rPr lang="sv-SE" sz="2400" b="1" dirty="0">
                <a:solidFill>
                  <a:srgbClr val="FFFFFF"/>
                </a:solidFill>
              </a:rPr>
              <a:t>under hela testperioden</a:t>
            </a:r>
          </a:p>
        </p:txBody>
      </p:sp>
      <p:sp>
        <p:nvSpPr>
          <p:cNvPr id="3" name="!!Mask">
            <a:extLst>
              <a:ext uri="{FF2B5EF4-FFF2-40B4-BE49-F238E27FC236}">
                <a16:creationId xmlns:a16="http://schemas.microsoft.com/office/drawing/2014/main" id="{ADC3B858-0417-B773-87B7-84807A82755F}"/>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55403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2" presetClass="entr" presetSubtype="8" decel="50000" fill="hold" grpId="0" nodeType="withEffect">
                                  <p:stCondLst>
                                    <p:cond delay="300"/>
                                  </p:stCondLst>
                                  <p:childTnLst>
                                    <p:set>
                                      <p:cBhvr>
                                        <p:cTn id="19" dur="1" fill="hold">
                                          <p:stCondLst>
                                            <p:cond delay="0"/>
                                          </p:stCondLst>
                                        </p:cTn>
                                        <p:tgtEl>
                                          <p:spTgt spid="22"/>
                                        </p:tgtEl>
                                        <p:attrNameLst>
                                          <p:attrName>style.visibility</p:attrName>
                                        </p:attrNameLst>
                                      </p:cBhvr>
                                      <p:to>
                                        <p:strVal val="visible"/>
                                      </p:to>
                                    </p:set>
                                    <p:anim calcmode="lin" valueType="num">
                                      <p:cBhvr additive="base">
                                        <p:cTn id="20" dur="1000" fill="hold"/>
                                        <p:tgtEl>
                                          <p:spTgt spid="22"/>
                                        </p:tgtEl>
                                        <p:attrNameLst>
                                          <p:attrName>ppt_x</p:attrName>
                                        </p:attrNameLst>
                                      </p:cBhvr>
                                      <p:tavLst>
                                        <p:tav tm="0">
                                          <p:val>
                                            <p:strVal val="0-#ppt_w/2"/>
                                          </p:val>
                                        </p:tav>
                                        <p:tav tm="100000">
                                          <p:val>
                                            <p:strVal val="#ppt_x"/>
                                          </p:val>
                                        </p:tav>
                                      </p:tavLst>
                                    </p:anim>
                                    <p:anim calcmode="lin" valueType="num">
                                      <p:cBhvr additive="base">
                                        <p:cTn id="21" dur="1000" fill="hold"/>
                                        <p:tgtEl>
                                          <p:spTgt spid="22"/>
                                        </p:tgtEl>
                                        <p:attrNameLst>
                                          <p:attrName>ppt_y</p:attrName>
                                        </p:attrNameLst>
                                      </p:cBhvr>
                                      <p:tavLst>
                                        <p:tav tm="0">
                                          <p:val>
                                            <p:strVal val="#ppt_y"/>
                                          </p:val>
                                        </p:tav>
                                        <p:tav tm="100000">
                                          <p:val>
                                            <p:strVal val="#ppt_y"/>
                                          </p:val>
                                        </p:tav>
                                      </p:tavLst>
                                    </p:anim>
                                  </p:childTnLst>
                                </p:cTn>
                              </p:par>
                              <p:par>
                                <p:cTn id="22" presetID="10" presetClass="entr" presetSubtype="0" fill="hold" grpId="0" nodeType="withEffect">
                                  <p:stCondLst>
                                    <p:cond delay="130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13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10" presetClass="entr" presetSubtype="0" fill="hold" grpId="0" nodeType="withEffect">
                                  <p:stCondLst>
                                    <p:cond delay="130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ntr" presetSubtype="0" fill="hold" grpId="0" nodeType="withEffect">
                                  <p:stCondLst>
                                    <p:cond delay="130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P spid="2" grpId="0"/>
      <p:bldP spid="11" grpId="0"/>
      <p:bldP spid="26" grpId="0"/>
      <p:bldP spid="27" grpId="0"/>
      <p:bldP spid="28" grpId="0"/>
      <p:bldP spid="29" grpId="0"/>
      <p:bldP spid="30"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0F1FC92F-063A-BD49-C699-F99C97F62B3E}"/>
            </a:ext>
          </a:extLst>
        </p:cNvPr>
        <p:cNvGrpSpPr/>
        <p:nvPr/>
      </p:nvGrpSpPr>
      <p:grpSpPr>
        <a:xfrm>
          <a:off x="0" y="0"/>
          <a:ext cx="0" cy="0"/>
          <a:chOff x="0" y="0"/>
          <a:chExt cx="0" cy="0"/>
        </a:xfrm>
      </p:grpSpPr>
      <p:pic>
        <p:nvPicPr>
          <p:cNvPr id="7" name="!!FördelarBG">
            <a:extLst>
              <a:ext uri="{FF2B5EF4-FFF2-40B4-BE49-F238E27FC236}">
                <a16:creationId xmlns:a16="http://schemas.microsoft.com/office/drawing/2014/main" id="{0E6725A0-B1D5-93D0-4028-308550CF01B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 y="0"/>
            <a:ext cx="12190730" cy="6858000"/>
          </a:xfrm>
          <a:prstGeom prst="rect">
            <a:avLst/>
          </a:prstGeom>
        </p:spPr>
      </p:pic>
      <p:sp>
        <p:nvSpPr>
          <p:cNvPr id="6" name="!!TextBox 5">
            <a:extLst>
              <a:ext uri="{FF2B5EF4-FFF2-40B4-BE49-F238E27FC236}">
                <a16:creationId xmlns:a16="http://schemas.microsoft.com/office/drawing/2014/main" id="{6671602A-5C68-81A3-3B37-DE691DBDDC6D}"/>
              </a:ext>
            </a:extLst>
          </p:cNvPr>
          <p:cNvSpPr txBox="1"/>
          <p:nvPr/>
        </p:nvSpPr>
        <p:spPr>
          <a:xfrm>
            <a:off x="546101" y="3153775"/>
            <a:ext cx="4790397" cy="830997"/>
          </a:xfrm>
          <a:prstGeom prst="rect">
            <a:avLst/>
          </a:prstGeom>
          <a:noFill/>
        </p:spPr>
        <p:txBody>
          <a:bodyPr wrap="square" lIns="0" tIns="0" rIns="0" bIns="0" rtlCol="0">
            <a:spAutoFit/>
          </a:bodyPr>
          <a:lstStyle/>
          <a:p>
            <a:pPr marL="285750" lvl="0" indent="-285750">
              <a:buBlip>
                <a:blip r:embed="rId4">
                  <a:extLst>
                    <a:ext uri="{96DAC541-7B7A-43D3-8B79-37D633B846F1}">
                      <asvg:svgBlip xmlns:asvg="http://schemas.microsoft.com/office/drawing/2016/SVG/main" r:embed="rId5"/>
                    </a:ext>
                  </a:extLst>
                </a:blip>
              </a:buBlip>
              <a:defRPr/>
            </a:pPr>
            <a:r>
              <a:rPr lang="sv-SE" dirty="0">
                <a:solidFill>
                  <a:srgbClr val="FFFFFF"/>
                </a:solidFill>
              </a:rPr>
              <a:t>Det finns flera fördelar med storskalig vätgaslagring, både för industriella verksamheter och för elnätet i stort</a:t>
            </a:r>
            <a:endParaRPr kumimoji="0" lang="sv-SE" sz="18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4" name="!!Title lagring">
            <a:extLst>
              <a:ext uri="{FF2B5EF4-FFF2-40B4-BE49-F238E27FC236}">
                <a16:creationId xmlns:a16="http://schemas.microsoft.com/office/drawing/2014/main" id="{D0422997-254F-3ECC-F254-55AF28E93CC6}"/>
              </a:ext>
            </a:extLst>
          </p:cNvPr>
          <p:cNvSpPr>
            <a:spLocks noGrp="1"/>
          </p:cNvSpPr>
          <p:nvPr>
            <p:ph type="title"/>
          </p:nvPr>
        </p:nvSpPr>
        <p:spPr>
          <a:xfrm>
            <a:off x="546100" y="799200"/>
            <a:ext cx="10080625" cy="2003500"/>
          </a:xfrm>
        </p:spPr>
        <p:txBody>
          <a:bodyPr anchor="b"/>
          <a:lstStyle/>
          <a:p>
            <a:r>
              <a:rPr lang="sv-SE" sz="5000" dirty="0">
                <a:solidFill>
                  <a:schemeClr val="bg1"/>
                </a:solidFill>
              </a:rPr>
              <a:t>Vätgaslagring stöttar omställningen till </a:t>
            </a:r>
            <a:br>
              <a:rPr lang="sv-SE" sz="5000" dirty="0">
                <a:solidFill>
                  <a:schemeClr val="bg1"/>
                </a:solidFill>
              </a:rPr>
            </a:br>
            <a:r>
              <a:rPr lang="sv-SE" sz="5000" dirty="0">
                <a:solidFill>
                  <a:schemeClr val="bg1"/>
                </a:solidFill>
              </a:rPr>
              <a:t>ett fossilfritt samhälle  </a:t>
            </a:r>
          </a:p>
        </p:txBody>
      </p:sp>
      <p:grpSp>
        <p:nvGrpSpPr>
          <p:cNvPr id="8" name="!!Fördel1">
            <a:extLst>
              <a:ext uri="{FF2B5EF4-FFF2-40B4-BE49-F238E27FC236}">
                <a16:creationId xmlns:a16="http://schemas.microsoft.com/office/drawing/2014/main" id="{39F083F8-A8A5-99AE-8E2F-311FA85097E2}"/>
              </a:ext>
            </a:extLst>
          </p:cNvPr>
          <p:cNvGrpSpPr/>
          <p:nvPr/>
        </p:nvGrpSpPr>
        <p:grpSpPr>
          <a:xfrm>
            <a:off x="0" y="-5395647"/>
            <a:ext cx="6096000" cy="3897312"/>
            <a:chOff x="0" y="0"/>
            <a:chExt cx="6096000" cy="3897312"/>
          </a:xfrm>
        </p:grpSpPr>
        <p:pic>
          <p:nvPicPr>
            <p:cNvPr id="9" name="Picture 8" descr="A blue light in a cave&#10;&#10;AI-generated content may be incorrect.">
              <a:extLst>
                <a:ext uri="{FF2B5EF4-FFF2-40B4-BE49-F238E27FC236}">
                  <a16:creationId xmlns:a16="http://schemas.microsoft.com/office/drawing/2014/main" id="{C24FC1A3-9235-7CA5-18ED-BA88E639C7C1}"/>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0" y="0"/>
              <a:ext cx="6096000" cy="3897312"/>
            </a:xfrm>
            <a:custGeom>
              <a:avLst/>
              <a:gdLst>
                <a:gd name="connsiteX0" fmla="*/ 0 w 6096000"/>
                <a:gd name="connsiteY0" fmla="*/ 0 h 3897312"/>
                <a:gd name="connsiteX1" fmla="*/ 6096000 w 6096000"/>
                <a:gd name="connsiteY1" fmla="*/ 0 h 3897312"/>
                <a:gd name="connsiteX2" fmla="*/ 6096000 w 6096000"/>
                <a:gd name="connsiteY2" fmla="*/ 3897312 h 3897312"/>
                <a:gd name="connsiteX3" fmla="*/ 0 w 6096000"/>
                <a:gd name="connsiteY3" fmla="*/ 3897312 h 3897312"/>
              </a:gdLst>
              <a:ahLst/>
              <a:cxnLst>
                <a:cxn ang="0">
                  <a:pos x="connsiteX0" y="connsiteY0"/>
                </a:cxn>
                <a:cxn ang="0">
                  <a:pos x="connsiteX1" y="connsiteY1"/>
                </a:cxn>
                <a:cxn ang="0">
                  <a:pos x="connsiteX2" y="connsiteY2"/>
                </a:cxn>
                <a:cxn ang="0">
                  <a:pos x="connsiteX3" y="connsiteY3"/>
                </a:cxn>
              </a:cxnLst>
              <a:rect l="l" t="t" r="r" b="b"/>
              <a:pathLst>
                <a:path w="6096000" h="3897312">
                  <a:moveTo>
                    <a:pt x="0" y="0"/>
                  </a:moveTo>
                  <a:lnTo>
                    <a:pt x="6096000" y="0"/>
                  </a:lnTo>
                  <a:lnTo>
                    <a:pt x="6096000" y="3897312"/>
                  </a:lnTo>
                  <a:lnTo>
                    <a:pt x="0" y="3897312"/>
                  </a:lnTo>
                  <a:close/>
                </a:path>
              </a:pathLst>
            </a:custGeom>
          </p:spPr>
        </p:pic>
        <p:sp>
          <p:nvSpPr>
            <p:cNvPr id="10" name="TextBox 9">
              <a:extLst>
                <a:ext uri="{FF2B5EF4-FFF2-40B4-BE49-F238E27FC236}">
                  <a16:creationId xmlns:a16="http://schemas.microsoft.com/office/drawing/2014/main" id="{262EEA8D-C86D-77E6-29D3-76E5958BC8DD}"/>
                </a:ext>
              </a:extLst>
            </p:cNvPr>
            <p:cNvSpPr txBox="1"/>
            <p:nvPr/>
          </p:nvSpPr>
          <p:spPr>
            <a:xfrm>
              <a:off x="759502" y="1042112"/>
              <a:ext cx="4576996" cy="2528897"/>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1. Sänker den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rörliga driftskostnaden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för vätgasproduktion  </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Vätgas produceras</a:t>
              </a: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 när priser är lägre och pausas när priserna är högre. Då använder man istället vätgas från lagret till sin verksamhet.  </a:t>
              </a:r>
              <a:b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br>
              <a:endPar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9AAEA549-F377-C831-B444-833DCB561ABD}"/>
                </a:ext>
              </a:extLst>
            </p:cNvPr>
            <p:cNvSpPr/>
            <p:nvPr/>
          </p:nvSpPr>
          <p:spPr>
            <a:xfrm>
              <a:off x="2903353" y="547432"/>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12" name="Straight Connector 11">
              <a:extLst>
                <a:ext uri="{FF2B5EF4-FFF2-40B4-BE49-F238E27FC236}">
                  <a16:creationId xmlns:a16="http://schemas.microsoft.com/office/drawing/2014/main" id="{DE963310-0540-452D-52AF-BD53B7F9F255}"/>
                </a:ext>
              </a:extLst>
            </p:cNvPr>
            <p:cNvCxnSpPr/>
            <p:nvPr/>
          </p:nvCxnSpPr>
          <p:spPr>
            <a:xfrm>
              <a:off x="2270078" y="2333905"/>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Fördel2">
            <a:extLst>
              <a:ext uri="{FF2B5EF4-FFF2-40B4-BE49-F238E27FC236}">
                <a16:creationId xmlns:a16="http://schemas.microsoft.com/office/drawing/2014/main" id="{D14D5C72-4C27-F6D7-B9E9-732D5E9ACAA8}"/>
              </a:ext>
            </a:extLst>
          </p:cNvPr>
          <p:cNvGrpSpPr/>
          <p:nvPr/>
        </p:nvGrpSpPr>
        <p:grpSpPr>
          <a:xfrm>
            <a:off x="0" y="8356335"/>
            <a:ext cx="6096000" cy="2960687"/>
            <a:chOff x="0" y="3897313"/>
            <a:chExt cx="6096000" cy="2960687"/>
          </a:xfrm>
        </p:grpSpPr>
        <p:pic>
          <p:nvPicPr>
            <p:cNvPr id="14" name="Picture 13" descr="A person in a white coat&#10;&#10;AI-generated content may be incorrect.">
              <a:extLst>
                <a:ext uri="{FF2B5EF4-FFF2-40B4-BE49-F238E27FC236}">
                  <a16:creationId xmlns:a16="http://schemas.microsoft.com/office/drawing/2014/main" id="{44DABD43-225E-1F87-95AC-FCADB7134752}"/>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0" y="3897313"/>
              <a:ext cx="6096000" cy="2960687"/>
            </a:xfrm>
            <a:custGeom>
              <a:avLst/>
              <a:gdLst>
                <a:gd name="connsiteX0" fmla="*/ 0 w 6096000"/>
                <a:gd name="connsiteY0" fmla="*/ 0 h 2960687"/>
                <a:gd name="connsiteX1" fmla="*/ 6096000 w 6096000"/>
                <a:gd name="connsiteY1" fmla="*/ 0 h 2960687"/>
                <a:gd name="connsiteX2" fmla="*/ 6096000 w 6096000"/>
                <a:gd name="connsiteY2" fmla="*/ 2960687 h 2960687"/>
                <a:gd name="connsiteX3" fmla="*/ 0 w 6096000"/>
                <a:gd name="connsiteY3" fmla="*/ 2960687 h 2960687"/>
              </a:gdLst>
              <a:ahLst/>
              <a:cxnLst>
                <a:cxn ang="0">
                  <a:pos x="connsiteX0" y="connsiteY0"/>
                </a:cxn>
                <a:cxn ang="0">
                  <a:pos x="connsiteX1" y="connsiteY1"/>
                </a:cxn>
                <a:cxn ang="0">
                  <a:pos x="connsiteX2" y="connsiteY2"/>
                </a:cxn>
                <a:cxn ang="0">
                  <a:pos x="connsiteX3" y="connsiteY3"/>
                </a:cxn>
              </a:cxnLst>
              <a:rect l="l" t="t" r="r" b="b"/>
              <a:pathLst>
                <a:path w="6096000" h="2960687">
                  <a:moveTo>
                    <a:pt x="0" y="0"/>
                  </a:moveTo>
                  <a:lnTo>
                    <a:pt x="6096000" y="0"/>
                  </a:lnTo>
                  <a:lnTo>
                    <a:pt x="6096000" y="2960687"/>
                  </a:lnTo>
                  <a:lnTo>
                    <a:pt x="0" y="2960687"/>
                  </a:lnTo>
                  <a:close/>
                </a:path>
              </a:pathLst>
            </a:custGeom>
          </p:spPr>
        </p:pic>
        <p:sp>
          <p:nvSpPr>
            <p:cNvPr id="15" name="TextBox 14">
              <a:extLst>
                <a:ext uri="{FF2B5EF4-FFF2-40B4-BE49-F238E27FC236}">
                  <a16:creationId xmlns:a16="http://schemas.microsoft.com/office/drawing/2014/main" id="{51D8B61D-A15F-ED79-C5F4-7CEA71FC8951}"/>
                </a:ext>
              </a:extLst>
            </p:cNvPr>
            <p:cNvSpPr txBox="1"/>
            <p:nvPr/>
          </p:nvSpPr>
          <p:spPr>
            <a:xfrm>
              <a:off x="759502" y="4742618"/>
              <a:ext cx="4576996" cy="1544012"/>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2. Skapar flexibilitet</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För den industriella verksamheten. Lagringen skapar också robusthet eftersom det alltid finns vätgas tillgängligt som kan försörja produktionen.  </a:t>
              </a:r>
              <a:endPar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16" name="Freeform 15">
              <a:extLst>
                <a:ext uri="{FF2B5EF4-FFF2-40B4-BE49-F238E27FC236}">
                  <a16:creationId xmlns:a16="http://schemas.microsoft.com/office/drawing/2014/main" id="{2D97F5B6-AABF-7823-9549-6BA9D1C43890}"/>
                </a:ext>
              </a:extLst>
            </p:cNvPr>
            <p:cNvSpPr/>
            <p:nvPr/>
          </p:nvSpPr>
          <p:spPr>
            <a:xfrm>
              <a:off x="2903353" y="424793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17" name="Straight Connector 16">
              <a:extLst>
                <a:ext uri="{FF2B5EF4-FFF2-40B4-BE49-F238E27FC236}">
                  <a16:creationId xmlns:a16="http://schemas.microsoft.com/office/drawing/2014/main" id="{645CB4AF-98D1-7EFF-06CA-02AE0CA5F7D1}"/>
                </a:ext>
              </a:extLst>
            </p:cNvPr>
            <p:cNvCxnSpPr/>
            <p:nvPr/>
          </p:nvCxnSpPr>
          <p:spPr>
            <a:xfrm>
              <a:off x="2270078" y="5312099"/>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8" name="!!Fördel3">
            <a:extLst>
              <a:ext uri="{FF2B5EF4-FFF2-40B4-BE49-F238E27FC236}">
                <a16:creationId xmlns:a16="http://schemas.microsoft.com/office/drawing/2014/main" id="{54CBB4AA-DFA1-AEDC-0E1A-993BAB873BDF}"/>
              </a:ext>
            </a:extLst>
          </p:cNvPr>
          <p:cNvGrpSpPr/>
          <p:nvPr/>
        </p:nvGrpSpPr>
        <p:grpSpPr>
          <a:xfrm>
            <a:off x="6096000" y="-2997518"/>
            <a:ext cx="6096000" cy="2776940"/>
            <a:chOff x="6096000" y="1185"/>
            <a:chExt cx="6096000" cy="2776940"/>
          </a:xfrm>
        </p:grpSpPr>
        <p:pic>
          <p:nvPicPr>
            <p:cNvPr id="19" name="Picture 18" descr="A power lines in the fog&#10;&#10;AI-generated content may be incorrect.">
              <a:extLst>
                <a:ext uri="{FF2B5EF4-FFF2-40B4-BE49-F238E27FC236}">
                  <a16:creationId xmlns:a16="http://schemas.microsoft.com/office/drawing/2014/main" id="{763C0123-C6BF-9092-91EA-F420614BDA45}"/>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6096000" y="1185"/>
              <a:ext cx="6096000" cy="2776940"/>
            </a:xfrm>
            <a:custGeom>
              <a:avLst/>
              <a:gdLst>
                <a:gd name="connsiteX0" fmla="*/ 0 w 6096000"/>
                <a:gd name="connsiteY0" fmla="*/ 0 h 2776940"/>
                <a:gd name="connsiteX1" fmla="*/ 6096000 w 6096000"/>
                <a:gd name="connsiteY1" fmla="*/ 0 h 2776940"/>
                <a:gd name="connsiteX2" fmla="*/ 6096000 w 6096000"/>
                <a:gd name="connsiteY2" fmla="*/ 2776940 h 2776940"/>
                <a:gd name="connsiteX3" fmla="*/ 0 w 6096000"/>
                <a:gd name="connsiteY3" fmla="*/ 2776940 h 2776940"/>
              </a:gdLst>
              <a:ahLst/>
              <a:cxnLst>
                <a:cxn ang="0">
                  <a:pos x="connsiteX0" y="connsiteY0"/>
                </a:cxn>
                <a:cxn ang="0">
                  <a:pos x="connsiteX1" y="connsiteY1"/>
                </a:cxn>
                <a:cxn ang="0">
                  <a:pos x="connsiteX2" y="connsiteY2"/>
                </a:cxn>
                <a:cxn ang="0">
                  <a:pos x="connsiteX3" y="connsiteY3"/>
                </a:cxn>
              </a:cxnLst>
              <a:rect l="l" t="t" r="r" b="b"/>
              <a:pathLst>
                <a:path w="6096000" h="2776940">
                  <a:moveTo>
                    <a:pt x="0" y="0"/>
                  </a:moveTo>
                  <a:lnTo>
                    <a:pt x="6096000" y="0"/>
                  </a:lnTo>
                  <a:lnTo>
                    <a:pt x="6096000" y="2776940"/>
                  </a:lnTo>
                  <a:lnTo>
                    <a:pt x="0" y="2776940"/>
                  </a:lnTo>
                  <a:close/>
                </a:path>
              </a:pathLst>
            </a:custGeom>
          </p:spPr>
        </p:pic>
        <p:sp>
          <p:nvSpPr>
            <p:cNvPr id="20" name="TextBox 19">
              <a:extLst>
                <a:ext uri="{FF2B5EF4-FFF2-40B4-BE49-F238E27FC236}">
                  <a16:creationId xmlns:a16="http://schemas.microsoft.com/office/drawing/2014/main" id="{B3B588EB-515A-310A-5286-FEB042B77E8A}"/>
                </a:ext>
              </a:extLst>
            </p:cNvPr>
            <p:cNvSpPr txBox="1"/>
            <p:nvPr/>
          </p:nvSpPr>
          <p:spPr>
            <a:xfrm>
              <a:off x="6855502" y="1042112"/>
              <a:ext cx="4576996" cy="1297791"/>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3. Stabiliserar elsystemet</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Gör elsystemet mer robust genom att balansera </a:t>
              </a:r>
              <a:br>
                <a:rPr lang="sv-SE" sz="1600" dirty="0">
                  <a:solidFill>
                    <a:srgbClr val="FFFFFF"/>
                  </a:solidFill>
                  <a:latin typeface="Aptos" panose="02110004020202020204"/>
                </a:rPr>
              </a:br>
              <a:r>
                <a:rPr lang="sv-SE" sz="1600" dirty="0">
                  <a:solidFill>
                    <a:srgbClr val="FFFFFF"/>
                  </a:solidFill>
                  <a:latin typeface="Aptos" panose="02110004020202020204"/>
                </a:rPr>
                <a:t>när tillgången är god och när efterfrågan är hög. </a:t>
              </a:r>
            </a:p>
          </p:txBody>
        </p:sp>
        <p:sp>
          <p:nvSpPr>
            <p:cNvPr id="21" name="Freeform 20">
              <a:extLst>
                <a:ext uri="{FF2B5EF4-FFF2-40B4-BE49-F238E27FC236}">
                  <a16:creationId xmlns:a16="http://schemas.microsoft.com/office/drawing/2014/main" id="{2EBB9CB5-1A28-F1FB-49A4-518C18787050}"/>
                </a:ext>
              </a:extLst>
            </p:cNvPr>
            <p:cNvSpPr/>
            <p:nvPr/>
          </p:nvSpPr>
          <p:spPr>
            <a:xfrm>
              <a:off x="8999353" y="547432"/>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22" name="Straight Connector 21">
              <a:extLst>
                <a:ext uri="{FF2B5EF4-FFF2-40B4-BE49-F238E27FC236}">
                  <a16:creationId xmlns:a16="http://schemas.microsoft.com/office/drawing/2014/main" id="{0693DE3B-CFA4-D80A-A574-AE22A3ED986B}"/>
                </a:ext>
              </a:extLst>
            </p:cNvPr>
            <p:cNvCxnSpPr/>
            <p:nvPr/>
          </p:nvCxnSpPr>
          <p:spPr>
            <a:xfrm>
              <a:off x="8366078" y="1637950"/>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 name="!!Fördel4">
            <a:extLst>
              <a:ext uri="{FF2B5EF4-FFF2-40B4-BE49-F238E27FC236}">
                <a16:creationId xmlns:a16="http://schemas.microsoft.com/office/drawing/2014/main" id="{59E41EF0-D633-ABBE-FE3F-E50615186AD0}"/>
              </a:ext>
            </a:extLst>
          </p:cNvPr>
          <p:cNvGrpSpPr/>
          <p:nvPr/>
        </p:nvGrpSpPr>
        <p:grpSpPr>
          <a:xfrm>
            <a:off x="6096000" y="11054801"/>
            <a:ext cx="6096000" cy="4079875"/>
            <a:chOff x="6096000" y="2778126"/>
            <a:chExt cx="6096000" cy="4079875"/>
          </a:xfrm>
        </p:grpSpPr>
        <p:pic>
          <p:nvPicPr>
            <p:cNvPr id="24" name="Picture 23" descr="A wind turbines in a field&#10;&#10;AI-generated content may be incorrect.">
              <a:extLst>
                <a:ext uri="{FF2B5EF4-FFF2-40B4-BE49-F238E27FC236}">
                  <a16:creationId xmlns:a16="http://schemas.microsoft.com/office/drawing/2014/main" id="{71FE9A4E-A9D9-4BE8-8F6A-28412AAC4968}"/>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a:xfrm>
              <a:off x="6096000" y="2778126"/>
              <a:ext cx="6096000" cy="4079875"/>
            </a:xfrm>
            <a:custGeom>
              <a:avLst/>
              <a:gdLst>
                <a:gd name="connsiteX0" fmla="*/ 0 w 6096000"/>
                <a:gd name="connsiteY0" fmla="*/ 0 h 4079875"/>
                <a:gd name="connsiteX1" fmla="*/ 6096000 w 6096000"/>
                <a:gd name="connsiteY1" fmla="*/ 0 h 4079875"/>
                <a:gd name="connsiteX2" fmla="*/ 6096000 w 6096000"/>
                <a:gd name="connsiteY2" fmla="*/ 4079875 h 4079875"/>
                <a:gd name="connsiteX3" fmla="*/ 0 w 6096000"/>
                <a:gd name="connsiteY3" fmla="*/ 4079875 h 4079875"/>
              </a:gdLst>
              <a:ahLst/>
              <a:cxnLst>
                <a:cxn ang="0">
                  <a:pos x="connsiteX0" y="connsiteY0"/>
                </a:cxn>
                <a:cxn ang="0">
                  <a:pos x="connsiteX1" y="connsiteY1"/>
                </a:cxn>
                <a:cxn ang="0">
                  <a:pos x="connsiteX2" y="connsiteY2"/>
                </a:cxn>
                <a:cxn ang="0">
                  <a:pos x="connsiteX3" y="connsiteY3"/>
                </a:cxn>
              </a:cxnLst>
              <a:rect l="l" t="t" r="r" b="b"/>
              <a:pathLst>
                <a:path w="6096000" h="4079875">
                  <a:moveTo>
                    <a:pt x="0" y="0"/>
                  </a:moveTo>
                  <a:lnTo>
                    <a:pt x="6096000" y="0"/>
                  </a:lnTo>
                  <a:lnTo>
                    <a:pt x="6096000" y="4079875"/>
                  </a:lnTo>
                  <a:lnTo>
                    <a:pt x="0" y="4079875"/>
                  </a:lnTo>
                  <a:close/>
                </a:path>
              </a:pathLst>
            </a:custGeom>
          </p:spPr>
        </p:pic>
        <p:sp>
          <p:nvSpPr>
            <p:cNvPr id="25" name="TextBox 24">
              <a:extLst>
                <a:ext uri="{FF2B5EF4-FFF2-40B4-BE49-F238E27FC236}">
                  <a16:creationId xmlns:a16="http://schemas.microsoft.com/office/drawing/2014/main" id="{AA7ED806-85FB-5EC6-D577-5BDD1FF551D8}"/>
                </a:ext>
              </a:extLst>
            </p:cNvPr>
            <p:cNvSpPr txBox="1"/>
            <p:nvPr/>
          </p:nvSpPr>
          <p:spPr>
            <a:xfrm>
              <a:off x="6642100" y="3839373"/>
              <a:ext cx="5003800" cy="2159566"/>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4. Jämnar ut prisvariationer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på elmarknaden</a:t>
              </a:r>
              <a:endParaRPr lang="sv-SE" sz="2400" b="1" dirty="0">
                <a:solidFill>
                  <a:srgbClr val="FFFFFF"/>
                </a:solidFill>
                <a:latin typeface="Aptos" panose="02110004020202020204"/>
              </a:endParaRP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Jämnar ut prisvariationer i elnätet, vilket skulle gynna investeringar i ny elproduktion från alla fossilfria kraftslag – mer variationer från väderberoende elproduktion kan balanseras i elsystemet.</a:t>
              </a:r>
              <a:endPar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C5249DEA-5222-299F-45A2-370DF19F955D}"/>
                </a:ext>
              </a:extLst>
            </p:cNvPr>
            <p:cNvSpPr/>
            <p:nvPr/>
          </p:nvSpPr>
          <p:spPr>
            <a:xfrm>
              <a:off x="8999353" y="3344693"/>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27" name="Straight Connector 26">
              <a:extLst>
                <a:ext uri="{FF2B5EF4-FFF2-40B4-BE49-F238E27FC236}">
                  <a16:creationId xmlns:a16="http://schemas.microsoft.com/office/drawing/2014/main" id="{0A46FE8B-0ECD-AC7E-91C0-35DC0779754A}"/>
                </a:ext>
              </a:extLst>
            </p:cNvPr>
            <p:cNvCxnSpPr/>
            <p:nvPr/>
          </p:nvCxnSpPr>
          <p:spPr>
            <a:xfrm>
              <a:off x="8366078" y="4747056"/>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7" name="!!Hybrit_logo">
            <a:extLst>
              <a:ext uri="{FF2B5EF4-FFF2-40B4-BE49-F238E27FC236}">
                <a16:creationId xmlns:a16="http://schemas.microsoft.com/office/drawing/2014/main" id="{FE562259-6C06-D852-4F5F-0DD63B6313C9}"/>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C4E04478-068C-AC91-B608-216B65B882D0}"/>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C97D3D93-62BA-AC73-F163-318770170F6A}"/>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40007343-A8EB-AD92-E659-E3D2F56277C6}"/>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81F6BEC8-32E1-7B93-2A7B-A7812D74BAC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2E2C2739-C3D5-1626-7CC0-CD224CB6E191}"/>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2" name="!!Mask">
            <a:extLst>
              <a:ext uri="{FF2B5EF4-FFF2-40B4-BE49-F238E27FC236}">
                <a16:creationId xmlns:a16="http://schemas.microsoft.com/office/drawing/2014/main" id="{FAFB3CFC-E7EB-2D87-5549-B2976E86BE4A}"/>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76627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B5D45F9F-B767-9202-B1E8-94A8A33A1B18}"/>
            </a:ext>
          </a:extLst>
        </p:cNvPr>
        <p:cNvGrpSpPr/>
        <p:nvPr/>
      </p:nvGrpSpPr>
      <p:grpSpPr>
        <a:xfrm>
          <a:off x="0" y="0"/>
          <a:ext cx="0" cy="0"/>
          <a:chOff x="0" y="0"/>
          <a:chExt cx="0" cy="0"/>
        </a:xfrm>
      </p:grpSpPr>
      <p:pic>
        <p:nvPicPr>
          <p:cNvPr id="18" name="!!FördelarBG">
            <a:extLst>
              <a:ext uri="{FF2B5EF4-FFF2-40B4-BE49-F238E27FC236}">
                <a16:creationId xmlns:a16="http://schemas.microsoft.com/office/drawing/2014/main" id="{16AF616A-6866-872A-7CA8-B93D06D53E2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2" y="0"/>
            <a:ext cx="23568745" cy="13258800"/>
          </a:xfrm>
          <a:prstGeom prst="rect">
            <a:avLst/>
          </a:prstGeom>
        </p:spPr>
      </p:pic>
      <p:grpSp>
        <p:nvGrpSpPr>
          <p:cNvPr id="13" name="!!Fördel1">
            <a:extLst>
              <a:ext uri="{FF2B5EF4-FFF2-40B4-BE49-F238E27FC236}">
                <a16:creationId xmlns:a16="http://schemas.microsoft.com/office/drawing/2014/main" id="{BEC92613-92D3-39B6-6BBE-DA03F8BB28DF}"/>
              </a:ext>
            </a:extLst>
          </p:cNvPr>
          <p:cNvGrpSpPr/>
          <p:nvPr/>
        </p:nvGrpSpPr>
        <p:grpSpPr>
          <a:xfrm>
            <a:off x="0" y="0"/>
            <a:ext cx="6096000" cy="3897312"/>
            <a:chOff x="0" y="0"/>
            <a:chExt cx="6096000" cy="3897312"/>
          </a:xfrm>
        </p:grpSpPr>
        <p:pic>
          <p:nvPicPr>
            <p:cNvPr id="2" name="Picture 1" descr="A blue light in a cave&#10;&#10;AI-generated content may be incorrect.">
              <a:extLst>
                <a:ext uri="{FF2B5EF4-FFF2-40B4-BE49-F238E27FC236}">
                  <a16:creationId xmlns:a16="http://schemas.microsoft.com/office/drawing/2014/main" id="{6BF54243-AA76-4E32-F844-6A49507138D7}"/>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0" y="0"/>
              <a:ext cx="6096000" cy="3897312"/>
            </a:xfrm>
            <a:custGeom>
              <a:avLst/>
              <a:gdLst>
                <a:gd name="connsiteX0" fmla="*/ 0 w 6096000"/>
                <a:gd name="connsiteY0" fmla="*/ 0 h 3897312"/>
                <a:gd name="connsiteX1" fmla="*/ 6096000 w 6096000"/>
                <a:gd name="connsiteY1" fmla="*/ 0 h 3897312"/>
                <a:gd name="connsiteX2" fmla="*/ 6096000 w 6096000"/>
                <a:gd name="connsiteY2" fmla="*/ 3897312 h 3897312"/>
                <a:gd name="connsiteX3" fmla="*/ 0 w 6096000"/>
                <a:gd name="connsiteY3" fmla="*/ 3897312 h 3897312"/>
              </a:gdLst>
              <a:ahLst/>
              <a:cxnLst>
                <a:cxn ang="0">
                  <a:pos x="connsiteX0" y="connsiteY0"/>
                </a:cxn>
                <a:cxn ang="0">
                  <a:pos x="connsiteX1" y="connsiteY1"/>
                </a:cxn>
                <a:cxn ang="0">
                  <a:pos x="connsiteX2" y="connsiteY2"/>
                </a:cxn>
                <a:cxn ang="0">
                  <a:pos x="connsiteX3" y="connsiteY3"/>
                </a:cxn>
              </a:cxnLst>
              <a:rect l="l" t="t" r="r" b="b"/>
              <a:pathLst>
                <a:path w="6096000" h="3897312">
                  <a:moveTo>
                    <a:pt x="0" y="0"/>
                  </a:moveTo>
                  <a:lnTo>
                    <a:pt x="6096000" y="0"/>
                  </a:lnTo>
                  <a:lnTo>
                    <a:pt x="6096000" y="3897312"/>
                  </a:lnTo>
                  <a:lnTo>
                    <a:pt x="0" y="3897312"/>
                  </a:lnTo>
                  <a:close/>
                </a:path>
              </a:pathLst>
            </a:custGeom>
          </p:spPr>
        </p:pic>
        <p:sp>
          <p:nvSpPr>
            <p:cNvPr id="40" name="TextBox 39">
              <a:extLst>
                <a:ext uri="{FF2B5EF4-FFF2-40B4-BE49-F238E27FC236}">
                  <a16:creationId xmlns:a16="http://schemas.microsoft.com/office/drawing/2014/main" id="{80478206-ADB8-3D09-9F89-CBF9434FC3E4}"/>
                </a:ext>
              </a:extLst>
            </p:cNvPr>
            <p:cNvSpPr txBox="1"/>
            <p:nvPr/>
          </p:nvSpPr>
          <p:spPr>
            <a:xfrm>
              <a:off x="780081" y="1042112"/>
              <a:ext cx="4535838" cy="2498120"/>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1. Sänker den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rörliga driftskostnaden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för vätgasproduktion  </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Vätgas</a:t>
              </a:r>
              <a:r>
                <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rPr>
                <a:t> produceras när priser är lägre och pausas när priserna är högre. Då använder man istället vätgas från lagret till sin verksamhet.  </a:t>
              </a:r>
              <a:br>
                <a:rPr kumimoji="0" lang="sv-SE" sz="1400" b="0" i="0" u="none" strike="noStrike" kern="1200" cap="none" spc="0" normalizeH="0" baseline="0" noProof="0" dirty="0">
                  <a:ln>
                    <a:noFill/>
                  </a:ln>
                  <a:solidFill>
                    <a:srgbClr val="FFFFFF"/>
                  </a:solidFill>
                  <a:effectLst/>
                  <a:uLnTx/>
                  <a:uFillTx/>
                  <a:latin typeface="Aptos" panose="02110004020202020204"/>
                  <a:ea typeface="+mn-ea"/>
                  <a:cs typeface="+mn-cs"/>
                </a:rPr>
              </a:br>
              <a:endParaRPr kumimoji="0" lang="sv-SE" sz="14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41" name="Freeform 40">
              <a:extLst>
                <a:ext uri="{FF2B5EF4-FFF2-40B4-BE49-F238E27FC236}">
                  <a16:creationId xmlns:a16="http://schemas.microsoft.com/office/drawing/2014/main" id="{EE656317-B61D-E77B-0BB5-03B3E6C4EBFF}"/>
                </a:ext>
              </a:extLst>
            </p:cNvPr>
            <p:cNvSpPr/>
            <p:nvPr/>
          </p:nvSpPr>
          <p:spPr>
            <a:xfrm>
              <a:off x="2903353" y="547432"/>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42" name="Straight Connector 41">
              <a:extLst>
                <a:ext uri="{FF2B5EF4-FFF2-40B4-BE49-F238E27FC236}">
                  <a16:creationId xmlns:a16="http://schemas.microsoft.com/office/drawing/2014/main" id="{7D03D58E-162F-A98D-A043-9E90F192BD42}"/>
                </a:ext>
              </a:extLst>
            </p:cNvPr>
            <p:cNvCxnSpPr/>
            <p:nvPr/>
          </p:nvCxnSpPr>
          <p:spPr>
            <a:xfrm>
              <a:off x="2270078" y="2333905"/>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 name="!!Fördel2">
            <a:extLst>
              <a:ext uri="{FF2B5EF4-FFF2-40B4-BE49-F238E27FC236}">
                <a16:creationId xmlns:a16="http://schemas.microsoft.com/office/drawing/2014/main" id="{CAF40DEF-6F4E-F829-8040-A327ABE5B786}"/>
              </a:ext>
            </a:extLst>
          </p:cNvPr>
          <p:cNvGrpSpPr/>
          <p:nvPr/>
        </p:nvGrpSpPr>
        <p:grpSpPr>
          <a:xfrm>
            <a:off x="0" y="3897313"/>
            <a:ext cx="6096000" cy="2960687"/>
            <a:chOff x="0" y="3897313"/>
            <a:chExt cx="6096000" cy="2960687"/>
          </a:xfrm>
        </p:grpSpPr>
        <p:pic>
          <p:nvPicPr>
            <p:cNvPr id="5" name="Picture 4" descr="A person in a white coat&#10;&#10;AI-generated content may be incorrect.">
              <a:extLst>
                <a:ext uri="{FF2B5EF4-FFF2-40B4-BE49-F238E27FC236}">
                  <a16:creationId xmlns:a16="http://schemas.microsoft.com/office/drawing/2014/main" id="{726E8C45-2D87-D378-445D-76CC00D14C0E}"/>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0" y="3897313"/>
              <a:ext cx="6096000" cy="2960687"/>
            </a:xfrm>
            <a:custGeom>
              <a:avLst/>
              <a:gdLst>
                <a:gd name="connsiteX0" fmla="*/ 0 w 6096000"/>
                <a:gd name="connsiteY0" fmla="*/ 0 h 2960687"/>
                <a:gd name="connsiteX1" fmla="*/ 6096000 w 6096000"/>
                <a:gd name="connsiteY1" fmla="*/ 0 h 2960687"/>
                <a:gd name="connsiteX2" fmla="*/ 6096000 w 6096000"/>
                <a:gd name="connsiteY2" fmla="*/ 2960687 h 2960687"/>
                <a:gd name="connsiteX3" fmla="*/ 0 w 6096000"/>
                <a:gd name="connsiteY3" fmla="*/ 2960687 h 2960687"/>
              </a:gdLst>
              <a:ahLst/>
              <a:cxnLst>
                <a:cxn ang="0">
                  <a:pos x="connsiteX0" y="connsiteY0"/>
                </a:cxn>
                <a:cxn ang="0">
                  <a:pos x="connsiteX1" y="connsiteY1"/>
                </a:cxn>
                <a:cxn ang="0">
                  <a:pos x="connsiteX2" y="connsiteY2"/>
                </a:cxn>
                <a:cxn ang="0">
                  <a:pos x="connsiteX3" y="connsiteY3"/>
                </a:cxn>
              </a:cxnLst>
              <a:rect l="l" t="t" r="r" b="b"/>
              <a:pathLst>
                <a:path w="6096000" h="2960687">
                  <a:moveTo>
                    <a:pt x="0" y="0"/>
                  </a:moveTo>
                  <a:lnTo>
                    <a:pt x="6096000" y="0"/>
                  </a:lnTo>
                  <a:lnTo>
                    <a:pt x="6096000" y="2960687"/>
                  </a:lnTo>
                  <a:lnTo>
                    <a:pt x="0" y="2960687"/>
                  </a:lnTo>
                  <a:close/>
                </a:path>
              </a:pathLst>
            </a:custGeom>
          </p:spPr>
        </p:pic>
        <p:sp>
          <p:nvSpPr>
            <p:cNvPr id="43" name="TextBox 42">
              <a:extLst>
                <a:ext uri="{FF2B5EF4-FFF2-40B4-BE49-F238E27FC236}">
                  <a16:creationId xmlns:a16="http://schemas.microsoft.com/office/drawing/2014/main" id="{C78D8EA9-EBC2-2665-0770-A4D41905B859}"/>
                </a:ext>
              </a:extLst>
            </p:cNvPr>
            <p:cNvSpPr txBox="1"/>
            <p:nvPr/>
          </p:nvSpPr>
          <p:spPr>
            <a:xfrm>
              <a:off x="780081" y="4742618"/>
              <a:ext cx="4535838" cy="1544012"/>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2. Skapar flexibilitet</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För den industriella verksamheten. Lagringen skapar också robusthet eftersom det alltid finns vätgas tillgängligt som kan försörja produktionen.  </a:t>
              </a:r>
              <a:endPar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BC84D8BE-31E3-AECF-371B-B21FEF2BEE06}"/>
                </a:ext>
              </a:extLst>
            </p:cNvPr>
            <p:cNvSpPr/>
            <p:nvPr/>
          </p:nvSpPr>
          <p:spPr>
            <a:xfrm>
              <a:off x="2903353" y="4247938"/>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45" name="Straight Connector 44">
              <a:extLst>
                <a:ext uri="{FF2B5EF4-FFF2-40B4-BE49-F238E27FC236}">
                  <a16:creationId xmlns:a16="http://schemas.microsoft.com/office/drawing/2014/main" id="{528BC29F-F712-F8DF-8B05-AD1C0262FDCD}"/>
                </a:ext>
              </a:extLst>
            </p:cNvPr>
            <p:cNvCxnSpPr/>
            <p:nvPr/>
          </p:nvCxnSpPr>
          <p:spPr>
            <a:xfrm>
              <a:off x="2270078" y="5312099"/>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Fördel3">
            <a:extLst>
              <a:ext uri="{FF2B5EF4-FFF2-40B4-BE49-F238E27FC236}">
                <a16:creationId xmlns:a16="http://schemas.microsoft.com/office/drawing/2014/main" id="{2F5AA227-6E55-6042-623C-F0A01AE7D3B3}"/>
              </a:ext>
            </a:extLst>
          </p:cNvPr>
          <p:cNvGrpSpPr/>
          <p:nvPr/>
        </p:nvGrpSpPr>
        <p:grpSpPr>
          <a:xfrm>
            <a:off x="6096000" y="1185"/>
            <a:ext cx="6096000" cy="2776940"/>
            <a:chOff x="6096000" y="1185"/>
            <a:chExt cx="6096000" cy="2776940"/>
          </a:xfrm>
        </p:grpSpPr>
        <p:pic>
          <p:nvPicPr>
            <p:cNvPr id="9" name="Picture 8" descr="A power lines in the fog&#10;&#10;AI-generated content may be incorrect.">
              <a:extLst>
                <a:ext uri="{FF2B5EF4-FFF2-40B4-BE49-F238E27FC236}">
                  <a16:creationId xmlns:a16="http://schemas.microsoft.com/office/drawing/2014/main" id="{059D9A5C-995A-205C-FACE-5542C8854D0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6096000" y="1185"/>
              <a:ext cx="6096000" cy="2776940"/>
            </a:xfrm>
            <a:custGeom>
              <a:avLst/>
              <a:gdLst>
                <a:gd name="connsiteX0" fmla="*/ 0 w 6096000"/>
                <a:gd name="connsiteY0" fmla="*/ 0 h 2776940"/>
                <a:gd name="connsiteX1" fmla="*/ 6096000 w 6096000"/>
                <a:gd name="connsiteY1" fmla="*/ 0 h 2776940"/>
                <a:gd name="connsiteX2" fmla="*/ 6096000 w 6096000"/>
                <a:gd name="connsiteY2" fmla="*/ 2776940 h 2776940"/>
                <a:gd name="connsiteX3" fmla="*/ 0 w 6096000"/>
                <a:gd name="connsiteY3" fmla="*/ 2776940 h 2776940"/>
              </a:gdLst>
              <a:ahLst/>
              <a:cxnLst>
                <a:cxn ang="0">
                  <a:pos x="connsiteX0" y="connsiteY0"/>
                </a:cxn>
                <a:cxn ang="0">
                  <a:pos x="connsiteX1" y="connsiteY1"/>
                </a:cxn>
                <a:cxn ang="0">
                  <a:pos x="connsiteX2" y="connsiteY2"/>
                </a:cxn>
                <a:cxn ang="0">
                  <a:pos x="connsiteX3" y="connsiteY3"/>
                </a:cxn>
              </a:cxnLst>
              <a:rect l="l" t="t" r="r" b="b"/>
              <a:pathLst>
                <a:path w="6096000" h="2776940">
                  <a:moveTo>
                    <a:pt x="0" y="0"/>
                  </a:moveTo>
                  <a:lnTo>
                    <a:pt x="6096000" y="0"/>
                  </a:lnTo>
                  <a:lnTo>
                    <a:pt x="6096000" y="2776940"/>
                  </a:lnTo>
                  <a:lnTo>
                    <a:pt x="0" y="2776940"/>
                  </a:lnTo>
                  <a:close/>
                </a:path>
              </a:pathLst>
            </a:custGeom>
          </p:spPr>
        </p:pic>
        <p:sp>
          <p:nvSpPr>
            <p:cNvPr id="46" name="TextBox 45">
              <a:extLst>
                <a:ext uri="{FF2B5EF4-FFF2-40B4-BE49-F238E27FC236}">
                  <a16:creationId xmlns:a16="http://schemas.microsoft.com/office/drawing/2014/main" id="{85C4C5CB-AAFC-4CA8-84EA-7E3AAC167DA4}"/>
                </a:ext>
              </a:extLst>
            </p:cNvPr>
            <p:cNvSpPr txBox="1"/>
            <p:nvPr/>
          </p:nvSpPr>
          <p:spPr>
            <a:xfrm>
              <a:off x="6876081" y="1042112"/>
              <a:ext cx="4535838" cy="1297791"/>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3. Stabiliserar elsystemet</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Gör elsystemet mer robust genom att balansera </a:t>
              </a:r>
              <a:br>
                <a:rPr lang="sv-SE" sz="1600" dirty="0">
                  <a:solidFill>
                    <a:srgbClr val="FFFFFF"/>
                  </a:solidFill>
                  <a:latin typeface="Aptos" panose="02110004020202020204"/>
                </a:rPr>
              </a:br>
              <a:r>
                <a:rPr lang="sv-SE" sz="1600" dirty="0">
                  <a:solidFill>
                    <a:srgbClr val="FFFFFF"/>
                  </a:solidFill>
                  <a:latin typeface="Aptos" panose="02110004020202020204"/>
                </a:rPr>
                <a:t>när tillgången är god och när efterfrågan är hög. </a:t>
              </a:r>
            </a:p>
          </p:txBody>
        </p:sp>
        <p:sp>
          <p:nvSpPr>
            <p:cNvPr id="47" name="Freeform 46">
              <a:extLst>
                <a:ext uri="{FF2B5EF4-FFF2-40B4-BE49-F238E27FC236}">
                  <a16:creationId xmlns:a16="http://schemas.microsoft.com/office/drawing/2014/main" id="{C67FE56C-D140-32B0-4834-C2413BF0B5A8}"/>
                </a:ext>
              </a:extLst>
            </p:cNvPr>
            <p:cNvSpPr/>
            <p:nvPr/>
          </p:nvSpPr>
          <p:spPr>
            <a:xfrm>
              <a:off x="8999353" y="547432"/>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48" name="Straight Connector 47">
              <a:extLst>
                <a:ext uri="{FF2B5EF4-FFF2-40B4-BE49-F238E27FC236}">
                  <a16:creationId xmlns:a16="http://schemas.microsoft.com/office/drawing/2014/main" id="{F6C41ABF-B88F-5448-33B4-FD32AFAC6982}"/>
                </a:ext>
              </a:extLst>
            </p:cNvPr>
            <p:cNvCxnSpPr/>
            <p:nvPr/>
          </p:nvCxnSpPr>
          <p:spPr>
            <a:xfrm>
              <a:off x="8366078" y="1637950"/>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 name="!!Fördel4">
            <a:extLst>
              <a:ext uri="{FF2B5EF4-FFF2-40B4-BE49-F238E27FC236}">
                <a16:creationId xmlns:a16="http://schemas.microsoft.com/office/drawing/2014/main" id="{7A458F50-7ECC-822E-3976-DFF0086B81EA}"/>
              </a:ext>
            </a:extLst>
          </p:cNvPr>
          <p:cNvGrpSpPr/>
          <p:nvPr/>
        </p:nvGrpSpPr>
        <p:grpSpPr>
          <a:xfrm>
            <a:off x="6096000" y="2778126"/>
            <a:ext cx="6096000" cy="4079875"/>
            <a:chOff x="6096000" y="2778126"/>
            <a:chExt cx="6096000" cy="4079875"/>
          </a:xfrm>
        </p:grpSpPr>
        <p:pic>
          <p:nvPicPr>
            <p:cNvPr id="12" name="Picture 11" descr="A wind turbines in a field&#10;&#10;AI-generated content may be incorrect.">
              <a:extLst>
                <a:ext uri="{FF2B5EF4-FFF2-40B4-BE49-F238E27FC236}">
                  <a16:creationId xmlns:a16="http://schemas.microsoft.com/office/drawing/2014/main" id="{9368803B-738D-DB9B-F8DF-3310FB70D879}"/>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a:xfrm>
              <a:off x="6096000" y="2778126"/>
              <a:ext cx="6096000" cy="4079875"/>
            </a:xfrm>
            <a:custGeom>
              <a:avLst/>
              <a:gdLst>
                <a:gd name="connsiteX0" fmla="*/ 0 w 6096000"/>
                <a:gd name="connsiteY0" fmla="*/ 0 h 4079875"/>
                <a:gd name="connsiteX1" fmla="*/ 6096000 w 6096000"/>
                <a:gd name="connsiteY1" fmla="*/ 0 h 4079875"/>
                <a:gd name="connsiteX2" fmla="*/ 6096000 w 6096000"/>
                <a:gd name="connsiteY2" fmla="*/ 4079875 h 4079875"/>
                <a:gd name="connsiteX3" fmla="*/ 0 w 6096000"/>
                <a:gd name="connsiteY3" fmla="*/ 4079875 h 4079875"/>
              </a:gdLst>
              <a:ahLst/>
              <a:cxnLst>
                <a:cxn ang="0">
                  <a:pos x="connsiteX0" y="connsiteY0"/>
                </a:cxn>
                <a:cxn ang="0">
                  <a:pos x="connsiteX1" y="connsiteY1"/>
                </a:cxn>
                <a:cxn ang="0">
                  <a:pos x="connsiteX2" y="connsiteY2"/>
                </a:cxn>
                <a:cxn ang="0">
                  <a:pos x="connsiteX3" y="connsiteY3"/>
                </a:cxn>
              </a:cxnLst>
              <a:rect l="l" t="t" r="r" b="b"/>
              <a:pathLst>
                <a:path w="6096000" h="4079875">
                  <a:moveTo>
                    <a:pt x="0" y="0"/>
                  </a:moveTo>
                  <a:lnTo>
                    <a:pt x="6096000" y="0"/>
                  </a:lnTo>
                  <a:lnTo>
                    <a:pt x="6096000" y="4079875"/>
                  </a:lnTo>
                  <a:lnTo>
                    <a:pt x="0" y="4079875"/>
                  </a:lnTo>
                  <a:close/>
                </a:path>
              </a:pathLst>
            </a:custGeom>
          </p:spPr>
        </p:pic>
        <p:sp>
          <p:nvSpPr>
            <p:cNvPr id="49" name="TextBox 48">
              <a:extLst>
                <a:ext uri="{FF2B5EF4-FFF2-40B4-BE49-F238E27FC236}">
                  <a16:creationId xmlns:a16="http://schemas.microsoft.com/office/drawing/2014/main" id="{997AF5C3-8EB6-54CF-8D6C-21320A86A818}"/>
                </a:ext>
              </a:extLst>
            </p:cNvPr>
            <p:cNvSpPr txBox="1"/>
            <p:nvPr/>
          </p:nvSpPr>
          <p:spPr>
            <a:xfrm>
              <a:off x="6642100" y="3839373"/>
              <a:ext cx="5003800" cy="2159566"/>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3400"/>
                </a:spcAft>
                <a:buClrTx/>
                <a:buSzTx/>
                <a:tabLst/>
                <a:defRPr/>
              </a:pP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4. Jämnar ut prisvariationer </a:t>
              </a:r>
              <a:b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br>
              <a:r>
                <a:rPr kumimoji="0" lang="sv-SE" sz="2400" b="1" i="0" u="none" strike="noStrike" kern="1200" cap="none" spc="0" normalizeH="0" baseline="0" noProof="0" dirty="0">
                  <a:ln>
                    <a:noFill/>
                  </a:ln>
                  <a:solidFill>
                    <a:srgbClr val="FFFFFF"/>
                  </a:solidFill>
                  <a:effectLst/>
                  <a:uLnTx/>
                  <a:uFillTx/>
                  <a:latin typeface="Aptos" panose="02110004020202020204"/>
                  <a:ea typeface="+mn-ea"/>
                  <a:cs typeface="+mn-cs"/>
                </a:rPr>
                <a:t>på elmarknaden</a:t>
              </a:r>
            </a:p>
            <a:p>
              <a:pPr marR="0" lvl="0" algn="ctr" defTabSz="914400" rtl="0" eaLnBrk="1" fontAlgn="auto" latinLnBrk="0" hangingPunct="1">
                <a:lnSpc>
                  <a:spcPct val="100000"/>
                </a:lnSpc>
                <a:spcBef>
                  <a:spcPts val="0"/>
                </a:spcBef>
                <a:spcAft>
                  <a:spcPts val="3400"/>
                </a:spcAft>
                <a:buClrTx/>
                <a:buSzTx/>
                <a:tabLst/>
                <a:defRPr/>
              </a:pPr>
              <a:r>
                <a:rPr lang="sv-SE" sz="1600" dirty="0">
                  <a:solidFill>
                    <a:srgbClr val="FFFFFF"/>
                  </a:solidFill>
                  <a:latin typeface="Aptos" panose="02110004020202020204"/>
                </a:rPr>
                <a:t>Jämnar ut prisvariationer i elnätet, vilket skulle gynna investeringar i ny elproduktion från alla fossilfria kraftslag – mer variationer från väderberoende elproduktion kan balanseras i elsystemet.   </a:t>
              </a:r>
              <a:endParaRPr kumimoji="0" lang="sv-SE" sz="16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
          <p:nvSpPr>
            <p:cNvPr id="50" name="Freeform 49">
              <a:extLst>
                <a:ext uri="{FF2B5EF4-FFF2-40B4-BE49-F238E27FC236}">
                  <a16:creationId xmlns:a16="http://schemas.microsoft.com/office/drawing/2014/main" id="{4FE9F5DC-026A-9B16-8924-2D44DEEB028C}"/>
                </a:ext>
              </a:extLst>
            </p:cNvPr>
            <p:cNvSpPr/>
            <p:nvPr/>
          </p:nvSpPr>
          <p:spPr>
            <a:xfrm>
              <a:off x="8999353" y="3344693"/>
              <a:ext cx="289294" cy="312626"/>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cxnSp>
          <p:nvCxnSpPr>
            <p:cNvPr id="51" name="Straight Connector 50">
              <a:extLst>
                <a:ext uri="{FF2B5EF4-FFF2-40B4-BE49-F238E27FC236}">
                  <a16:creationId xmlns:a16="http://schemas.microsoft.com/office/drawing/2014/main" id="{15BE1AC5-99EC-508D-0F42-49F70E069300}"/>
                </a:ext>
              </a:extLst>
            </p:cNvPr>
            <p:cNvCxnSpPr/>
            <p:nvPr/>
          </p:nvCxnSpPr>
          <p:spPr>
            <a:xfrm>
              <a:off x="8366078" y="4747056"/>
              <a:ext cx="15558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 name="!!Hybrit_logo">
            <a:extLst>
              <a:ext uri="{FF2B5EF4-FFF2-40B4-BE49-F238E27FC236}">
                <a16:creationId xmlns:a16="http://schemas.microsoft.com/office/drawing/2014/main" id="{2C42E33B-F413-6087-C853-C484AF9B20A3}"/>
              </a:ext>
            </a:extLst>
          </p:cNvPr>
          <p:cNvGrpSpPr/>
          <p:nvPr/>
        </p:nvGrpSpPr>
        <p:grpSpPr>
          <a:xfrm>
            <a:off x="10823330" y="6338104"/>
            <a:ext cx="1018484" cy="320220"/>
            <a:chOff x="1343025" y="-3013943"/>
            <a:chExt cx="7772399" cy="2443714"/>
          </a:xfrm>
          <a:solidFill>
            <a:schemeClr val="bg1"/>
          </a:solidFill>
        </p:grpSpPr>
        <p:sp>
          <p:nvSpPr>
            <p:cNvPr id="6" name="Freeform 5">
              <a:extLst>
                <a:ext uri="{FF2B5EF4-FFF2-40B4-BE49-F238E27FC236}">
                  <a16:creationId xmlns:a16="http://schemas.microsoft.com/office/drawing/2014/main" id="{0C8E30E4-32F2-E8D3-EFC7-03410AE4D7BD}"/>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7" name="Freeform 6">
              <a:extLst>
                <a:ext uri="{FF2B5EF4-FFF2-40B4-BE49-F238E27FC236}">
                  <a16:creationId xmlns:a16="http://schemas.microsoft.com/office/drawing/2014/main" id="{C2874B17-0E68-541E-3110-1B92E55BDF02}"/>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F8BFCB17-108F-ECD2-E89A-ADBB950A5D6D}"/>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E5D536F3-CF3A-C85E-ED3E-62E9D32E3F1D}"/>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7" name="Freeform 16">
              <a:extLst>
                <a:ext uri="{FF2B5EF4-FFF2-40B4-BE49-F238E27FC236}">
                  <a16:creationId xmlns:a16="http://schemas.microsoft.com/office/drawing/2014/main" id="{E75B87EB-E651-1A01-F10D-771464EA0E60}"/>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3" name="!!Mask">
            <a:extLst>
              <a:ext uri="{FF2B5EF4-FFF2-40B4-BE49-F238E27FC236}">
                <a16:creationId xmlns:a16="http://schemas.microsoft.com/office/drawing/2014/main" id="{9D81A187-58E5-E95D-330E-6E254B8652AD}"/>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7247707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37C13649-B96F-06AD-9901-110CD72B5833}"/>
            </a:ext>
          </a:extLst>
        </p:cNvPr>
        <p:cNvGrpSpPr/>
        <p:nvPr/>
      </p:nvGrpSpPr>
      <p:grpSpPr>
        <a:xfrm>
          <a:off x="0" y="0"/>
          <a:ext cx="0" cy="0"/>
          <a:chOff x="0" y="0"/>
          <a:chExt cx="0" cy="0"/>
        </a:xfrm>
      </p:grpSpPr>
      <p:pic>
        <p:nvPicPr>
          <p:cNvPr id="12" name="!!Redo_BG">
            <a:extLst>
              <a:ext uri="{FF2B5EF4-FFF2-40B4-BE49-F238E27FC236}">
                <a16:creationId xmlns:a16="http://schemas.microsoft.com/office/drawing/2014/main" id="{12EDC984-632E-7326-2112-AD2FB0C2168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91" y="0"/>
            <a:ext cx="12189740" cy="6858000"/>
          </a:xfrm>
          <a:prstGeom prst="rect">
            <a:avLst/>
          </a:prstGeom>
        </p:spPr>
      </p:pic>
      <p:sp>
        <p:nvSpPr>
          <p:cNvPr id="6" name="!!TextBox 5">
            <a:extLst>
              <a:ext uri="{FF2B5EF4-FFF2-40B4-BE49-F238E27FC236}">
                <a16:creationId xmlns:a16="http://schemas.microsoft.com/office/drawing/2014/main" id="{FC664ACF-6699-DF62-57D8-8E058D42CAEE}"/>
              </a:ext>
            </a:extLst>
          </p:cNvPr>
          <p:cNvSpPr txBox="1"/>
          <p:nvPr/>
        </p:nvSpPr>
        <p:spPr>
          <a:xfrm>
            <a:off x="546101" y="3153775"/>
            <a:ext cx="5929650" cy="830997"/>
          </a:xfrm>
          <a:prstGeom prst="rect">
            <a:avLst/>
          </a:prstGeom>
          <a:noFill/>
        </p:spPr>
        <p:txBody>
          <a:bodyPr wrap="square" lIns="0" tIns="0" rIns="0" bIns="0" rtlCol="0">
            <a:spAutoFit/>
          </a:bodyPr>
          <a:lstStyle/>
          <a:p>
            <a:pPr marL="285750" lvl="0" indent="-285750">
              <a:buBlip>
                <a:blip r:embed="rId4">
                  <a:extLst>
                    <a:ext uri="{96DAC541-7B7A-43D3-8B79-37D633B846F1}">
                      <asvg:svgBlip xmlns:asvg="http://schemas.microsoft.com/office/drawing/2016/SVG/main" r:embed="rId5"/>
                    </a:ext>
                  </a:extLst>
                </a:blip>
              </a:buBlip>
              <a:defRPr/>
            </a:pPr>
            <a:r>
              <a:rPr lang="sv-SE" dirty="0" err="1">
                <a:solidFill>
                  <a:schemeClr val="tx2"/>
                </a:solidFill>
              </a:rPr>
              <a:t>HYBRIT:s</a:t>
            </a:r>
            <a:r>
              <a:rPr lang="sv-SE" dirty="0">
                <a:solidFill>
                  <a:schemeClr val="tx2"/>
                </a:solidFill>
              </a:rPr>
              <a:t> pilotprojekt har testat LRC-tekniken för lagring av vätgas och framgångsrikt genomfört teknikutveckling och validering genom utförda tester i pilotanläggningen </a:t>
            </a:r>
          </a:p>
        </p:txBody>
      </p:sp>
      <p:sp>
        <p:nvSpPr>
          <p:cNvPr id="4" name="!!Title lagring">
            <a:extLst>
              <a:ext uri="{FF2B5EF4-FFF2-40B4-BE49-F238E27FC236}">
                <a16:creationId xmlns:a16="http://schemas.microsoft.com/office/drawing/2014/main" id="{2E016FA2-DC93-5A22-5A8C-EC2D118B169A}"/>
              </a:ext>
            </a:extLst>
          </p:cNvPr>
          <p:cNvSpPr>
            <a:spLocks noGrp="1"/>
          </p:cNvSpPr>
          <p:nvPr>
            <p:ph type="title"/>
          </p:nvPr>
        </p:nvSpPr>
        <p:spPr>
          <a:xfrm>
            <a:off x="546101" y="799200"/>
            <a:ext cx="6870700" cy="2003500"/>
          </a:xfrm>
        </p:spPr>
        <p:txBody>
          <a:bodyPr anchor="b"/>
          <a:lstStyle/>
          <a:p>
            <a:r>
              <a:rPr lang="sv-SE" sz="5000" dirty="0">
                <a:solidFill>
                  <a:schemeClr val="tx2"/>
                </a:solidFill>
              </a:rPr>
              <a:t>Redo för </a:t>
            </a:r>
            <a:br>
              <a:rPr lang="sv-SE" sz="5000" dirty="0">
                <a:solidFill>
                  <a:schemeClr val="tx2"/>
                </a:solidFill>
              </a:rPr>
            </a:br>
            <a:r>
              <a:rPr lang="sv-SE" sz="5000" dirty="0">
                <a:solidFill>
                  <a:schemeClr val="tx2"/>
                </a:solidFill>
              </a:rPr>
              <a:t>industrialisering</a:t>
            </a:r>
          </a:p>
        </p:txBody>
      </p:sp>
      <p:grpSp>
        <p:nvGrpSpPr>
          <p:cNvPr id="257" name="!!Hybrit_logo">
            <a:extLst>
              <a:ext uri="{FF2B5EF4-FFF2-40B4-BE49-F238E27FC236}">
                <a16:creationId xmlns:a16="http://schemas.microsoft.com/office/drawing/2014/main" id="{0B7B4D93-9FFF-E7DB-2AEC-E4C91CE5C183}"/>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37B1FCD5-9913-60BF-30DC-147B9AAAEAE4}"/>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B0C3496E-3A81-CD06-55B9-01EA74DB4E95}"/>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FCAAA4E0-1A9D-006D-6612-9C66AE17E0FC}"/>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A8B6B3A8-8F0C-52AE-2D73-31982850D81F}"/>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4123C113-C12F-E8C4-0EC7-AA527A526977}"/>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grpSp>
        <p:nvGrpSpPr>
          <p:cNvPr id="7" name="!!Pusselbit">
            <a:extLst>
              <a:ext uri="{FF2B5EF4-FFF2-40B4-BE49-F238E27FC236}">
                <a16:creationId xmlns:a16="http://schemas.microsoft.com/office/drawing/2014/main" id="{A8FE3C3F-134E-1850-107D-F88164E45199}"/>
              </a:ext>
            </a:extLst>
          </p:cNvPr>
          <p:cNvGrpSpPr/>
          <p:nvPr/>
        </p:nvGrpSpPr>
        <p:grpSpPr>
          <a:xfrm>
            <a:off x="13408661" y="2219223"/>
            <a:ext cx="3505200" cy="3600552"/>
            <a:chOff x="8140700" y="2219223"/>
            <a:chExt cx="3505200" cy="3600552"/>
          </a:xfrm>
        </p:grpSpPr>
        <p:sp>
          <p:nvSpPr>
            <p:cNvPr id="28" name="Rectangle 27">
              <a:extLst>
                <a:ext uri="{FF2B5EF4-FFF2-40B4-BE49-F238E27FC236}">
                  <a16:creationId xmlns:a16="http://schemas.microsoft.com/office/drawing/2014/main" id="{8735F13E-7B98-0C1C-9F2C-6F80859E5FB4}"/>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29" name="TextBox 28">
              <a:extLst>
                <a:ext uri="{FF2B5EF4-FFF2-40B4-BE49-F238E27FC236}">
                  <a16:creationId xmlns:a16="http://schemas.microsoft.com/office/drawing/2014/main" id="{551FD943-5479-5C3C-5079-E9922D17162E}"/>
                </a:ext>
              </a:extLst>
            </p:cNvPr>
            <p:cNvSpPr txBox="1"/>
            <p:nvPr/>
          </p:nvSpPr>
          <p:spPr>
            <a:xfrm>
              <a:off x="8275169" y="4833570"/>
              <a:ext cx="3236262" cy="840230"/>
            </a:xfrm>
            <a:prstGeom prst="rect">
              <a:avLst/>
            </a:prstGeom>
            <a:noFill/>
          </p:spPr>
          <p:txBody>
            <a:bodyPr wrap="square">
              <a:spAutoFit/>
            </a:bodyPr>
            <a:lstStyle/>
            <a:p>
              <a:pPr algn="ctr">
                <a:lnSpc>
                  <a:spcPct val="90000"/>
                </a:lnSpc>
              </a:pPr>
              <a:r>
                <a:rPr lang="sv-SE" dirty="0">
                  <a:solidFill>
                    <a:schemeClr val="accent5"/>
                  </a:solidFill>
                </a:rPr>
                <a:t>Är en viktig pusselbit </a:t>
              </a:r>
              <a:br>
                <a:rPr lang="sv-SE" dirty="0">
                  <a:solidFill>
                    <a:schemeClr val="accent5"/>
                  </a:solidFill>
                </a:rPr>
              </a:br>
              <a:r>
                <a:rPr lang="sv-SE" dirty="0">
                  <a:solidFill>
                    <a:schemeClr val="accent5"/>
                  </a:solidFill>
                </a:rPr>
                <a:t>för omställningen till ett fossilfritt samhälle  </a:t>
              </a:r>
            </a:p>
          </p:txBody>
        </p:sp>
        <p:pic>
          <p:nvPicPr>
            <p:cNvPr id="30" name="Picture 29" descr="Smoke and smoke from a factory&#10;&#10;AI-generated content may be incorrect.">
              <a:extLst>
                <a:ext uri="{FF2B5EF4-FFF2-40B4-BE49-F238E27FC236}">
                  <a16:creationId xmlns:a16="http://schemas.microsoft.com/office/drawing/2014/main" id="{6949FD8B-41B0-B852-9FAB-41DEFE5B51E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1" name="!!Ärtestad">
            <a:extLst>
              <a:ext uri="{FF2B5EF4-FFF2-40B4-BE49-F238E27FC236}">
                <a16:creationId xmlns:a16="http://schemas.microsoft.com/office/drawing/2014/main" id="{F461F219-7850-79D2-ACA1-829E5DAED42D}"/>
              </a:ext>
            </a:extLst>
          </p:cNvPr>
          <p:cNvGrpSpPr/>
          <p:nvPr/>
        </p:nvGrpSpPr>
        <p:grpSpPr>
          <a:xfrm>
            <a:off x="13408661" y="2219223"/>
            <a:ext cx="3505200" cy="3600552"/>
            <a:chOff x="4343400" y="2219223"/>
            <a:chExt cx="3505200" cy="3600552"/>
          </a:xfrm>
        </p:grpSpPr>
        <p:sp>
          <p:nvSpPr>
            <p:cNvPr id="32" name="Rectangle 31">
              <a:extLst>
                <a:ext uri="{FF2B5EF4-FFF2-40B4-BE49-F238E27FC236}">
                  <a16:creationId xmlns:a16="http://schemas.microsoft.com/office/drawing/2014/main" id="{1AD3DC61-38C2-76F2-1D8D-193CD96D108B}"/>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3" name="TextBox 32">
              <a:extLst>
                <a:ext uri="{FF2B5EF4-FFF2-40B4-BE49-F238E27FC236}">
                  <a16:creationId xmlns:a16="http://schemas.microsoft.com/office/drawing/2014/main" id="{B397A3DF-71E1-8490-1A1D-BA62E16D6A26}"/>
                </a:ext>
              </a:extLst>
            </p:cNvPr>
            <p:cNvSpPr txBox="1"/>
            <p:nvPr/>
          </p:nvSpPr>
          <p:spPr>
            <a:xfrm>
              <a:off x="4477869" y="4833570"/>
              <a:ext cx="3236262" cy="343235"/>
            </a:xfrm>
            <a:prstGeom prst="rect">
              <a:avLst/>
            </a:prstGeom>
            <a:noFill/>
          </p:spPr>
          <p:txBody>
            <a:bodyPr wrap="square">
              <a:spAutoFit/>
            </a:bodyPr>
            <a:lstStyle/>
            <a:p>
              <a:pPr algn="ctr">
                <a:lnSpc>
                  <a:spcPct val="90000"/>
                </a:lnSpc>
              </a:pPr>
              <a:r>
                <a:rPr lang="sv-SE" dirty="0">
                  <a:solidFill>
                    <a:schemeClr val="accent5"/>
                  </a:solidFill>
                </a:rPr>
                <a:t>Är testad och säker</a:t>
              </a:r>
            </a:p>
          </p:txBody>
        </p:sp>
        <p:pic>
          <p:nvPicPr>
            <p:cNvPr id="34" name="Picture 33">
              <a:extLst>
                <a:ext uri="{FF2B5EF4-FFF2-40B4-BE49-F238E27FC236}">
                  <a16:creationId xmlns:a16="http://schemas.microsoft.com/office/drawing/2014/main" id="{F734AC1C-F431-AA9B-2986-6880FA078D68}"/>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5" name="!!Finnstillgänglig">
            <a:extLst>
              <a:ext uri="{FF2B5EF4-FFF2-40B4-BE49-F238E27FC236}">
                <a16:creationId xmlns:a16="http://schemas.microsoft.com/office/drawing/2014/main" id="{BA1A39C5-0E6C-1F9C-12C3-0693B966F425}"/>
              </a:ext>
            </a:extLst>
          </p:cNvPr>
          <p:cNvGrpSpPr/>
          <p:nvPr/>
        </p:nvGrpSpPr>
        <p:grpSpPr>
          <a:xfrm>
            <a:off x="13408661" y="2219223"/>
            <a:ext cx="3505200" cy="3600552"/>
            <a:chOff x="546100" y="2219223"/>
            <a:chExt cx="3505200" cy="3600552"/>
          </a:xfrm>
        </p:grpSpPr>
        <p:sp>
          <p:nvSpPr>
            <p:cNvPr id="36" name="Rectangle 35">
              <a:extLst>
                <a:ext uri="{FF2B5EF4-FFF2-40B4-BE49-F238E27FC236}">
                  <a16:creationId xmlns:a16="http://schemas.microsoft.com/office/drawing/2014/main" id="{CEDE961B-129C-E30F-D367-6FD625257304}"/>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7" name="TextBox 36">
              <a:extLst>
                <a:ext uri="{FF2B5EF4-FFF2-40B4-BE49-F238E27FC236}">
                  <a16:creationId xmlns:a16="http://schemas.microsoft.com/office/drawing/2014/main" id="{23640562-CF6B-5BEA-B1C5-9CC042EFC7DC}"/>
                </a:ext>
              </a:extLst>
            </p:cNvPr>
            <p:cNvSpPr txBox="1"/>
            <p:nvPr/>
          </p:nvSpPr>
          <p:spPr>
            <a:xfrm>
              <a:off x="680570" y="4833570"/>
              <a:ext cx="3236262" cy="343235"/>
            </a:xfrm>
            <a:prstGeom prst="rect">
              <a:avLst/>
            </a:prstGeom>
            <a:noFill/>
          </p:spPr>
          <p:txBody>
            <a:bodyPr wrap="square">
              <a:spAutoFit/>
            </a:bodyPr>
            <a:lstStyle/>
            <a:p>
              <a:pPr algn="ctr">
                <a:lnSpc>
                  <a:spcPct val="90000"/>
                </a:lnSpc>
              </a:pPr>
              <a:r>
                <a:rPr lang="sv-SE" dirty="0">
                  <a:solidFill>
                    <a:schemeClr val="accent5"/>
                  </a:solidFill>
                </a:rPr>
                <a:t>Finns tillgänglig</a:t>
              </a:r>
            </a:p>
          </p:txBody>
        </p:sp>
        <p:pic>
          <p:nvPicPr>
            <p:cNvPr id="38" name="Picture 37">
              <a:extLst>
                <a:ext uri="{FF2B5EF4-FFF2-40B4-BE49-F238E27FC236}">
                  <a16:creationId xmlns:a16="http://schemas.microsoft.com/office/drawing/2014/main" id="{74ACE25E-2B75-BCC7-7B43-F9F9B3DF9602}"/>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sp>
        <p:nvSpPr>
          <p:cNvPr id="8" name="!!mask2">
            <a:extLst>
              <a:ext uri="{FF2B5EF4-FFF2-40B4-BE49-F238E27FC236}">
                <a16:creationId xmlns:a16="http://schemas.microsoft.com/office/drawing/2014/main" id="{B1001D3D-EE0A-6869-83EA-44AD55045A82}"/>
              </a:ext>
            </a:extLst>
          </p:cNvPr>
          <p:cNvSpPr>
            <a:spLocks noGrp="1" noRot="1" noMove="1" noResize="1" noEditPoints="1" noAdjustHandles="1" noChangeArrowheads="1" noChangeShapeType="1"/>
          </p:cNvSpPr>
          <p:nvPr/>
        </p:nvSpPr>
        <p:spPr>
          <a:xfrm>
            <a:off x="-25603199" y="-5814390"/>
            <a:ext cx="65507306" cy="18486783"/>
          </a:xfrm>
          <a:custGeom>
            <a:avLst/>
            <a:gdLst>
              <a:gd name="connsiteX0" fmla="*/ 25459114 w 65507306"/>
              <a:gd name="connsiteY0" fmla="*/ 5733342 h 18486783"/>
              <a:gd name="connsiteX1" fmla="*/ 25459114 w 65507306"/>
              <a:gd name="connsiteY1" fmla="*/ 12753439 h 18486783"/>
              <a:gd name="connsiteX2" fmla="*/ 37939284 w 65507306"/>
              <a:gd name="connsiteY2" fmla="*/ 12753439 h 18486783"/>
              <a:gd name="connsiteX3" fmla="*/ 37939284 w 65507306"/>
              <a:gd name="connsiteY3" fmla="*/ 5733342 h 18486783"/>
              <a:gd name="connsiteX4" fmla="*/ 0 w 65507306"/>
              <a:gd name="connsiteY4" fmla="*/ 0 h 18486783"/>
              <a:gd name="connsiteX5" fmla="*/ 19134163 w 65507306"/>
              <a:gd name="connsiteY5" fmla="*/ 0 h 18486783"/>
              <a:gd name="connsiteX6" fmla="*/ 19134163 w 65507306"/>
              <a:gd name="connsiteY6" fmla="*/ 0 h 18486783"/>
              <a:gd name="connsiteX7" fmla="*/ 46373142 w 65507306"/>
              <a:gd name="connsiteY7" fmla="*/ 0 h 18486783"/>
              <a:gd name="connsiteX8" fmla="*/ 47025338 w 65507306"/>
              <a:gd name="connsiteY8" fmla="*/ 0 h 18486783"/>
              <a:gd name="connsiteX9" fmla="*/ 65507306 w 65507306"/>
              <a:gd name="connsiteY9" fmla="*/ 0 h 18486783"/>
              <a:gd name="connsiteX10" fmla="*/ 65507306 w 65507306"/>
              <a:gd name="connsiteY10" fmla="*/ 18486783 h 18486783"/>
              <a:gd name="connsiteX11" fmla="*/ 47025338 w 65507306"/>
              <a:gd name="connsiteY11" fmla="*/ 18486783 h 18486783"/>
              <a:gd name="connsiteX12" fmla="*/ 46373142 w 65507306"/>
              <a:gd name="connsiteY12" fmla="*/ 18486783 h 18486783"/>
              <a:gd name="connsiteX13" fmla="*/ 19134163 w 65507306"/>
              <a:gd name="connsiteY13" fmla="*/ 18486783 h 18486783"/>
              <a:gd name="connsiteX14" fmla="*/ 16373062 w 65507306"/>
              <a:gd name="connsiteY14" fmla="*/ 18486783 h 18486783"/>
              <a:gd name="connsiteX15" fmla="*/ 0 w 65507306"/>
              <a:gd name="connsiteY15"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07306" h="18486783">
                <a:moveTo>
                  <a:pt x="25459114" y="5733342"/>
                </a:moveTo>
                <a:lnTo>
                  <a:pt x="25459114" y="12753439"/>
                </a:lnTo>
                <a:lnTo>
                  <a:pt x="37939284" y="12753439"/>
                </a:lnTo>
                <a:lnTo>
                  <a:pt x="37939284" y="5733342"/>
                </a:lnTo>
                <a:close/>
                <a:moveTo>
                  <a:pt x="0" y="0"/>
                </a:moveTo>
                <a:lnTo>
                  <a:pt x="19134163" y="0"/>
                </a:lnTo>
                <a:lnTo>
                  <a:pt x="19134163" y="0"/>
                </a:lnTo>
                <a:lnTo>
                  <a:pt x="46373142" y="0"/>
                </a:lnTo>
                <a:lnTo>
                  <a:pt x="47025338" y="0"/>
                </a:lnTo>
                <a:lnTo>
                  <a:pt x="65507306" y="0"/>
                </a:lnTo>
                <a:lnTo>
                  <a:pt x="65507306" y="18486783"/>
                </a:lnTo>
                <a:lnTo>
                  <a:pt x="47025338" y="18486783"/>
                </a:lnTo>
                <a:lnTo>
                  <a:pt x="46373142" y="18486783"/>
                </a:lnTo>
                <a:lnTo>
                  <a:pt x="19134163" y="18486783"/>
                </a:lnTo>
                <a:lnTo>
                  <a:pt x="16373062"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72762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85F70B65-B2AA-8816-E75B-74013D8D08FE}"/>
            </a:ext>
          </a:extLst>
        </p:cNvPr>
        <p:cNvGrpSpPr/>
        <p:nvPr/>
      </p:nvGrpSpPr>
      <p:grpSpPr>
        <a:xfrm>
          <a:off x="0" y="0"/>
          <a:ext cx="0" cy="0"/>
          <a:chOff x="0" y="0"/>
          <a:chExt cx="0" cy="0"/>
        </a:xfrm>
      </p:grpSpPr>
      <p:pic>
        <p:nvPicPr>
          <p:cNvPr id="5" name="!!Redo_BG">
            <a:extLst>
              <a:ext uri="{FF2B5EF4-FFF2-40B4-BE49-F238E27FC236}">
                <a16:creationId xmlns:a16="http://schemas.microsoft.com/office/drawing/2014/main" id="{91F55727-7940-2C90-2656-8CC62516F1F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90" y="-1"/>
            <a:ext cx="21593253" cy="12148457"/>
          </a:xfrm>
          <a:prstGeom prst="rect">
            <a:avLst/>
          </a:prstGeom>
        </p:spPr>
      </p:pic>
      <p:sp>
        <p:nvSpPr>
          <p:cNvPr id="42" name="!!Rectangle 41">
            <a:extLst>
              <a:ext uri="{FF2B5EF4-FFF2-40B4-BE49-F238E27FC236}">
                <a16:creationId xmlns:a16="http://schemas.microsoft.com/office/drawing/2014/main" id="{A6FA8E42-1BB5-7534-9858-3DBCECD23A42}"/>
              </a:ext>
            </a:extLst>
          </p:cNvPr>
          <p:cNvSpPr/>
          <p:nvPr/>
        </p:nvSpPr>
        <p:spPr>
          <a:xfrm>
            <a:off x="0" y="0"/>
            <a:ext cx="12192000" cy="6858000"/>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5042E6DE-5086-8D5A-CF12-FAD71E117754}"/>
              </a:ext>
            </a:extLst>
          </p:cNvPr>
          <p:cNvSpPr>
            <a:spLocks noGrp="1"/>
          </p:cNvSpPr>
          <p:nvPr>
            <p:ph type="title"/>
          </p:nvPr>
        </p:nvSpPr>
        <p:spPr/>
        <p:txBody>
          <a:bodyPr/>
          <a:lstStyle/>
          <a:p>
            <a:r>
              <a:rPr lang="en-US" dirty="0" err="1">
                <a:solidFill>
                  <a:schemeClr val="bg1"/>
                </a:solidFill>
              </a:rPr>
              <a:t>Projektet</a:t>
            </a:r>
            <a:r>
              <a:rPr lang="en-US" dirty="0">
                <a:solidFill>
                  <a:schemeClr val="bg1"/>
                </a:solidFill>
              </a:rPr>
              <a:t> </a:t>
            </a:r>
            <a:r>
              <a:rPr lang="en-US" dirty="0" err="1">
                <a:solidFill>
                  <a:schemeClr val="bg1"/>
                </a:solidFill>
              </a:rPr>
              <a:t>visar</a:t>
            </a:r>
            <a:r>
              <a:rPr lang="en-US" dirty="0">
                <a:solidFill>
                  <a:schemeClr val="bg1"/>
                </a:solidFill>
              </a:rPr>
              <a:t> </a:t>
            </a:r>
            <a:r>
              <a:rPr lang="en-US" dirty="0" err="1">
                <a:solidFill>
                  <a:schemeClr val="bg1"/>
                </a:solidFill>
              </a:rPr>
              <a:t>att</a:t>
            </a:r>
            <a:r>
              <a:rPr lang="en-US" dirty="0">
                <a:solidFill>
                  <a:schemeClr val="bg1"/>
                </a:solidFill>
              </a:rPr>
              <a:t> LRC-</a:t>
            </a:r>
            <a:r>
              <a:rPr lang="en-US" dirty="0" err="1">
                <a:solidFill>
                  <a:schemeClr val="bg1"/>
                </a:solidFill>
              </a:rPr>
              <a:t>tekniken</a:t>
            </a:r>
            <a:r>
              <a:rPr lang="en-US" dirty="0">
                <a:solidFill>
                  <a:schemeClr val="bg1"/>
                </a:solidFill>
              </a:rPr>
              <a:t> </a:t>
            </a:r>
            <a:br>
              <a:rPr lang="en-US" dirty="0">
                <a:solidFill>
                  <a:schemeClr val="bg1"/>
                </a:solidFill>
              </a:rPr>
            </a:br>
            <a:r>
              <a:rPr lang="en-US" dirty="0">
                <a:solidFill>
                  <a:schemeClr val="bg1"/>
                </a:solidFill>
              </a:rPr>
              <a:t>för </a:t>
            </a:r>
            <a:r>
              <a:rPr lang="en-US" dirty="0" err="1">
                <a:solidFill>
                  <a:schemeClr val="bg1"/>
                </a:solidFill>
              </a:rPr>
              <a:t>storskalig</a:t>
            </a:r>
            <a:r>
              <a:rPr lang="en-US" dirty="0">
                <a:solidFill>
                  <a:schemeClr val="bg1"/>
                </a:solidFill>
              </a:rPr>
              <a:t> </a:t>
            </a:r>
            <a:r>
              <a:rPr lang="en-US" dirty="0" err="1">
                <a:solidFill>
                  <a:schemeClr val="bg1"/>
                </a:solidFill>
              </a:rPr>
              <a:t>vätgaslagring</a:t>
            </a:r>
            <a:r>
              <a:rPr lang="en-US" dirty="0">
                <a:solidFill>
                  <a:schemeClr val="bg1"/>
                </a:solidFill>
              </a:rPr>
              <a:t>:</a:t>
            </a:r>
          </a:p>
        </p:txBody>
      </p:sp>
      <p:grpSp>
        <p:nvGrpSpPr>
          <p:cNvPr id="29" name="!!Pusselbit">
            <a:extLst>
              <a:ext uri="{FF2B5EF4-FFF2-40B4-BE49-F238E27FC236}">
                <a16:creationId xmlns:a16="http://schemas.microsoft.com/office/drawing/2014/main" id="{788B4DE4-33F2-6242-0B9D-7C9BE0A1170B}"/>
              </a:ext>
            </a:extLst>
          </p:cNvPr>
          <p:cNvGrpSpPr/>
          <p:nvPr/>
        </p:nvGrpSpPr>
        <p:grpSpPr>
          <a:xfrm>
            <a:off x="8140700" y="2219223"/>
            <a:ext cx="3505200" cy="3600552"/>
            <a:chOff x="8140700" y="2219223"/>
            <a:chExt cx="3505200" cy="3600552"/>
          </a:xfrm>
        </p:grpSpPr>
        <p:sp>
          <p:nvSpPr>
            <p:cNvPr id="7" name="Rectangle 6">
              <a:extLst>
                <a:ext uri="{FF2B5EF4-FFF2-40B4-BE49-F238E27FC236}">
                  <a16:creationId xmlns:a16="http://schemas.microsoft.com/office/drawing/2014/main" id="{FD02A333-B159-37E2-46E4-DEA0F8531429}"/>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7" name="TextBox 16">
              <a:extLst>
                <a:ext uri="{FF2B5EF4-FFF2-40B4-BE49-F238E27FC236}">
                  <a16:creationId xmlns:a16="http://schemas.microsoft.com/office/drawing/2014/main" id="{16E63DF8-B247-2863-D211-574654CA01F3}"/>
                </a:ext>
              </a:extLst>
            </p:cNvPr>
            <p:cNvSpPr txBox="1"/>
            <p:nvPr/>
          </p:nvSpPr>
          <p:spPr>
            <a:xfrm>
              <a:off x="8275169" y="4833570"/>
              <a:ext cx="3236262" cy="923330"/>
            </a:xfrm>
            <a:prstGeom prst="rect">
              <a:avLst/>
            </a:prstGeom>
            <a:noFill/>
          </p:spPr>
          <p:txBody>
            <a:bodyPr wrap="square">
              <a:spAutoFit/>
            </a:bodyPr>
            <a:lstStyle/>
            <a:p>
              <a:pPr algn="ctr">
                <a:lnSpc>
                  <a:spcPct val="90000"/>
                </a:lnSpc>
              </a:pPr>
              <a:r>
                <a:rPr lang="sv-SE" sz="2000" dirty="0">
                  <a:solidFill>
                    <a:schemeClr val="accent5"/>
                  </a:solidFill>
                </a:rPr>
                <a:t>Är en viktig pusselbit </a:t>
              </a:r>
              <a:br>
                <a:rPr lang="sv-SE" sz="2000" dirty="0">
                  <a:solidFill>
                    <a:schemeClr val="accent5"/>
                  </a:solidFill>
                </a:rPr>
              </a:br>
              <a:r>
                <a:rPr lang="sv-SE" sz="2000" dirty="0">
                  <a:solidFill>
                    <a:schemeClr val="accent5"/>
                  </a:solidFill>
                </a:rPr>
                <a:t>för omställningen till ett fossilfritt samhälle  </a:t>
              </a:r>
            </a:p>
          </p:txBody>
        </p:sp>
        <p:pic>
          <p:nvPicPr>
            <p:cNvPr id="26" name="Picture 25" descr="Smoke and smoke from a factory&#10;&#10;AI-generated content may be incorrect.">
              <a:extLst>
                <a:ext uri="{FF2B5EF4-FFF2-40B4-BE49-F238E27FC236}">
                  <a16:creationId xmlns:a16="http://schemas.microsoft.com/office/drawing/2014/main" id="{0AAFCD49-590A-C204-B3F0-22F75B015D76}"/>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28" name="!!Ärtestad">
            <a:extLst>
              <a:ext uri="{FF2B5EF4-FFF2-40B4-BE49-F238E27FC236}">
                <a16:creationId xmlns:a16="http://schemas.microsoft.com/office/drawing/2014/main" id="{7615A771-B40E-F96C-4A01-3FB3A5A4AED4}"/>
              </a:ext>
            </a:extLst>
          </p:cNvPr>
          <p:cNvGrpSpPr/>
          <p:nvPr/>
        </p:nvGrpSpPr>
        <p:grpSpPr>
          <a:xfrm>
            <a:off x="4343400" y="2219223"/>
            <a:ext cx="3505200" cy="3600552"/>
            <a:chOff x="4343400" y="2219223"/>
            <a:chExt cx="3505200" cy="3600552"/>
          </a:xfrm>
        </p:grpSpPr>
        <p:sp>
          <p:nvSpPr>
            <p:cNvPr id="6" name="Rectangle 5">
              <a:extLst>
                <a:ext uri="{FF2B5EF4-FFF2-40B4-BE49-F238E27FC236}">
                  <a16:creationId xmlns:a16="http://schemas.microsoft.com/office/drawing/2014/main" id="{D255781C-36F8-882B-042C-A23FEF347E63}"/>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4" name="TextBox 13">
              <a:extLst>
                <a:ext uri="{FF2B5EF4-FFF2-40B4-BE49-F238E27FC236}">
                  <a16:creationId xmlns:a16="http://schemas.microsoft.com/office/drawing/2014/main" id="{8629D278-F1D0-E91D-3593-C2909877543D}"/>
                </a:ext>
              </a:extLst>
            </p:cNvPr>
            <p:cNvSpPr txBox="1"/>
            <p:nvPr/>
          </p:nvSpPr>
          <p:spPr>
            <a:xfrm>
              <a:off x="4477869" y="4833570"/>
              <a:ext cx="3236262" cy="371064"/>
            </a:xfrm>
            <a:prstGeom prst="rect">
              <a:avLst/>
            </a:prstGeom>
            <a:noFill/>
          </p:spPr>
          <p:txBody>
            <a:bodyPr wrap="square">
              <a:spAutoFit/>
            </a:bodyPr>
            <a:lstStyle/>
            <a:p>
              <a:pPr algn="ctr">
                <a:lnSpc>
                  <a:spcPct val="90000"/>
                </a:lnSpc>
              </a:pPr>
              <a:r>
                <a:rPr lang="sv-SE" sz="2000" dirty="0">
                  <a:solidFill>
                    <a:schemeClr val="accent5"/>
                  </a:solidFill>
                </a:rPr>
                <a:t>Är testad och säker</a:t>
              </a:r>
            </a:p>
          </p:txBody>
        </p:sp>
        <p:pic>
          <p:nvPicPr>
            <p:cNvPr id="22" name="Picture 21">
              <a:extLst>
                <a:ext uri="{FF2B5EF4-FFF2-40B4-BE49-F238E27FC236}">
                  <a16:creationId xmlns:a16="http://schemas.microsoft.com/office/drawing/2014/main" id="{52F406FC-DE6C-BE25-E48F-29E8AED50253}"/>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27" name="!!Finnstillgänglig">
            <a:extLst>
              <a:ext uri="{FF2B5EF4-FFF2-40B4-BE49-F238E27FC236}">
                <a16:creationId xmlns:a16="http://schemas.microsoft.com/office/drawing/2014/main" id="{70DA57E8-48C0-314A-27C7-5DDB37411A2C}"/>
              </a:ext>
            </a:extLst>
          </p:cNvPr>
          <p:cNvGrpSpPr/>
          <p:nvPr/>
        </p:nvGrpSpPr>
        <p:grpSpPr>
          <a:xfrm>
            <a:off x="546100" y="2219223"/>
            <a:ext cx="3505200" cy="3600552"/>
            <a:chOff x="546100" y="2219223"/>
            <a:chExt cx="3505200" cy="3600552"/>
          </a:xfrm>
        </p:grpSpPr>
        <p:sp>
          <p:nvSpPr>
            <p:cNvPr id="3" name="Rectangle 2">
              <a:extLst>
                <a:ext uri="{FF2B5EF4-FFF2-40B4-BE49-F238E27FC236}">
                  <a16:creationId xmlns:a16="http://schemas.microsoft.com/office/drawing/2014/main" id="{66F4D767-5E02-93A6-D6C1-9164FB3E66F8}"/>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1" name="TextBox 10">
              <a:extLst>
                <a:ext uri="{FF2B5EF4-FFF2-40B4-BE49-F238E27FC236}">
                  <a16:creationId xmlns:a16="http://schemas.microsoft.com/office/drawing/2014/main" id="{3B912FD1-DDC3-1609-EB80-702FA0D49347}"/>
                </a:ext>
              </a:extLst>
            </p:cNvPr>
            <p:cNvSpPr txBox="1"/>
            <p:nvPr/>
          </p:nvSpPr>
          <p:spPr>
            <a:xfrm>
              <a:off x="680570" y="4833570"/>
              <a:ext cx="3236262" cy="371064"/>
            </a:xfrm>
            <a:prstGeom prst="rect">
              <a:avLst/>
            </a:prstGeom>
            <a:noFill/>
          </p:spPr>
          <p:txBody>
            <a:bodyPr wrap="square">
              <a:spAutoFit/>
            </a:bodyPr>
            <a:lstStyle/>
            <a:p>
              <a:pPr algn="ctr">
                <a:lnSpc>
                  <a:spcPct val="90000"/>
                </a:lnSpc>
              </a:pPr>
              <a:r>
                <a:rPr lang="sv-SE" sz="2000" dirty="0">
                  <a:solidFill>
                    <a:schemeClr val="accent5"/>
                  </a:solidFill>
                </a:rPr>
                <a:t>Finns tillgänglig</a:t>
              </a:r>
            </a:p>
          </p:txBody>
        </p:sp>
        <p:pic>
          <p:nvPicPr>
            <p:cNvPr id="20" name="Picture 19">
              <a:extLst>
                <a:ext uri="{FF2B5EF4-FFF2-40B4-BE49-F238E27FC236}">
                  <a16:creationId xmlns:a16="http://schemas.microsoft.com/office/drawing/2014/main" id="{0C5C23B1-26E6-029B-9426-FA3BD81F75E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0" name="!!Mogenförnästa">
            <a:extLst>
              <a:ext uri="{FF2B5EF4-FFF2-40B4-BE49-F238E27FC236}">
                <a16:creationId xmlns:a16="http://schemas.microsoft.com/office/drawing/2014/main" id="{A140D227-C219-FF19-159A-121C3FCC0340}"/>
              </a:ext>
            </a:extLst>
          </p:cNvPr>
          <p:cNvGrpSpPr/>
          <p:nvPr/>
        </p:nvGrpSpPr>
        <p:grpSpPr>
          <a:xfrm>
            <a:off x="13713576" y="2219325"/>
            <a:ext cx="3505200" cy="3600552"/>
            <a:chOff x="8140700" y="2219223"/>
            <a:chExt cx="3505200" cy="3600552"/>
          </a:xfrm>
        </p:grpSpPr>
        <p:sp>
          <p:nvSpPr>
            <p:cNvPr id="31" name="Rectangle 30">
              <a:extLst>
                <a:ext uri="{FF2B5EF4-FFF2-40B4-BE49-F238E27FC236}">
                  <a16:creationId xmlns:a16="http://schemas.microsoft.com/office/drawing/2014/main" id="{01BDB6DF-C739-244A-4361-21AAB1C5C7B6}"/>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2" name="TextBox 31">
              <a:extLst>
                <a:ext uri="{FF2B5EF4-FFF2-40B4-BE49-F238E27FC236}">
                  <a16:creationId xmlns:a16="http://schemas.microsoft.com/office/drawing/2014/main" id="{0FAF77FD-BD2F-0DA0-A2A8-1E5CF1276596}"/>
                </a:ext>
              </a:extLst>
            </p:cNvPr>
            <p:cNvSpPr txBox="1"/>
            <p:nvPr/>
          </p:nvSpPr>
          <p:spPr>
            <a:xfrm>
              <a:off x="8275169" y="4833570"/>
              <a:ext cx="3236262" cy="592535"/>
            </a:xfrm>
            <a:prstGeom prst="rect">
              <a:avLst/>
            </a:prstGeom>
            <a:noFill/>
          </p:spPr>
          <p:txBody>
            <a:bodyPr wrap="square">
              <a:spAutoFit/>
            </a:bodyPr>
            <a:lstStyle/>
            <a:p>
              <a:pPr algn="ctr">
                <a:lnSpc>
                  <a:spcPct val="90000"/>
                </a:lnSpc>
              </a:pPr>
              <a:r>
                <a:rPr lang="sv-SE" dirty="0">
                  <a:solidFill>
                    <a:schemeClr val="accent5"/>
                  </a:solidFill>
                </a:rPr>
                <a:t>Är mogen </a:t>
              </a:r>
              <a:br>
                <a:rPr lang="sv-SE" dirty="0">
                  <a:solidFill>
                    <a:schemeClr val="accent5"/>
                  </a:solidFill>
                </a:rPr>
              </a:br>
              <a:r>
                <a:rPr lang="sv-SE" dirty="0">
                  <a:solidFill>
                    <a:schemeClr val="accent5"/>
                  </a:solidFill>
                </a:rPr>
                <a:t>för nästa steg</a:t>
              </a:r>
            </a:p>
          </p:txBody>
        </p:sp>
        <p:pic>
          <p:nvPicPr>
            <p:cNvPr id="33" name="Picture 32">
              <a:extLst>
                <a:ext uri="{FF2B5EF4-FFF2-40B4-BE49-F238E27FC236}">
                  <a16:creationId xmlns:a16="http://schemas.microsoft.com/office/drawing/2014/main" id="{A372605D-7F10-0043-2438-F95DC313F192}"/>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4" name="!!Ökaförnybar">
            <a:extLst>
              <a:ext uri="{FF2B5EF4-FFF2-40B4-BE49-F238E27FC236}">
                <a16:creationId xmlns:a16="http://schemas.microsoft.com/office/drawing/2014/main" id="{8EA18E51-BDE2-5489-E5C9-DB139F485A91}"/>
              </a:ext>
            </a:extLst>
          </p:cNvPr>
          <p:cNvGrpSpPr/>
          <p:nvPr/>
        </p:nvGrpSpPr>
        <p:grpSpPr>
          <a:xfrm>
            <a:off x="13713576" y="2219325"/>
            <a:ext cx="3505200" cy="3600552"/>
            <a:chOff x="4343400" y="2219223"/>
            <a:chExt cx="3505200" cy="3600552"/>
          </a:xfrm>
        </p:grpSpPr>
        <p:sp>
          <p:nvSpPr>
            <p:cNvPr id="35" name="Rectangle 34">
              <a:extLst>
                <a:ext uri="{FF2B5EF4-FFF2-40B4-BE49-F238E27FC236}">
                  <a16:creationId xmlns:a16="http://schemas.microsoft.com/office/drawing/2014/main" id="{21C059E6-8C6B-98B7-5E06-5641D0910235}"/>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6" name="TextBox 35">
              <a:extLst>
                <a:ext uri="{FF2B5EF4-FFF2-40B4-BE49-F238E27FC236}">
                  <a16:creationId xmlns:a16="http://schemas.microsoft.com/office/drawing/2014/main" id="{DB4A96FF-E451-1AF1-BE5A-086758D8F09D}"/>
                </a:ext>
              </a:extLst>
            </p:cNvPr>
            <p:cNvSpPr txBox="1"/>
            <p:nvPr/>
          </p:nvSpPr>
          <p:spPr>
            <a:xfrm>
              <a:off x="4477869" y="4833570"/>
              <a:ext cx="3236262" cy="592535"/>
            </a:xfrm>
            <a:prstGeom prst="rect">
              <a:avLst/>
            </a:prstGeom>
            <a:noFill/>
          </p:spPr>
          <p:txBody>
            <a:bodyPr wrap="square">
              <a:spAutoFit/>
            </a:bodyPr>
            <a:lstStyle/>
            <a:p>
              <a:pPr algn="ctr">
                <a:lnSpc>
                  <a:spcPct val="90000"/>
                </a:lnSpc>
              </a:pPr>
              <a:r>
                <a:rPr lang="sv-SE" dirty="0">
                  <a:solidFill>
                    <a:schemeClr val="accent5"/>
                  </a:solidFill>
                </a:rPr>
                <a:t>Gynnar investering i alla fossilfria kraftslag</a:t>
              </a:r>
            </a:p>
          </p:txBody>
        </p:sp>
        <p:pic>
          <p:nvPicPr>
            <p:cNvPr id="37" name="Picture 36">
              <a:extLst>
                <a:ext uri="{FF2B5EF4-FFF2-40B4-BE49-F238E27FC236}">
                  <a16:creationId xmlns:a16="http://schemas.microsoft.com/office/drawing/2014/main" id="{003C022C-58BA-BE95-C517-60638720CC1D}"/>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8" name="!!Kanbidratill">
            <a:extLst>
              <a:ext uri="{FF2B5EF4-FFF2-40B4-BE49-F238E27FC236}">
                <a16:creationId xmlns:a16="http://schemas.microsoft.com/office/drawing/2014/main" id="{91FC8A68-F40D-EAFC-60CB-DCBCA7B39195}"/>
              </a:ext>
            </a:extLst>
          </p:cNvPr>
          <p:cNvGrpSpPr/>
          <p:nvPr/>
        </p:nvGrpSpPr>
        <p:grpSpPr>
          <a:xfrm>
            <a:off x="13713576" y="2219325"/>
            <a:ext cx="3505200" cy="3600552"/>
            <a:chOff x="546100" y="2219223"/>
            <a:chExt cx="3505200" cy="3600552"/>
          </a:xfrm>
        </p:grpSpPr>
        <p:sp>
          <p:nvSpPr>
            <p:cNvPr id="39" name="Rectangle 38">
              <a:extLst>
                <a:ext uri="{FF2B5EF4-FFF2-40B4-BE49-F238E27FC236}">
                  <a16:creationId xmlns:a16="http://schemas.microsoft.com/office/drawing/2014/main" id="{25D7AFA6-AEF1-61D8-32C5-C6C2D6B681B8}"/>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40" name="TextBox 39">
              <a:extLst>
                <a:ext uri="{FF2B5EF4-FFF2-40B4-BE49-F238E27FC236}">
                  <a16:creationId xmlns:a16="http://schemas.microsoft.com/office/drawing/2014/main" id="{18BFDCB4-990B-23E1-3F5F-2C655B6BFAE1}"/>
                </a:ext>
              </a:extLst>
            </p:cNvPr>
            <p:cNvSpPr txBox="1"/>
            <p:nvPr/>
          </p:nvSpPr>
          <p:spPr>
            <a:xfrm>
              <a:off x="680570" y="4833570"/>
              <a:ext cx="3236262" cy="590931"/>
            </a:xfrm>
            <a:prstGeom prst="rect">
              <a:avLst/>
            </a:prstGeom>
            <a:noFill/>
          </p:spPr>
          <p:txBody>
            <a:bodyPr wrap="square">
              <a:spAutoFit/>
            </a:bodyPr>
            <a:lstStyle/>
            <a:p>
              <a:pPr algn="ctr">
                <a:lnSpc>
                  <a:spcPct val="90000"/>
                </a:lnSpc>
              </a:pPr>
              <a:r>
                <a:rPr lang="sv-SE" dirty="0">
                  <a:solidFill>
                    <a:schemeClr val="accent5"/>
                  </a:solidFill>
                </a:rPr>
                <a:t>Kan bidra till ett</a:t>
              </a:r>
              <a:br>
                <a:rPr lang="sv-SE" dirty="0">
                  <a:solidFill>
                    <a:schemeClr val="accent5"/>
                  </a:solidFill>
                </a:rPr>
              </a:br>
              <a:r>
                <a:rPr lang="sv-SE" dirty="0">
                  <a:solidFill>
                    <a:schemeClr val="accent5"/>
                  </a:solidFill>
                </a:rPr>
                <a:t>mer robust elsystem  </a:t>
              </a:r>
            </a:p>
          </p:txBody>
        </p:sp>
        <p:pic>
          <p:nvPicPr>
            <p:cNvPr id="41" name="Picture 40">
              <a:extLst>
                <a:ext uri="{FF2B5EF4-FFF2-40B4-BE49-F238E27FC236}">
                  <a16:creationId xmlns:a16="http://schemas.microsoft.com/office/drawing/2014/main" id="{6F8DCEA8-8569-B855-7D38-0349EA8C0832}"/>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44" name="!!Hybrit_logo">
            <a:extLst>
              <a:ext uri="{FF2B5EF4-FFF2-40B4-BE49-F238E27FC236}">
                <a16:creationId xmlns:a16="http://schemas.microsoft.com/office/drawing/2014/main" id="{0874014E-2644-71A8-E463-D9C49A7BED90}"/>
              </a:ext>
            </a:extLst>
          </p:cNvPr>
          <p:cNvGrpSpPr/>
          <p:nvPr/>
        </p:nvGrpSpPr>
        <p:grpSpPr>
          <a:xfrm>
            <a:off x="10823330" y="6338104"/>
            <a:ext cx="1018484" cy="320220"/>
            <a:chOff x="1343025" y="-3013943"/>
            <a:chExt cx="7772399" cy="2443714"/>
          </a:xfrm>
          <a:solidFill>
            <a:schemeClr val="bg1"/>
          </a:solidFill>
        </p:grpSpPr>
        <p:sp>
          <p:nvSpPr>
            <p:cNvPr id="45" name="Freeform 44">
              <a:extLst>
                <a:ext uri="{FF2B5EF4-FFF2-40B4-BE49-F238E27FC236}">
                  <a16:creationId xmlns:a16="http://schemas.microsoft.com/office/drawing/2014/main" id="{964D4B7A-C23A-D585-8366-7189E217A291}"/>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107DAACF-8969-CB5A-F6B3-3971216085F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3FFA98B6-4F70-990B-A982-3539AB4DE376}"/>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49" name="Freeform 48">
              <a:extLst>
                <a:ext uri="{FF2B5EF4-FFF2-40B4-BE49-F238E27FC236}">
                  <a16:creationId xmlns:a16="http://schemas.microsoft.com/office/drawing/2014/main" id="{8CBE2727-7762-6C71-715A-20B7EFA34A00}"/>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50" name="Freeform 49">
              <a:extLst>
                <a:ext uri="{FF2B5EF4-FFF2-40B4-BE49-F238E27FC236}">
                  <a16:creationId xmlns:a16="http://schemas.microsoft.com/office/drawing/2014/main" id="{A96B4BE1-57A1-FA1E-FEE6-F9392DF6CB26}"/>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8" name="!!mask2">
            <a:extLst>
              <a:ext uri="{FF2B5EF4-FFF2-40B4-BE49-F238E27FC236}">
                <a16:creationId xmlns:a16="http://schemas.microsoft.com/office/drawing/2014/main" id="{4F0C663D-A630-9206-D027-6ABABD4BCC2A}"/>
              </a:ext>
            </a:extLst>
          </p:cNvPr>
          <p:cNvSpPr>
            <a:spLocks noGrp="1" noRot="1" noMove="1" noResize="1" noEditPoints="1" noAdjustHandles="1" noChangeArrowheads="1" noChangeShapeType="1"/>
          </p:cNvSpPr>
          <p:nvPr/>
        </p:nvSpPr>
        <p:spPr>
          <a:xfrm>
            <a:off x="-25603199" y="-5814390"/>
            <a:ext cx="65507306" cy="18486783"/>
          </a:xfrm>
          <a:custGeom>
            <a:avLst/>
            <a:gdLst>
              <a:gd name="connsiteX0" fmla="*/ 25459114 w 65507306"/>
              <a:gd name="connsiteY0" fmla="*/ 5733342 h 18486783"/>
              <a:gd name="connsiteX1" fmla="*/ 25459114 w 65507306"/>
              <a:gd name="connsiteY1" fmla="*/ 12753439 h 18486783"/>
              <a:gd name="connsiteX2" fmla="*/ 37939284 w 65507306"/>
              <a:gd name="connsiteY2" fmla="*/ 12753439 h 18486783"/>
              <a:gd name="connsiteX3" fmla="*/ 37939284 w 65507306"/>
              <a:gd name="connsiteY3" fmla="*/ 5733342 h 18486783"/>
              <a:gd name="connsiteX4" fmla="*/ 0 w 65507306"/>
              <a:gd name="connsiteY4" fmla="*/ 0 h 18486783"/>
              <a:gd name="connsiteX5" fmla="*/ 19134163 w 65507306"/>
              <a:gd name="connsiteY5" fmla="*/ 0 h 18486783"/>
              <a:gd name="connsiteX6" fmla="*/ 19134163 w 65507306"/>
              <a:gd name="connsiteY6" fmla="*/ 0 h 18486783"/>
              <a:gd name="connsiteX7" fmla="*/ 46373142 w 65507306"/>
              <a:gd name="connsiteY7" fmla="*/ 0 h 18486783"/>
              <a:gd name="connsiteX8" fmla="*/ 47025338 w 65507306"/>
              <a:gd name="connsiteY8" fmla="*/ 0 h 18486783"/>
              <a:gd name="connsiteX9" fmla="*/ 65507306 w 65507306"/>
              <a:gd name="connsiteY9" fmla="*/ 0 h 18486783"/>
              <a:gd name="connsiteX10" fmla="*/ 65507306 w 65507306"/>
              <a:gd name="connsiteY10" fmla="*/ 18486783 h 18486783"/>
              <a:gd name="connsiteX11" fmla="*/ 47025338 w 65507306"/>
              <a:gd name="connsiteY11" fmla="*/ 18486783 h 18486783"/>
              <a:gd name="connsiteX12" fmla="*/ 46373142 w 65507306"/>
              <a:gd name="connsiteY12" fmla="*/ 18486783 h 18486783"/>
              <a:gd name="connsiteX13" fmla="*/ 19134163 w 65507306"/>
              <a:gd name="connsiteY13" fmla="*/ 18486783 h 18486783"/>
              <a:gd name="connsiteX14" fmla="*/ 16373062 w 65507306"/>
              <a:gd name="connsiteY14" fmla="*/ 18486783 h 18486783"/>
              <a:gd name="connsiteX15" fmla="*/ 0 w 65507306"/>
              <a:gd name="connsiteY15"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07306" h="18486783">
                <a:moveTo>
                  <a:pt x="25459114" y="5733342"/>
                </a:moveTo>
                <a:lnTo>
                  <a:pt x="25459114" y="12753439"/>
                </a:lnTo>
                <a:lnTo>
                  <a:pt x="37939284" y="12753439"/>
                </a:lnTo>
                <a:lnTo>
                  <a:pt x="37939284" y="5733342"/>
                </a:lnTo>
                <a:close/>
                <a:moveTo>
                  <a:pt x="0" y="0"/>
                </a:moveTo>
                <a:lnTo>
                  <a:pt x="19134163" y="0"/>
                </a:lnTo>
                <a:lnTo>
                  <a:pt x="19134163" y="0"/>
                </a:lnTo>
                <a:lnTo>
                  <a:pt x="46373142" y="0"/>
                </a:lnTo>
                <a:lnTo>
                  <a:pt x="47025338" y="0"/>
                </a:lnTo>
                <a:lnTo>
                  <a:pt x="65507306" y="0"/>
                </a:lnTo>
                <a:lnTo>
                  <a:pt x="65507306" y="18486783"/>
                </a:lnTo>
                <a:lnTo>
                  <a:pt x="47025338" y="18486783"/>
                </a:lnTo>
                <a:lnTo>
                  <a:pt x="46373142" y="18486783"/>
                </a:lnTo>
                <a:lnTo>
                  <a:pt x="19134163" y="18486783"/>
                </a:lnTo>
                <a:lnTo>
                  <a:pt x="16373062"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9067370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85F70B65-B2AA-8816-E75B-74013D8D08FE}"/>
            </a:ext>
          </a:extLst>
        </p:cNvPr>
        <p:cNvGrpSpPr/>
        <p:nvPr/>
      </p:nvGrpSpPr>
      <p:grpSpPr>
        <a:xfrm>
          <a:off x="0" y="0"/>
          <a:ext cx="0" cy="0"/>
          <a:chOff x="0" y="0"/>
          <a:chExt cx="0" cy="0"/>
        </a:xfrm>
      </p:grpSpPr>
      <p:pic>
        <p:nvPicPr>
          <p:cNvPr id="23" name="!!Redo_BG">
            <a:extLst>
              <a:ext uri="{FF2B5EF4-FFF2-40B4-BE49-F238E27FC236}">
                <a16:creationId xmlns:a16="http://schemas.microsoft.com/office/drawing/2014/main" id="{75236E1F-7BA8-05B2-D7D9-D94DB4CAF13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90" y="-1"/>
            <a:ext cx="21593253" cy="12148457"/>
          </a:xfrm>
          <a:prstGeom prst="rect">
            <a:avLst/>
          </a:prstGeom>
        </p:spPr>
      </p:pic>
      <p:sp>
        <p:nvSpPr>
          <p:cNvPr id="29" name="!!Rectangle 41">
            <a:extLst>
              <a:ext uri="{FF2B5EF4-FFF2-40B4-BE49-F238E27FC236}">
                <a16:creationId xmlns:a16="http://schemas.microsoft.com/office/drawing/2014/main" id="{CE96F319-D85B-B901-0602-D27FD3393070}"/>
              </a:ext>
            </a:extLst>
          </p:cNvPr>
          <p:cNvSpPr/>
          <p:nvPr/>
        </p:nvSpPr>
        <p:spPr>
          <a:xfrm>
            <a:off x="0" y="0"/>
            <a:ext cx="12192000" cy="6858000"/>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5042E6DE-5086-8D5A-CF12-FAD71E117754}"/>
              </a:ext>
            </a:extLst>
          </p:cNvPr>
          <p:cNvSpPr>
            <a:spLocks noGrp="1"/>
          </p:cNvSpPr>
          <p:nvPr>
            <p:ph type="title"/>
          </p:nvPr>
        </p:nvSpPr>
        <p:spPr/>
        <p:txBody>
          <a:bodyPr/>
          <a:lstStyle/>
          <a:p>
            <a:r>
              <a:rPr lang="en-US" dirty="0" err="1">
                <a:solidFill>
                  <a:schemeClr val="bg1"/>
                </a:solidFill>
              </a:rPr>
              <a:t>Projektet</a:t>
            </a:r>
            <a:r>
              <a:rPr lang="en-US" dirty="0">
                <a:solidFill>
                  <a:schemeClr val="bg1"/>
                </a:solidFill>
              </a:rPr>
              <a:t> </a:t>
            </a:r>
            <a:r>
              <a:rPr lang="en-US" dirty="0" err="1">
                <a:solidFill>
                  <a:schemeClr val="bg1"/>
                </a:solidFill>
              </a:rPr>
              <a:t>visar</a:t>
            </a:r>
            <a:r>
              <a:rPr lang="en-US" dirty="0">
                <a:solidFill>
                  <a:schemeClr val="bg1"/>
                </a:solidFill>
              </a:rPr>
              <a:t> </a:t>
            </a:r>
            <a:r>
              <a:rPr lang="en-US" dirty="0" err="1">
                <a:solidFill>
                  <a:schemeClr val="bg1"/>
                </a:solidFill>
              </a:rPr>
              <a:t>att</a:t>
            </a:r>
            <a:r>
              <a:rPr lang="en-US" dirty="0">
                <a:solidFill>
                  <a:schemeClr val="bg1"/>
                </a:solidFill>
              </a:rPr>
              <a:t> LRC-</a:t>
            </a:r>
            <a:r>
              <a:rPr lang="en-US" dirty="0" err="1">
                <a:solidFill>
                  <a:schemeClr val="bg1"/>
                </a:solidFill>
              </a:rPr>
              <a:t>tekniken</a:t>
            </a:r>
            <a:r>
              <a:rPr lang="en-US" dirty="0">
                <a:solidFill>
                  <a:schemeClr val="bg1"/>
                </a:solidFill>
              </a:rPr>
              <a:t> </a:t>
            </a:r>
            <a:br>
              <a:rPr lang="en-US" dirty="0">
                <a:solidFill>
                  <a:schemeClr val="bg1"/>
                </a:solidFill>
              </a:rPr>
            </a:br>
            <a:r>
              <a:rPr lang="en-US" dirty="0">
                <a:solidFill>
                  <a:schemeClr val="bg1"/>
                </a:solidFill>
              </a:rPr>
              <a:t>för </a:t>
            </a:r>
            <a:r>
              <a:rPr lang="en-US" dirty="0" err="1">
                <a:solidFill>
                  <a:schemeClr val="bg1"/>
                </a:solidFill>
              </a:rPr>
              <a:t>storskalig</a:t>
            </a:r>
            <a:r>
              <a:rPr lang="en-US" dirty="0">
                <a:solidFill>
                  <a:schemeClr val="bg1"/>
                </a:solidFill>
              </a:rPr>
              <a:t> </a:t>
            </a:r>
            <a:r>
              <a:rPr lang="en-US" dirty="0" err="1">
                <a:solidFill>
                  <a:schemeClr val="bg1"/>
                </a:solidFill>
              </a:rPr>
              <a:t>vätgaslagring</a:t>
            </a:r>
            <a:r>
              <a:rPr lang="en-US" dirty="0">
                <a:solidFill>
                  <a:schemeClr val="bg1"/>
                </a:solidFill>
              </a:rPr>
              <a:t>:</a:t>
            </a:r>
          </a:p>
        </p:txBody>
      </p:sp>
      <p:grpSp>
        <p:nvGrpSpPr>
          <p:cNvPr id="9" name="!!Mogenförnästa">
            <a:extLst>
              <a:ext uri="{FF2B5EF4-FFF2-40B4-BE49-F238E27FC236}">
                <a16:creationId xmlns:a16="http://schemas.microsoft.com/office/drawing/2014/main" id="{5B3640CC-65EB-0AE1-EA72-85A6CD3AC69F}"/>
              </a:ext>
            </a:extLst>
          </p:cNvPr>
          <p:cNvGrpSpPr/>
          <p:nvPr/>
        </p:nvGrpSpPr>
        <p:grpSpPr>
          <a:xfrm>
            <a:off x="8140700" y="2219223"/>
            <a:ext cx="3505200" cy="3600552"/>
            <a:chOff x="8140700" y="2219223"/>
            <a:chExt cx="3505200" cy="3600552"/>
          </a:xfrm>
        </p:grpSpPr>
        <p:sp>
          <p:nvSpPr>
            <p:cNvPr id="7" name="Rectangle 6">
              <a:extLst>
                <a:ext uri="{FF2B5EF4-FFF2-40B4-BE49-F238E27FC236}">
                  <a16:creationId xmlns:a16="http://schemas.microsoft.com/office/drawing/2014/main" id="{FD02A333-B159-37E2-46E4-DEA0F8531429}"/>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7" name="TextBox 16">
              <a:extLst>
                <a:ext uri="{FF2B5EF4-FFF2-40B4-BE49-F238E27FC236}">
                  <a16:creationId xmlns:a16="http://schemas.microsoft.com/office/drawing/2014/main" id="{16E63DF8-B247-2863-D211-574654CA01F3}"/>
                </a:ext>
              </a:extLst>
            </p:cNvPr>
            <p:cNvSpPr txBox="1"/>
            <p:nvPr/>
          </p:nvSpPr>
          <p:spPr>
            <a:xfrm>
              <a:off x="8275169" y="4833570"/>
              <a:ext cx="3236262" cy="648063"/>
            </a:xfrm>
            <a:prstGeom prst="rect">
              <a:avLst/>
            </a:prstGeom>
            <a:noFill/>
          </p:spPr>
          <p:txBody>
            <a:bodyPr wrap="square">
              <a:spAutoFit/>
            </a:bodyPr>
            <a:lstStyle/>
            <a:p>
              <a:pPr algn="ctr">
                <a:lnSpc>
                  <a:spcPct val="90000"/>
                </a:lnSpc>
              </a:pPr>
              <a:r>
                <a:rPr lang="sv-SE" sz="2000" dirty="0">
                  <a:solidFill>
                    <a:schemeClr val="accent5"/>
                  </a:solidFill>
                </a:rPr>
                <a:t>Är mogen </a:t>
              </a:r>
              <a:br>
                <a:rPr lang="sv-SE" sz="2000" dirty="0">
                  <a:solidFill>
                    <a:schemeClr val="accent5"/>
                  </a:solidFill>
                </a:rPr>
              </a:br>
              <a:r>
                <a:rPr lang="sv-SE" sz="2000" dirty="0">
                  <a:solidFill>
                    <a:schemeClr val="accent5"/>
                  </a:solidFill>
                </a:rPr>
                <a:t>för nästa steg</a:t>
              </a:r>
            </a:p>
          </p:txBody>
        </p:sp>
        <p:pic>
          <p:nvPicPr>
            <p:cNvPr id="26" name="Picture 25">
              <a:extLst>
                <a:ext uri="{FF2B5EF4-FFF2-40B4-BE49-F238E27FC236}">
                  <a16:creationId xmlns:a16="http://schemas.microsoft.com/office/drawing/2014/main" id="{0AAFCD49-590A-C204-B3F0-22F75B015D76}"/>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8" name="!!Ökaförnybar">
            <a:extLst>
              <a:ext uri="{FF2B5EF4-FFF2-40B4-BE49-F238E27FC236}">
                <a16:creationId xmlns:a16="http://schemas.microsoft.com/office/drawing/2014/main" id="{6BA08E33-FEB5-BE0D-D3DA-38F2929FCF2B}"/>
              </a:ext>
            </a:extLst>
          </p:cNvPr>
          <p:cNvGrpSpPr/>
          <p:nvPr/>
        </p:nvGrpSpPr>
        <p:grpSpPr>
          <a:xfrm>
            <a:off x="4343400" y="2219223"/>
            <a:ext cx="3505200" cy="3600552"/>
            <a:chOff x="4343400" y="2219223"/>
            <a:chExt cx="3505200" cy="3600552"/>
          </a:xfrm>
        </p:grpSpPr>
        <p:sp>
          <p:nvSpPr>
            <p:cNvPr id="6" name="Rectangle 5">
              <a:extLst>
                <a:ext uri="{FF2B5EF4-FFF2-40B4-BE49-F238E27FC236}">
                  <a16:creationId xmlns:a16="http://schemas.microsoft.com/office/drawing/2014/main" id="{D255781C-36F8-882B-042C-A23FEF347E63}"/>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4" name="TextBox 13">
              <a:extLst>
                <a:ext uri="{FF2B5EF4-FFF2-40B4-BE49-F238E27FC236}">
                  <a16:creationId xmlns:a16="http://schemas.microsoft.com/office/drawing/2014/main" id="{8629D278-F1D0-E91D-3593-C2909877543D}"/>
                </a:ext>
              </a:extLst>
            </p:cNvPr>
            <p:cNvSpPr txBox="1"/>
            <p:nvPr/>
          </p:nvSpPr>
          <p:spPr>
            <a:xfrm>
              <a:off x="4477869" y="4833570"/>
              <a:ext cx="3236262" cy="648063"/>
            </a:xfrm>
            <a:prstGeom prst="rect">
              <a:avLst/>
            </a:prstGeom>
            <a:noFill/>
          </p:spPr>
          <p:txBody>
            <a:bodyPr wrap="square">
              <a:spAutoFit/>
            </a:bodyPr>
            <a:lstStyle/>
            <a:p>
              <a:pPr algn="ctr">
                <a:lnSpc>
                  <a:spcPct val="90000"/>
                </a:lnSpc>
              </a:pPr>
              <a:r>
                <a:rPr lang="sv-SE" sz="2000" dirty="0">
                  <a:solidFill>
                    <a:schemeClr val="accent5"/>
                  </a:solidFill>
                </a:rPr>
                <a:t>Gynnar investering i alla fossilfria kraftslag</a:t>
              </a:r>
            </a:p>
          </p:txBody>
        </p:sp>
        <p:pic>
          <p:nvPicPr>
            <p:cNvPr id="22" name="Picture 21">
              <a:extLst>
                <a:ext uri="{FF2B5EF4-FFF2-40B4-BE49-F238E27FC236}">
                  <a16:creationId xmlns:a16="http://schemas.microsoft.com/office/drawing/2014/main" id="{52F406FC-DE6C-BE25-E48F-29E8AED50253}"/>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5" name="!!Kanbidratill">
            <a:extLst>
              <a:ext uri="{FF2B5EF4-FFF2-40B4-BE49-F238E27FC236}">
                <a16:creationId xmlns:a16="http://schemas.microsoft.com/office/drawing/2014/main" id="{4435796C-1A89-CB17-6243-68B320D97D86}"/>
              </a:ext>
            </a:extLst>
          </p:cNvPr>
          <p:cNvGrpSpPr/>
          <p:nvPr/>
        </p:nvGrpSpPr>
        <p:grpSpPr>
          <a:xfrm>
            <a:off x="546100" y="2219223"/>
            <a:ext cx="3505200" cy="3600552"/>
            <a:chOff x="546100" y="2219223"/>
            <a:chExt cx="3505200" cy="3600552"/>
          </a:xfrm>
        </p:grpSpPr>
        <p:sp>
          <p:nvSpPr>
            <p:cNvPr id="3" name="Rectangle 2">
              <a:extLst>
                <a:ext uri="{FF2B5EF4-FFF2-40B4-BE49-F238E27FC236}">
                  <a16:creationId xmlns:a16="http://schemas.microsoft.com/office/drawing/2014/main" id="{66F4D767-5E02-93A6-D6C1-9164FB3E66F8}"/>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1" name="TextBox 10">
              <a:extLst>
                <a:ext uri="{FF2B5EF4-FFF2-40B4-BE49-F238E27FC236}">
                  <a16:creationId xmlns:a16="http://schemas.microsoft.com/office/drawing/2014/main" id="{3B912FD1-DDC3-1609-EB80-702FA0D49347}"/>
                </a:ext>
              </a:extLst>
            </p:cNvPr>
            <p:cNvSpPr txBox="1"/>
            <p:nvPr/>
          </p:nvSpPr>
          <p:spPr>
            <a:xfrm>
              <a:off x="680570" y="4833570"/>
              <a:ext cx="3236262" cy="646331"/>
            </a:xfrm>
            <a:prstGeom prst="rect">
              <a:avLst/>
            </a:prstGeom>
            <a:noFill/>
          </p:spPr>
          <p:txBody>
            <a:bodyPr wrap="square">
              <a:spAutoFit/>
            </a:bodyPr>
            <a:lstStyle/>
            <a:p>
              <a:pPr algn="ctr">
                <a:lnSpc>
                  <a:spcPct val="90000"/>
                </a:lnSpc>
              </a:pPr>
              <a:r>
                <a:rPr lang="sv-SE" sz="2000" dirty="0">
                  <a:solidFill>
                    <a:schemeClr val="accent5"/>
                  </a:solidFill>
                </a:rPr>
                <a:t>Kan bidra till ett</a:t>
              </a:r>
              <a:br>
                <a:rPr lang="sv-SE" sz="2000" dirty="0">
                  <a:solidFill>
                    <a:schemeClr val="accent5"/>
                  </a:solidFill>
                </a:rPr>
              </a:br>
              <a:r>
                <a:rPr lang="sv-SE" sz="2000" dirty="0">
                  <a:solidFill>
                    <a:schemeClr val="accent5"/>
                  </a:solidFill>
                </a:rPr>
                <a:t>mer robust elsystem  </a:t>
              </a:r>
            </a:p>
          </p:txBody>
        </p:sp>
        <p:pic>
          <p:nvPicPr>
            <p:cNvPr id="20" name="Picture 19">
              <a:extLst>
                <a:ext uri="{FF2B5EF4-FFF2-40B4-BE49-F238E27FC236}">
                  <a16:creationId xmlns:a16="http://schemas.microsoft.com/office/drawing/2014/main" id="{0C5C23B1-26E6-029B-9426-FA3BD81F75E0}"/>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10" name="!!Pusselbit">
            <a:extLst>
              <a:ext uri="{FF2B5EF4-FFF2-40B4-BE49-F238E27FC236}">
                <a16:creationId xmlns:a16="http://schemas.microsoft.com/office/drawing/2014/main" id="{38444421-289B-D764-9926-6FD3A81DE12A}"/>
              </a:ext>
            </a:extLst>
          </p:cNvPr>
          <p:cNvGrpSpPr/>
          <p:nvPr/>
        </p:nvGrpSpPr>
        <p:grpSpPr>
          <a:xfrm>
            <a:off x="-5325035" y="2219223"/>
            <a:ext cx="3505200" cy="3600552"/>
            <a:chOff x="8140700" y="2219223"/>
            <a:chExt cx="3505200" cy="3600552"/>
          </a:xfrm>
        </p:grpSpPr>
        <p:sp>
          <p:nvSpPr>
            <p:cNvPr id="12" name="Rectangle 11">
              <a:extLst>
                <a:ext uri="{FF2B5EF4-FFF2-40B4-BE49-F238E27FC236}">
                  <a16:creationId xmlns:a16="http://schemas.microsoft.com/office/drawing/2014/main" id="{39C1E787-7C4B-CD9B-0B8A-38BE7FA1EE36}"/>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3" name="TextBox 12">
              <a:extLst>
                <a:ext uri="{FF2B5EF4-FFF2-40B4-BE49-F238E27FC236}">
                  <a16:creationId xmlns:a16="http://schemas.microsoft.com/office/drawing/2014/main" id="{194F7C28-EE3D-3777-AFEC-09A01B35C5F4}"/>
                </a:ext>
              </a:extLst>
            </p:cNvPr>
            <p:cNvSpPr txBox="1"/>
            <p:nvPr/>
          </p:nvSpPr>
          <p:spPr>
            <a:xfrm>
              <a:off x="8275169" y="4833570"/>
              <a:ext cx="3236262" cy="923330"/>
            </a:xfrm>
            <a:prstGeom prst="rect">
              <a:avLst/>
            </a:prstGeom>
            <a:noFill/>
          </p:spPr>
          <p:txBody>
            <a:bodyPr wrap="square">
              <a:spAutoFit/>
            </a:bodyPr>
            <a:lstStyle/>
            <a:p>
              <a:pPr algn="ctr">
                <a:lnSpc>
                  <a:spcPct val="90000"/>
                </a:lnSpc>
              </a:pPr>
              <a:r>
                <a:rPr lang="sv-SE" sz="2000" dirty="0">
                  <a:solidFill>
                    <a:schemeClr val="accent5"/>
                  </a:solidFill>
                </a:rPr>
                <a:t>Är en viktig pusselbit </a:t>
              </a:r>
              <a:br>
                <a:rPr lang="sv-SE" sz="2000" dirty="0">
                  <a:solidFill>
                    <a:schemeClr val="accent5"/>
                  </a:solidFill>
                </a:rPr>
              </a:br>
              <a:r>
                <a:rPr lang="sv-SE" sz="2000" dirty="0">
                  <a:solidFill>
                    <a:schemeClr val="accent5"/>
                  </a:solidFill>
                </a:rPr>
                <a:t>för omställningen till ett fossilfritt samhälle  </a:t>
              </a:r>
            </a:p>
          </p:txBody>
        </p:sp>
        <p:pic>
          <p:nvPicPr>
            <p:cNvPr id="15" name="Picture 14" descr="Smoke and smoke from a factory&#10;&#10;AI-generated content may be incorrect.">
              <a:extLst>
                <a:ext uri="{FF2B5EF4-FFF2-40B4-BE49-F238E27FC236}">
                  <a16:creationId xmlns:a16="http://schemas.microsoft.com/office/drawing/2014/main" id="{BDC99D26-0C71-EBB5-124D-44C7A5E3FA71}"/>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16" name="!!Ärtestad">
            <a:extLst>
              <a:ext uri="{FF2B5EF4-FFF2-40B4-BE49-F238E27FC236}">
                <a16:creationId xmlns:a16="http://schemas.microsoft.com/office/drawing/2014/main" id="{56750047-9FBF-3E99-863C-B24A2D31F346}"/>
              </a:ext>
            </a:extLst>
          </p:cNvPr>
          <p:cNvGrpSpPr/>
          <p:nvPr/>
        </p:nvGrpSpPr>
        <p:grpSpPr>
          <a:xfrm>
            <a:off x="-5325035" y="2219223"/>
            <a:ext cx="3505200" cy="3600552"/>
            <a:chOff x="4343400" y="2219223"/>
            <a:chExt cx="3505200" cy="3600552"/>
          </a:xfrm>
        </p:grpSpPr>
        <p:sp>
          <p:nvSpPr>
            <p:cNvPr id="18" name="Rectangle 17">
              <a:extLst>
                <a:ext uri="{FF2B5EF4-FFF2-40B4-BE49-F238E27FC236}">
                  <a16:creationId xmlns:a16="http://schemas.microsoft.com/office/drawing/2014/main" id="{56C092BC-12B7-8C0A-747B-8F04493341B5}"/>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19" name="TextBox 18">
              <a:extLst>
                <a:ext uri="{FF2B5EF4-FFF2-40B4-BE49-F238E27FC236}">
                  <a16:creationId xmlns:a16="http://schemas.microsoft.com/office/drawing/2014/main" id="{F5E4D078-238D-32AD-A9E5-3FCA527C7CE4}"/>
                </a:ext>
              </a:extLst>
            </p:cNvPr>
            <p:cNvSpPr txBox="1"/>
            <p:nvPr/>
          </p:nvSpPr>
          <p:spPr>
            <a:xfrm>
              <a:off x="4477869" y="4833570"/>
              <a:ext cx="3236262" cy="371064"/>
            </a:xfrm>
            <a:prstGeom prst="rect">
              <a:avLst/>
            </a:prstGeom>
            <a:noFill/>
          </p:spPr>
          <p:txBody>
            <a:bodyPr wrap="square">
              <a:spAutoFit/>
            </a:bodyPr>
            <a:lstStyle/>
            <a:p>
              <a:pPr algn="ctr">
                <a:lnSpc>
                  <a:spcPct val="90000"/>
                </a:lnSpc>
              </a:pPr>
              <a:r>
                <a:rPr lang="sv-SE" sz="2000" dirty="0">
                  <a:solidFill>
                    <a:schemeClr val="accent5"/>
                  </a:solidFill>
                </a:rPr>
                <a:t>Är testad och säker</a:t>
              </a:r>
            </a:p>
          </p:txBody>
        </p:sp>
        <p:pic>
          <p:nvPicPr>
            <p:cNvPr id="21" name="Picture 20">
              <a:extLst>
                <a:ext uri="{FF2B5EF4-FFF2-40B4-BE49-F238E27FC236}">
                  <a16:creationId xmlns:a16="http://schemas.microsoft.com/office/drawing/2014/main" id="{2971842C-731E-AF94-959D-95B3BD844E07}"/>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24" name="!!Finnstillgänglig">
            <a:extLst>
              <a:ext uri="{FF2B5EF4-FFF2-40B4-BE49-F238E27FC236}">
                <a16:creationId xmlns:a16="http://schemas.microsoft.com/office/drawing/2014/main" id="{CDFD6A35-CCBE-66AC-A456-CDFCEEAB73AF}"/>
              </a:ext>
            </a:extLst>
          </p:cNvPr>
          <p:cNvGrpSpPr/>
          <p:nvPr/>
        </p:nvGrpSpPr>
        <p:grpSpPr>
          <a:xfrm>
            <a:off x="-5325035" y="2219223"/>
            <a:ext cx="3505200" cy="3600552"/>
            <a:chOff x="546100" y="2219223"/>
            <a:chExt cx="3505200" cy="3600552"/>
          </a:xfrm>
        </p:grpSpPr>
        <p:sp>
          <p:nvSpPr>
            <p:cNvPr id="25" name="Rectangle 24">
              <a:extLst>
                <a:ext uri="{FF2B5EF4-FFF2-40B4-BE49-F238E27FC236}">
                  <a16:creationId xmlns:a16="http://schemas.microsoft.com/office/drawing/2014/main" id="{3C8B184A-73BA-D12A-9857-B5742FC46E88}"/>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accent5"/>
                </a:solidFill>
              </a:endParaRPr>
            </a:p>
          </p:txBody>
        </p:sp>
        <p:sp>
          <p:nvSpPr>
            <p:cNvPr id="27" name="TextBox 26">
              <a:extLst>
                <a:ext uri="{FF2B5EF4-FFF2-40B4-BE49-F238E27FC236}">
                  <a16:creationId xmlns:a16="http://schemas.microsoft.com/office/drawing/2014/main" id="{1F32908D-48E3-18B5-8D77-BE668C166355}"/>
                </a:ext>
              </a:extLst>
            </p:cNvPr>
            <p:cNvSpPr txBox="1"/>
            <p:nvPr/>
          </p:nvSpPr>
          <p:spPr>
            <a:xfrm>
              <a:off x="680570" y="4833570"/>
              <a:ext cx="3236262" cy="371064"/>
            </a:xfrm>
            <a:prstGeom prst="rect">
              <a:avLst/>
            </a:prstGeom>
            <a:noFill/>
          </p:spPr>
          <p:txBody>
            <a:bodyPr wrap="square">
              <a:spAutoFit/>
            </a:bodyPr>
            <a:lstStyle/>
            <a:p>
              <a:pPr algn="ctr">
                <a:lnSpc>
                  <a:spcPct val="90000"/>
                </a:lnSpc>
              </a:pPr>
              <a:r>
                <a:rPr lang="sv-SE" sz="2000" dirty="0">
                  <a:solidFill>
                    <a:schemeClr val="accent5"/>
                  </a:solidFill>
                </a:rPr>
                <a:t>Finns tillgänglig</a:t>
              </a:r>
            </a:p>
          </p:txBody>
        </p:sp>
        <p:pic>
          <p:nvPicPr>
            <p:cNvPr id="28" name="Picture 27">
              <a:extLst>
                <a:ext uri="{FF2B5EF4-FFF2-40B4-BE49-F238E27FC236}">
                  <a16:creationId xmlns:a16="http://schemas.microsoft.com/office/drawing/2014/main" id="{FD82549A-7B7E-8D86-D61B-129BF97EEE3D}"/>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31" name="!!Hybrit_logo">
            <a:extLst>
              <a:ext uri="{FF2B5EF4-FFF2-40B4-BE49-F238E27FC236}">
                <a16:creationId xmlns:a16="http://schemas.microsoft.com/office/drawing/2014/main" id="{F4BBBE71-3CF8-668B-1D5A-2C245667F49D}"/>
              </a:ext>
            </a:extLst>
          </p:cNvPr>
          <p:cNvGrpSpPr/>
          <p:nvPr/>
        </p:nvGrpSpPr>
        <p:grpSpPr>
          <a:xfrm>
            <a:off x="10823330" y="6338104"/>
            <a:ext cx="1018484" cy="320220"/>
            <a:chOff x="1343025" y="-3013943"/>
            <a:chExt cx="7772399" cy="2443714"/>
          </a:xfrm>
          <a:solidFill>
            <a:schemeClr val="bg1"/>
          </a:solidFill>
        </p:grpSpPr>
        <p:sp>
          <p:nvSpPr>
            <p:cNvPr id="32" name="Freeform 31">
              <a:extLst>
                <a:ext uri="{FF2B5EF4-FFF2-40B4-BE49-F238E27FC236}">
                  <a16:creationId xmlns:a16="http://schemas.microsoft.com/office/drawing/2014/main" id="{B7E26583-8B8E-F741-9338-03598B2B18E2}"/>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3" name="Freeform 32">
              <a:extLst>
                <a:ext uri="{FF2B5EF4-FFF2-40B4-BE49-F238E27FC236}">
                  <a16:creationId xmlns:a16="http://schemas.microsoft.com/office/drawing/2014/main" id="{C0CE19F2-53DE-D3EA-AF04-8BA23FE7AF7B}"/>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4" name="Freeform 33">
              <a:extLst>
                <a:ext uri="{FF2B5EF4-FFF2-40B4-BE49-F238E27FC236}">
                  <a16:creationId xmlns:a16="http://schemas.microsoft.com/office/drawing/2014/main" id="{AD9BE3F9-31D5-E9E6-46ED-42C91441724B}"/>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5" name="Freeform 34">
              <a:extLst>
                <a:ext uri="{FF2B5EF4-FFF2-40B4-BE49-F238E27FC236}">
                  <a16:creationId xmlns:a16="http://schemas.microsoft.com/office/drawing/2014/main" id="{36A405CF-EB60-2CDB-563A-C92B4DFC34E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F7540634-7F9B-9AD7-B49F-6D2AD9625045}"/>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30" name="!!Freeform 29">
            <a:extLst>
              <a:ext uri="{FF2B5EF4-FFF2-40B4-BE49-F238E27FC236}">
                <a16:creationId xmlns:a16="http://schemas.microsoft.com/office/drawing/2014/main" id="{596A85EF-0939-B843-4DF8-DF9360775713}"/>
              </a:ext>
            </a:extLst>
          </p:cNvPr>
          <p:cNvSpPr/>
          <p:nvPr/>
        </p:nvSpPr>
        <p:spPr>
          <a:xfrm rot="10800000">
            <a:off x="-19021555" y="0"/>
            <a:ext cx="18555069" cy="6858001"/>
          </a:xfrm>
          <a:custGeom>
            <a:avLst/>
            <a:gdLst>
              <a:gd name="connsiteX0" fmla="*/ 18555069 w 18555069"/>
              <a:gd name="connsiteY0" fmla="*/ 6858001 h 6858001"/>
              <a:gd name="connsiteX1" fmla="*/ 6279071 w 18555069"/>
              <a:gd name="connsiteY1" fmla="*/ 6858001 h 6858001"/>
              <a:gd name="connsiteX2" fmla="*/ 5928883 w 18555069"/>
              <a:gd name="connsiteY2" fmla="*/ 6858001 h 6858001"/>
              <a:gd name="connsiteX3" fmla="*/ 1274000 w 18555069"/>
              <a:gd name="connsiteY3" fmla="*/ 6858001 h 6858001"/>
              <a:gd name="connsiteX4" fmla="*/ 76009 w 18555069"/>
              <a:gd name="connsiteY4" fmla="*/ 3828035 h 6858001"/>
              <a:gd name="connsiteX5" fmla="*/ 76009 w 18555069"/>
              <a:gd name="connsiteY5" fmla="*/ 3029967 h 6858001"/>
              <a:gd name="connsiteX6" fmla="*/ 1273874 w 18555069"/>
              <a:gd name="connsiteY6" fmla="*/ 0 h 6858001"/>
              <a:gd name="connsiteX7" fmla="*/ 6279071 w 18555069"/>
              <a:gd name="connsiteY7" fmla="*/ 0 h 6858001"/>
              <a:gd name="connsiteX8" fmla="*/ 6279071 w 18555069"/>
              <a:gd name="connsiteY8" fmla="*/ 1 h 6858001"/>
              <a:gd name="connsiteX9" fmla="*/ 18555069 w 18555069"/>
              <a:gd name="connsiteY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5069" h="6858001">
                <a:moveTo>
                  <a:pt x="18555069" y="6858001"/>
                </a:moveTo>
                <a:lnTo>
                  <a:pt x="6279071" y="6858001"/>
                </a:lnTo>
                <a:lnTo>
                  <a:pt x="5928883" y="6858001"/>
                </a:lnTo>
                <a:lnTo>
                  <a:pt x="1274000" y="6858001"/>
                </a:lnTo>
                <a:lnTo>
                  <a:pt x="76009" y="3828035"/>
                </a:lnTo>
                <a:cubicBezTo>
                  <a:pt x="-25337" y="3571685"/>
                  <a:pt x="-25337" y="3286317"/>
                  <a:pt x="76009" y="3029967"/>
                </a:cubicBezTo>
                <a:lnTo>
                  <a:pt x="1273874" y="0"/>
                </a:lnTo>
                <a:lnTo>
                  <a:pt x="6279071" y="0"/>
                </a:lnTo>
                <a:lnTo>
                  <a:pt x="6279071" y="1"/>
                </a:lnTo>
                <a:lnTo>
                  <a:pt x="18555069" y="1"/>
                </a:lnTo>
                <a:close/>
              </a:path>
            </a:pathLst>
          </a:custGeom>
          <a:solidFill>
            <a:schemeClr val="accent4"/>
          </a:solidFill>
          <a:ln w="0" cap="flat">
            <a:noFill/>
            <a:prstDash val="solid"/>
            <a:miter/>
          </a:ln>
        </p:spPr>
        <p:txBody>
          <a:bodyPr rtlCol="0" anchor="ctr"/>
          <a:lstStyle/>
          <a:p>
            <a:endParaRPr lang="sv-SE" dirty="0"/>
          </a:p>
        </p:txBody>
      </p:sp>
      <p:sp>
        <p:nvSpPr>
          <p:cNvPr id="284" name="!!Hybrittext">
            <a:extLst>
              <a:ext uri="{FF2B5EF4-FFF2-40B4-BE49-F238E27FC236}">
                <a16:creationId xmlns:a16="http://schemas.microsoft.com/office/drawing/2014/main" id="{AAC533DD-703E-0BD6-EB19-02029BA458A1}"/>
              </a:ext>
            </a:extLst>
          </p:cNvPr>
          <p:cNvSpPr txBox="1"/>
          <p:nvPr/>
        </p:nvSpPr>
        <p:spPr>
          <a:xfrm>
            <a:off x="-6469037" y="3996325"/>
            <a:ext cx="1993762"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50" normalizeH="0" noProof="0" dirty="0" err="1">
                <a:ln>
                  <a:noFill/>
                </a:ln>
                <a:solidFill>
                  <a:srgbClr val="FFFFFF"/>
                </a:solidFill>
                <a:effectLst/>
                <a:uLnTx/>
                <a:uFillTx/>
                <a:latin typeface="Aptos" panose="02110004020202020204"/>
                <a:ea typeface="+mn-ea"/>
                <a:cs typeface="+mn-cs"/>
              </a:rPr>
              <a:t>HYBRIT:s</a:t>
            </a:r>
            <a:r>
              <a:rPr kumimoji="0" lang="sv-SE" b="0" i="0" u="none" strike="noStrike" kern="1200" cap="none" spc="50" normalizeH="0" noProof="0" dirty="0">
                <a:ln>
                  <a:noFill/>
                </a:ln>
                <a:solidFill>
                  <a:srgbClr val="FFFFFF"/>
                </a:solidFill>
                <a:effectLst/>
                <a:uLnTx/>
                <a:uFillTx/>
                <a:latin typeface="Aptos" panose="02110004020202020204"/>
                <a:ea typeface="+mn-ea"/>
                <a:cs typeface="+mn-cs"/>
              </a:rPr>
              <a:t> </a:t>
            </a:r>
            <a:br>
              <a:rPr kumimoji="0" lang="sv-SE" b="0" i="0" u="none" strike="noStrike" kern="1200" cap="none" spc="50" normalizeH="0" noProof="0" dirty="0">
                <a:ln>
                  <a:noFill/>
                </a:ln>
                <a:solidFill>
                  <a:srgbClr val="FFFFFF"/>
                </a:solidFill>
                <a:effectLst/>
                <a:uLnTx/>
                <a:uFillTx/>
                <a:latin typeface="Aptos" panose="02110004020202020204"/>
                <a:ea typeface="+mn-ea"/>
                <a:cs typeface="+mn-cs"/>
              </a:rPr>
            </a:br>
            <a:r>
              <a:rPr kumimoji="0" lang="sv-SE" b="0" i="0" u="none" strike="noStrike" kern="1200" cap="none" spc="50" normalizeH="0" noProof="0" dirty="0">
                <a:ln>
                  <a:noFill/>
                </a:ln>
                <a:solidFill>
                  <a:srgbClr val="FFFFFF"/>
                </a:solidFill>
                <a:effectLst/>
                <a:uLnTx/>
                <a:uFillTx/>
                <a:latin typeface="Aptos" panose="02110004020202020204"/>
                <a:ea typeface="+mn-ea"/>
                <a:cs typeface="+mn-cs"/>
              </a:rPr>
              <a:t>pilotlager</a:t>
            </a:r>
            <a:br>
              <a:rPr kumimoji="0" lang="sv-SE" sz="2400" b="0" i="0" u="none" strike="noStrike" kern="1200" cap="none" spc="50" normalizeH="0" noProof="0" dirty="0">
                <a:ln>
                  <a:noFill/>
                </a:ln>
                <a:solidFill>
                  <a:srgbClr val="FFFFFF"/>
                </a:solidFill>
                <a:effectLst/>
                <a:uLnTx/>
                <a:uFillTx/>
                <a:latin typeface="Aptos" panose="02110004020202020204"/>
                <a:ea typeface="+mn-ea"/>
                <a:cs typeface="+mn-cs"/>
              </a:rPr>
            </a:br>
            <a:r>
              <a:rPr kumimoji="0" lang="sv-SE" sz="2400" b="0" i="0" u="none" strike="noStrike" kern="1200" cap="none" spc="50" normalizeH="0" noProof="0" dirty="0">
                <a:ln>
                  <a:noFill/>
                </a:ln>
                <a:solidFill>
                  <a:srgbClr val="FFFFFF"/>
                </a:solidFill>
                <a:effectLst/>
                <a:uLnTx/>
                <a:uFillTx/>
                <a:latin typeface="Aptos" panose="02110004020202020204"/>
                <a:ea typeface="+mn-ea"/>
                <a:cs typeface="+mn-cs"/>
              </a:rPr>
              <a:t>100 m</a:t>
            </a:r>
            <a:r>
              <a:rPr kumimoji="0" lang="sv-SE" sz="2400" b="0" i="0" u="none" strike="noStrike" kern="1200" cap="none" spc="50" normalizeH="0" baseline="30000" noProof="0" dirty="0">
                <a:ln>
                  <a:noFill/>
                </a:ln>
                <a:solidFill>
                  <a:srgbClr val="FFFFFF"/>
                </a:solidFill>
                <a:effectLst/>
                <a:uLnTx/>
                <a:uFillTx/>
                <a:latin typeface="Aptos" panose="02110004020202020204"/>
                <a:ea typeface="+mn-ea"/>
                <a:cs typeface="+mn-cs"/>
              </a:rPr>
              <a:t>3</a:t>
            </a:r>
          </a:p>
        </p:txBody>
      </p:sp>
      <p:grpSp>
        <p:nvGrpSpPr>
          <p:cNvPr id="285" name="!!HYBRIT_Pilot">
            <a:extLst>
              <a:ext uri="{FF2B5EF4-FFF2-40B4-BE49-F238E27FC236}">
                <a16:creationId xmlns:a16="http://schemas.microsoft.com/office/drawing/2014/main" id="{1634671E-DDC5-4735-CD90-814A411A1629}"/>
              </a:ext>
            </a:extLst>
          </p:cNvPr>
          <p:cNvGrpSpPr/>
          <p:nvPr/>
        </p:nvGrpSpPr>
        <p:grpSpPr>
          <a:xfrm>
            <a:off x="-5633945" y="5307349"/>
            <a:ext cx="323577" cy="722345"/>
            <a:chOff x="4630151" y="4833569"/>
            <a:chExt cx="323577" cy="722345"/>
          </a:xfrm>
        </p:grpSpPr>
        <p:pic>
          <p:nvPicPr>
            <p:cNvPr id="286" name="Picture 285" descr="A close-up of a white surface&#10;&#10;AI-generated content may be incorrect.">
              <a:extLst>
                <a:ext uri="{FF2B5EF4-FFF2-40B4-BE49-F238E27FC236}">
                  <a16:creationId xmlns:a16="http://schemas.microsoft.com/office/drawing/2014/main" id="{C6D541B6-856D-6047-5AAC-BC896125A780}"/>
                </a:ext>
              </a:extLst>
            </p:cNvPr>
            <p:cNvPicPr>
              <a:picLocks noChangeAspect="1"/>
            </p:cNvPicPr>
            <p:nvPr/>
          </p:nvPicPr>
          <p:blipFill>
            <a:blip r:embed="rId10" cstate="print">
              <a:alphaModFix amt="50000"/>
              <a:extLst>
                <a:ext uri="{28A0092B-C50C-407E-A947-70E740481C1C}">
                  <a14:useLocalDpi xmlns:a14="http://schemas.microsoft.com/office/drawing/2010/main"/>
                </a:ext>
              </a:extLst>
            </a:blip>
            <a:srcRect r="-1"/>
            <a:stretch/>
          </p:blipFill>
          <p:spPr>
            <a:xfrm rot="16200000">
              <a:off x="4430768" y="5032953"/>
              <a:ext cx="722344" cy="323577"/>
            </a:xfrm>
            <a:custGeom>
              <a:avLst/>
              <a:gdLst>
                <a:gd name="connsiteX0" fmla="*/ 4556308 w 4556308"/>
                <a:gd name="connsiteY0" fmla="*/ 1020510 h 2041019"/>
                <a:gd name="connsiteX1" fmla="*/ 3535799 w 4556308"/>
                <a:gd name="connsiteY1" fmla="*/ 2041019 h 2041019"/>
                <a:gd name="connsiteX2" fmla="*/ 1020509 w 4556308"/>
                <a:gd name="connsiteY2" fmla="*/ 2041019 h 2041019"/>
                <a:gd name="connsiteX3" fmla="*/ 0 w 4556308"/>
                <a:gd name="connsiteY3" fmla="*/ 1020509 h 2041019"/>
                <a:gd name="connsiteX4" fmla="*/ 1020510 w 4556308"/>
                <a:gd name="connsiteY4" fmla="*/ 0 h 2041019"/>
                <a:gd name="connsiteX5" fmla="*/ 3535799 w 4556308"/>
                <a:gd name="connsiteY5" fmla="*/ 1 h 2041019"/>
                <a:gd name="connsiteX6" fmla="*/ 4556308 w 4556308"/>
                <a:gd name="connsiteY6" fmla="*/ 1020510 h 20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6308" h="2041019">
                  <a:moveTo>
                    <a:pt x="4556308" y="1020510"/>
                  </a:moveTo>
                  <a:cubicBezTo>
                    <a:pt x="4556308" y="1584122"/>
                    <a:pt x="4099411" y="2041019"/>
                    <a:pt x="3535799" y="2041019"/>
                  </a:cubicBezTo>
                  <a:lnTo>
                    <a:pt x="1020509" y="2041019"/>
                  </a:lnTo>
                  <a:cubicBezTo>
                    <a:pt x="456897" y="2041018"/>
                    <a:pt x="0" y="1584121"/>
                    <a:pt x="0" y="1020509"/>
                  </a:cubicBezTo>
                  <a:cubicBezTo>
                    <a:pt x="1" y="456898"/>
                    <a:pt x="456897" y="0"/>
                    <a:pt x="1020510" y="0"/>
                  </a:cubicBezTo>
                  <a:lnTo>
                    <a:pt x="3535799" y="1"/>
                  </a:lnTo>
                  <a:cubicBezTo>
                    <a:pt x="4099411" y="1"/>
                    <a:pt x="4556308" y="456898"/>
                    <a:pt x="4556308" y="1020510"/>
                  </a:cubicBezTo>
                  <a:close/>
                </a:path>
              </a:pathLst>
            </a:custGeom>
            <a:ln w="9525">
              <a:solidFill>
                <a:schemeClr val="accent5"/>
              </a:solidFill>
            </a:ln>
          </p:spPr>
        </p:pic>
        <p:sp>
          <p:nvSpPr>
            <p:cNvPr id="287" name="Freeform 286">
              <a:extLst>
                <a:ext uri="{FF2B5EF4-FFF2-40B4-BE49-F238E27FC236}">
                  <a16:creationId xmlns:a16="http://schemas.microsoft.com/office/drawing/2014/main" id="{20AB690C-9C87-28EB-F420-2B2CFB27DB04}"/>
                </a:ext>
              </a:extLst>
            </p:cNvPr>
            <p:cNvSpPr/>
            <p:nvPr/>
          </p:nvSpPr>
          <p:spPr>
            <a:xfrm>
              <a:off x="4644455" y="4847447"/>
              <a:ext cx="294968" cy="694590"/>
            </a:xfrm>
            <a:custGeom>
              <a:avLst/>
              <a:gdLst>
                <a:gd name="connsiteX0" fmla="*/ 1016801 w 2030606"/>
                <a:gd name="connsiteY0" fmla="*/ 0 h 4781665"/>
                <a:gd name="connsiteX1" fmla="*/ 2030607 w 2030606"/>
                <a:gd name="connsiteY1" fmla="*/ 1013806 h 4781665"/>
                <a:gd name="connsiteX2" fmla="*/ 2030607 w 2030606"/>
                <a:gd name="connsiteY2" fmla="*/ 3767859 h 4781665"/>
                <a:gd name="connsiteX3" fmla="*/ 1016801 w 2030606"/>
                <a:gd name="connsiteY3" fmla="*/ 4781665 h 4781665"/>
                <a:gd name="connsiteX4" fmla="*/ 1013805 w 2030606"/>
                <a:gd name="connsiteY4" fmla="*/ 4781665 h 4781665"/>
                <a:gd name="connsiteX5" fmla="*/ -1 w 2030606"/>
                <a:gd name="connsiteY5" fmla="*/ 3767859 h 4781665"/>
                <a:gd name="connsiteX6" fmla="*/ -1 w 2030606"/>
                <a:gd name="connsiteY6" fmla="*/ 1013806 h 4781665"/>
                <a:gd name="connsiteX7" fmla="*/ 1013805 w 2030606"/>
                <a:gd name="connsiteY7" fmla="*/ 0 h 478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606" h="4781665">
                  <a:moveTo>
                    <a:pt x="1016801" y="0"/>
                  </a:moveTo>
                  <a:cubicBezTo>
                    <a:pt x="1576710" y="0"/>
                    <a:pt x="2030607" y="453896"/>
                    <a:pt x="2030607" y="1013806"/>
                  </a:cubicBezTo>
                  <a:lnTo>
                    <a:pt x="2030607" y="3767859"/>
                  </a:lnTo>
                  <a:cubicBezTo>
                    <a:pt x="2030607" y="4327769"/>
                    <a:pt x="1576710" y="4781665"/>
                    <a:pt x="1016801" y="4781665"/>
                  </a:cubicBezTo>
                  <a:lnTo>
                    <a:pt x="1013805" y="4781665"/>
                  </a:lnTo>
                  <a:cubicBezTo>
                    <a:pt x="453896" y="4781665"/>
                    <a:pt x="-1" y="4327769"/>
                    <a:pt x="-1" y="3767859"/>
                  </a:cubicBezTo>
                  <a:lnTo>
                    <a:pt x="-1" y="1013806"/>
                  </a:lnTo>
                  <a:cubicBezTo>
                    <a:pt x="-1" y="453896"/>
                    <a:pt x="453896" y="0"/>
                    <a:pt x="1013805" y="0"/>
                  </a:cubicBezTo>
                  <a:close/>
                </a:path>
              </a:pathLst>
            </a:custGeom>
            <a:solidFill>
              <a:schemeClr val="bg1"/>
            </a:solidFill>
            <a:ln w="3175" cap="flat">
              <a:solidFill>
                <a:schemeClr val="accent5"/>
              </a:solidFill>
              <a:prstDash val="solid"/>
              <a:miter/>
            </a:ln>
          </p:spPr>
          <p:txBody>
            <a:bodyPr rtlCol="0" anchor="ctr"/>
            <a:lstStyle/>
            <a:p>
              <a:endParaRPr lang="sv-SE"/>
            </a:p>
          </p:txBody>
        </p:sp>
        <p:pic>
          <p:nvPicPr>
            <p:cNvPr id="288" name="Picture 287" descr="A close-up of a white surface&#10;&#10;AI-generated content may be incorrect.">
              <a:extLst>
                <a:ext uri="{FF2B5EF4-FFF2-40B4-BE49-F238E27FC236}">
                  <a16:creationId xmlns:a16="http://schemas.microsoft.com/office/drawing/2014/main" id="{C0C5C132-4A23-ED1F-71D9-45A9D1579F02}"/>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rot="5400000">
              <a:off x="4511669" y="5113840"/>
              <a:ext cx="722329" cy="161788"/>
            </a:xfrm>
            <a:custGeom>
              <a:avLst/>
              <a:gdLst>
                <a:gd name="connsiteX0" fmla="*/ 0 w 4556214"/>
                <a:gd name="connsiteY0" fmla="*/ 1020509 h 1020509"/>
                <a:gd name="connsiteX1" fmla="*/ 1020509 w 4556214"/>
                <a:gd name="connsiteY1" fmla="*/ 0 h 1020509"/>
                <a:gd name="connsiteX2" fmla="*/ 3535799 w 4556214"/>
                <a:gd name="connsiteY2" fmla="*/ 0 h 1020509"/>
                <a:gd name="connsiteX3" fmla="*/ 4556214 w 4556214"/>
                <a:gd name="connsiteY3" fmla="*/ 1013318 h 1020509"/>
                <a:gd name="connsiteX4" fmla="*/ 4536579 w 4556214"/>
                <a:gd name="connsiteY4" fmla="*/ 994392 h 1020509"/>
                <a:gd name="connsiteX5" fmla="*/ 4503176 w 4556214"/>
                <a:gd name="connsiteY5" fmla="*/ 977028 h 1020509"/>
                <a:gd name="connsiteX6" fmla="*/ 4427048 w 4556214"/>
                <a:gd name="connsiteY6" fmla="*/ 951668 h 1020509"/>
                <a:gd name="connsiteX7" fmla="*/ 4326838 w 4556214"/>
                <a:gd name="connsiteY7" fmla="*/ 928957 h 1020509"/>
                <a:gd name="connsiteX8" fmla="*/ 4226627 w 4556214"/>
                <a:gd name="connsiteY8" fmla="*/ 910269 h 1020509"/>
                <a:gd name="connsiteX9" fmla="*/ 4090364 w 4556214"/>
                <a:gd name="connsiteY9" fmla="*/ 890207 h 1020509"/>
                <a:gd name="connsiteX10" fmla="*/ 3922021 w 4556214"/>
                <a:gd name="connsiteY10" fmla="*/ 868822 h 1020509"/>
                <a:gd name="connsiteX11" fmla="*/ 3796450 w 4556214"/>
                <a:gd name="connsiteY11" fmla="*/ 854107 h 1020509"/>
                <a:gd name="connsiteX12" fmla="*/ 3646845 w 4556214"/>
                <a:gd name="connsiteY12" fmla="*/ 842090 h 1020509"/>
                <a:gd name="connsiteX13" fmla="*/ 3549332 w 4556214"/>
                <a:gd name="connsiteY13" fmla="*/ 835417 h 1020509"/>
                <a:gd name="connsiteX14" fmla="*/ 1446616 w 4556214"/>
                <a:gd name="connsiteY14" fmla="*/ 835417 h 1020509"/>
                <a:gd name="connsiteX15" fmla="*/ 1011094 w 4556214"/>
                <a:gd name="connsiteY15" fmla="*/ 834093 h 1020509"/>
                <a:gd name="connsiteX16" fmla="*/ 910883 w 4556214"/>
                <a:gd name="connsiteY16" fmla="*/ 840765 h 1020509"/>
                <a:gd name="connsiteX17" fmla="*/ 783988 w 4556214"/>
                <a:gd name="connsiteY17" fmla="*/ 852782 h 1020509"/>
                <a:gd name="connsiteX18" fmla="*/ 658417 w 4556214"/>
                <a:gd name="connsiteY18" fmla="*/ 866125 h 1020509"/>
                <a:gd name="connsiteX19" fmla="*/ 527500 w 4556214"/>
                <a:gd name="connsiteY19" fmla="*/ 882164 h 1020509"/>
                <a:gd name="connsiteX20" fmla="*/ 395259 w 4556214"/>
                <a:gd name="connsiteY20" fmla="*/ 900853 h 1020509"/>
                <a:gd name="connsiteX21" fmla="*/ 265667 w 4556214"/>
                <a:gd name="connsiteY21" fmla="*/ 922239 h 1020509"/>
                <a:gd name="connsiteX22" fmla="*/ 134750 w 4556214"/>
                <a:gd name="connsiteY22" fmla="*/ 950295 h 1020509"/>
                <a:gd name="connsiteX23" fmla="*/ 42582 w 4556214"/>
                <a:gd name="connsiteY23" fmla="*/ 979678 h 1020509"/>
                <a:gd name="connsiteX24" fmla="*/ 2508 w 4556214"/>
                <a:gd name="connsiteY24" fmla="*/ 1009060 h 1020509"/>
                <a:gd name="connsiteX25" fmla="*/ 1231 w 4556214"/>
                <a:gd name="connsiteY25" fmla="*/ 1020509 h 102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56214" h="1020509">
                  <a:moveTo>
                    <a:pt x="0" y="1020509"/>
                  </a:moveTo>
                  <a:cubicBezTo>
                    <a:pt x="0" y="456909"/>
                    <a:pt x="456909" y="0"/>
                    <a:pt x="1020509" y="0"/>
                  </a:cubicBezTo>
                  <a:lnTo>
                    <a:pt x="3535799" y="0"/>
                  </a:lnTo>
                  <a:cubicBezTo>
                    <a:pt x="4096987" y="0"/>
                    <a:pt x="4552335" y="453029"/>
                    <a:pt x="4556214" y="1013318"/>
                  </a:cubicBezTo>
                  <a:lnTo>
                    <a:pt x="4536579" y="994392"/>
                  </a:lnTo>
                  <a:lnTo>
                    <a:pt x="4503176" y="977028"/>
                  </a:lnTo>
                  <a:lnTo>
                    <a:pt x="4427048" y="951668"/>
                  </a:lnTo>
                  <a:lnTo>
                    <a:pt x="4326838" y="928957"/>
                  </a:lnTo>
                  <a:lnTo>
                    <a:pt x="4226627" y="910269"/>
                  </a:lnTo>
                  <a:lnTo>
                    <a:pt x="4090364" y="890207"/>
                  </a:lnTo>
                  <a:lnTo>
                    <a:pt x="3922021" y="868822"/>
                  </a:lnTo>
                  <a:lnTo>
                    <a:pt x="3796450" y="854107"/>
                  </a:lnTo>
                  <a:lnTo>
                    <a:pt x="3646845" y="842090"/>
                  </a:lnTo>
                  <a:lnTo>
                    <a:pt x="3549332" y="835417"/>
                  </a:lnTo>
                  <a:lnTo>
                    <a:pt x="1446616" y="835417"/>
                  </a:lnTo>
                  <a:lnTo>
                    <a:pt x="1011094" y="834093"/>
                  </a:lnTo>
                  <a:lnTo>
                    <a:pt x="910883" y="840765"/>
                  </a:lnTo>
                  <a:lnTo>
                    <a:pt x="783988" y="852782"/>
                  </a:lnTo>
                  <a:lnTo>
                    <a:pt x="658417" y="866125"/>
                  </a:lnTo>
                  <a:lnTo>
                    <a:pt x="527500" y="882164"/>
                  </a:lnTo>
                  <a:lnTo>
                    <a:pt x="395259" y="900853"/>
                  </a:lnTo>
                  <a:lnTo>
                    <a:pt x="265667" y="922239"/>
                  </a:lnTo>
                  <a:lnTo>
                    <a:pt x="134750" y="950295"/>
                  </a:lnTo>
                  <a:lnTo>
                    <a:pt x="42582" y="979678"/>
                  </a:lnTo>
                  <a:lnTo>
                    <a:pt x="2508" y="1009060"/>
                  </a:lnTo>
                  <a:lnTo>
                    <a:pt x="1231" y="1020509"/>
                  </a:lnTo>
                  <a:close/>
                </a:path>
              </a:pathLst>
            </a:custGeom>
          </p:spPr>
        </p:pic>
      </p:grpSp>
      <p:sp>
        <p:nvSpPr>
          <p:cNvPr id="40" name="!!mask2">
            <a:extLst>
              <a:ext uri="{FF2B5EF4-FFF2-40B4-BE49-F238E27FC236}">
                <a16:creationId xmlns:a16="http://schemas.microsoft.com/office/drawing/2014/main" id="{CCF02717-F4D0-0A3C-4340-5395EB3AC9D7}"/>
              </a:ext>
            </a:extLst>
          </p:cNvPr>
          <p:cNvSpPr>
            <a:spLocks noGrp="1" noRot="1" noMove="1" noResize="1" noEditPoints="1" noAdjustHandles="1" noChangeArrowheads="1" noChangeShapeType="1"/>
          </p:cNvSpPr>
          <p:nvPr/>
        </p:nvSpPr>
        <p:spPr>
          <a:xfrm>
            <a:off x="-25603199" y="-5814390"/>
            <a:ext cx="65507306" cy="18486783"/>
          </a:xfrm>
          <a:custGeom>
            <a:avLst/>
            <a:gdLst>
              <a:gd name="connsiteX0" fmla="*/ 25459114 w 65507306"/>
              <a:gd name="connsiteY0" fmla="*/ 5733342 h 18486783"/>
              <a:gd name="connsiteX1" fmla="*/ 25459114 w 65507306"/>
              <a:gd name="connsiteY1" fmla="*/ 12753439 h 18486783"/>
              <a:gd name="connsiteX2" fmla="*/ 37939284 w 65507306"/>
              <a:gd name="connsiteY2" fmla="*/ 12753439 h 18486783"/>
              <a:gd name="connsiteX3" fmla="*/ 37939284 w 65507306"/>
              <a:gd name="connsiteY3" fmla="*/ 5733342 h 18486783"/>
              <a:gd name="connsiteX4" fmla="*/ 0 w 65507306"/>
              <a:gd name="connsiteY4" fmla="*/ 0 h 18486783"/>
              <a:gd name="connsiteX5" fmla="*/ 19134163 w 65507306"/>
              <a:gd name="connsiteY5" fmla="*/ 0 h 18486783"/>
              <a:gd name="connsiteX6" fmla="*/ 19134163 w 65507306"/>
              <a:gd name="connsiteY6" fmla="*/ 0 h 18486783"/>
              <a:gd name="connsiteX7" fmla="*/ 46373142 w 65507306"/>
              <a:gd name="connsiteY7" fmla="*/ 0 h 18486783"/>
              <a:gd name="connsiteX8" fmla="*/ 47025338 w 65507306"/>
              <a:gd name="connsiteY8" fmla="*/ 0 h 18486783"/>
              <a:gd name="connsiteX9" fmla="*/ 65507306 w 65507306"/>
              <a:gd name="connsiteY9" fmla="*/ 0 h 18486783"/>
              <a:gd name="connsiteX10" fmla="*/ 65507306 w 65507306"/>
              <a:gd name="connsiteY10" fmla="*/ 18486783 h 18486783"/>
              <a:gd name="connsiteX11" fmla="*/ 47025338 w 65507306"/>
              <a:gd name="connsiteY11" fmla="*/ 18486783 h 18486783"/>
              <a:gd name="connsiteX12" fmla="*/ 46373142 w 65507306"/>
              <a:gd name="connsiteY12" fmla="*/ 18486783 h 18486783"/>
              <a:gd name="connsiteX13" fmla="*/ 19134163 w 65507306"/>
              <a:gd name="connsiteY13" fmla="*/ 18486783 h 18486783"/>
              <a:gd name="connsiteX14" fmla="*/ 16373062 w 65507306"/>
              <a:gd name="connsiteY14" fmla="*/ 18486783 h 18486783"/>
              <a:gd name="connsiteX15" fmla="*/ 0 w 65507306"/>
              <a:gd name="connsiteY15"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07306" h="18486783">
                <a:moveTo>
                  <a:pt x="25459114" y="5733342"/>
                </a:moveTo>
                <a:lnTo>
                  <a:pt x="25459114" y="12753439"/>
                </a:lnTo>
                <a:lnTo>
                  <a:pt x="37939284" y="12753439"/>
                </a:lnTo>
                <a:lnTo>
                  <a:pt x="37939284" y="5733342"/>
                </a:lnTo>
                <a:close/>
                <a:moveTo>
                  <a:pt x="0" y="0"/>
                </a:moveTo>
                <a:lnTo>
                  <a:pt x="19134163" y="0"/>
                </a:lnTo>
                <a:lnTo>
                  <a:pt x="19134163" y="0"/>
                </a:lnTo>
                <a:lnTo>
                  <a:pt x="46373142" y="0"/>
                </a:lnTo>
                <a:lnTo>
                  <a:pt x="47025338" y="0"/>
                </a:lnTo>
                <a:lnTo>
                  <a:pt x="65507306" y="0"/>
                </a:lnTo>
                <a:lnTo>
                  <a:pt x="65507306" y="18486783"/>
                </a:lnTo>
                <a:lnTo>
                  <a:pt x="47025338" y="18486783"/>
                </a:lnTo>
                <a:lnTo>
                  <a:pt x="46373142" y="18486783"/>
                </a:lnTo>
                <a:lnTo>
                  <a:pt x="19134163" y="18486783"/>
                </a:lnTo>
                <a:lnTo>
                  <a:pt x="16373062"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7572759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F3B32B43-285C-A791-BCBD-BD0ED35156BF}"/>
            </a:ext>
          </a:extLst>
        </p:cNvPr>
        <p:cNvGrpSpPr/>
        <p:nvPr/>
      </p:nvGrpSpPr>
      <p:grpSpPr>
        <a:xfrm>
          <a:off x="0" y="0"/>
          <a:ext cx="0" cy="0"/>
          <a:chOff x="0" y="0"/>
          <a:chExt cx="0" cy="0"/>
        </a:xfrm>
      </p:grpSpPr>
      <p:pic>
        <p:nvPicPr>
          <p:cNvPr id="23" name="!!Redo_BG">
            <a:extLst>
              <a:ext uri="{FF2B5EF4-FFF2-40B4-BE49-F238E27FC236}">
                <a16:creationId xmlns:a16="http://schemas.microsoft.com/office/drawing/2014/main" id="{EB662507-2D07-3A68-2228-470DDCDCB98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90" y="-1"/>
            <a:ext cx="21593253" cy="12148457"/>
          </a:xfrm>
          <a:prstGeom prst="rect">
            <a:avLst/>
          </a:prstGeom>
        </p:spPr>
      </p:pic>
      <p:sp>
        <p:nvSpPr>
          <p:cNvPr id="31" name="!!Freeform 29">
            <a:extLst>
              <a:ext uri="{FF2B5EF4-FFF2-40B4-BE49-F238E27FC236}">
                <a16:creationId xmlns:a16="http://schemas.microsoft.com/office/drawing/2014/main" id="{15B6C91D-4740-1172-8015-C3DCB9F45251}"/>
              </a:ext>
            </a:extLst>
          </p:cNvPr>
          <p:cNvSpPr/>
          <p:nvPr/>
        </p:nvSpPr>
        <p:spPr>
          <a:xfrm rot="10800000">
            <a:off x="-12581968" y="0"/>
            <a:ext cx="18555069" cy="6858001"/>
          </a:xfrm>
          <a:custGeom>
            <a:avLst/>
            <a:gdLst>
              <a:gd name="connsiteX0" fmla="*/ 18555069 w 18555069"/>
              <a:gd name="connsiteY0" fmla="*/ 6858001 h 6858001"/>
              <a:gd name="connsiteX1" fmla="*/ 6279071 w 18555069"/>
              <a:gd name="connsiteY1" fmla="*/ 6858001 h 6858001"/>
              <a:gd name="connsiteX2" fmla="*/ 5928883 w 18555069"/>
              <a:gd name="connsiteY2" fmla="*/ 6858001 h 6858001"/>
              <a:gd name="connsiteX3" fmla="*/ 1274000 w 18555069"/>
              <a:gd name="connsiteY3" fmla="*/ 6858001 h 6858001"/>
              <a:gd name="connsiteX4" fmla="*/ 76009 w 18555069"/>
              <a:gd name="connsiteY4" fmla="*/ 3828035 h 6858001"/>
              <a:gd name="connsiteX5" fmla="*/ 76009 w 18555069"/>
              <a:gd name="connsiteY5" fmla="*/ 3029967 h 6858001"/>
              <a:gd name="connsiteX6" fmla="*/ 1273874 w 18555069"/>
              <a:gd name="connsiteY6" fmla="*/ 0 h 6858001"/>
              <a:gd name="connsiteX7" fmla="*/ 6279071 w 18555069"/>
              <a:gd name="connsiteY7" fmla="*/ 0 h 6858001"/>
              <a:gd name="connsiteX8" fmla="*/ 6279071 w 18555069"/>
              <a:gd name="connsiteY8" fmla="*/ 1 h 6858001"/>
              <a:gd name="connsiteX9" fmla="*/ 18555069 w 18555069"/>
              <a:gd name="connsiteY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5069" h="6858001">
                <a:moveTo>
                  <a:pt x="18555069" y="6858001"/>
                </a:moveTo>
                <a:lnTo>
                  <a:pt x="6279071" y="6858001"/>
                </a:lnTo>
                <a:lnTo>
                  <a:pt x="5928883" y="6858001"/>
                </a:lnTo>
                <a:lnTo>
                  <a:pt x="1274000" y="6858001"/>
                </a:lnTo>
                <a:lnTo>
                  <a:pt x="76009" y="3828035"/>
                </a:lnTo>
                <a:cubicBezTo>
                  <a:pt x="-25337" y="3571685"/>
                  <a:pt x="-25337" y="3286317"/>
                  <a:pt x="76009" y="3029967"/>
                </a:cubicBezTo>
                <a:lnTo>
                  <a:pt x="1273874" y="0"/>
                </a:lnTo>
                <a:lnTo>
                  <a:pt x="6279071" y="0"/>
                </a:lnTo>
                <a:lnTo>
                  <a:pt x="6279071" y="1"/>
                </a:lnTo>
                <a:lnTo>
                  <a:pt x="18555069" y="1"/>
                </a:lnTo>
                <a:close/>
              </a:path>
            </a:pathLst>
          </a:custGeom>
          <a:solidFill>
            <a:schemeClr val="accent4"/>
          </a:solidFill>
          <a:ln w="0" cap="flat">
            <a:noFill/>
            <a:prstDash val="solid"/>
            <a:miter/>
          </a:ln>
        </p:spPr>
        <p:txBody>
          <a:bodyPr rtlCol="0" anchor="ctr"/>
          <a:lstStyle/>
          <a:p>
            <a:endParaRPr lang="sv-SE" dirty="0"/>
          </a:p>
        </p:txBody>
      </p:sp>
      <p:grpSp>
        <p:nvGrpSpPr>
          <p:cNvPr id="9" name="!!Mogenförnästa">
            <a:extLst>
              <a:ext uri="{FF2B5EF4-FFF2-40B4-BE49-F238E27FC236}">
                <a16:creationId xmlns:a16="http://schemas.microsoft.com/office/drawing/2014/main" id="{877FBB27-5599-4CED-2983-E7BD71ABCDBF}"/>
              </a:ext>
            </a:extLst>
          </p:cNvPr>
          <p:cNvGrpSpPr/>
          <p:nvPr/>
        </p:nvGrpSpPr>
        <p:grpSpPr>
          <a:xfrm>
            <a:off x="-10521294" y="2219223"/>
            <a:ext cx="3505200" cy="3600552"/>
            <a:chOff x="8140700" y="2219223"/>
            <a:chExt cx="3505200" cy="3600552"/>
          </a:xfrm>
        </p:grpSpPr>
        <p:sp>
          <p:nvSpPr>
            <p:cNvPr id="7" name="Rectangle 6">
              <a:extLst>
                <a:ext uri="{FF2B5EF4-FFF2-40B4-BE49-F238E27FC236}">
                  <a16:creationId xmlns:a16="http://schemas.microsoft.com/office/drawing/2014/main" id="{5B6B8F4A-C6C5-22E7-63CE-4EA7B567409A}"/>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570AD08F-8CF4-478F-5B3D-BA6A3125F133}"/>
                </a:ext>
              </a:extLst>
            </p:cNvPr>
            <p:cNvSpPr txBox="1"/>
            <p:nvPr/>
          </p:nvSpPr>
          <p:spPr>
            <a:xfrm>
              <a:off x="8275169" y="4833570"/>
              <a:ext cx="3236262" cy="592535"/>
            </a:xfrm>
            <a:prstGeom prst="rect">
              <a:avLst/>
            </a:prstGeom>
            <a:noFill/>
          </p:spPr>
          <p:txBody>
            <a:bodyPr wrap="square">
              <a:spAutoFit/>
            </a:bodyPr>
            <a:lstStyle/>
            <a:p>
              <a:pPr algn="ctr">
                <a:lnSpc>
                  <a:spcPct val="90000"/>
                </a:lnSpc>
              </a:pPr>
              <a:r>
                <a:rPr lang="sv-SE" dirty="0"/>
                <a:t>Är mogen </a:t>
              </a:r>
              <a:br>
                <a:rPr lang="sv-SE" dirty="0"/>
              </a:br>
              <a:r>
                <a:rPr lang="sv-SE" dirty="0"/>
                <a:t>för nästa steg</a:t>
              </a:r>
            </a:p>
          </p:txBody>
        </p:sp>
        <p:pic>
          <p:nvPicPr>
            <p:cNvPr id="26" name="Picture 25">
              <a:extLst>
                <a:ext uri="{FF2B5EF4-FFF2-40B4-BE49-F238E27FC236}">
                  <a16:creationId xmlns:a16="http://schemas.microsoft.com/office/drawing/2014/main" id="{42F84E1F-3AF8-9E91-99BC-0C844AE0A2F9}"/>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8" name="!!Ökaförnybar">
            <a:extLst>
              <a:ext uri="{FF2B5EF4-FFF2-40B4-BE49-F238E27FC236}">
                <a16:creationId xmlns:a16="http://schemas.microsoft.com/office/drawing/2014/main" id="{EC922A11-24B0-3007-2B14-3618AAE02263}"/>
              </a:ext>
            </a:extLst>
          </p:cNvPr>
          <p:cNvGrpSpPr/>
          <p:nvPr/>
        </p:nvGrpSpPr>
        <p:grpSpPr>
          <a:xfrm>
            <a:off x="-10521294" y="2219223"/>
            <a:ext cx="3505200" cy="3600552"/>
            <a:chOff x="4343400" y="2219223"/>
            <a:chExt cx="3505200" cy="3600552"/>
          </a:xfrm>
        </p:grpSpPr>
        <p:sp>
          <p:nvSpPr>
            <p:cNvPr id="6" name="Rectangle 5">
              <a:extLst>
                <a:ext uri="{FF2B5EF4-FFF2-40B4-BE49-F238E27FC236}">
                  <a16:creationId xmlns:a16="http://schemas.microsoft.com/office/drawing/2014/main" id="{16E542B8-5E50-F8D5-750A-C65974AC51C1}"/>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5B258C3-D29F-E79F-02A5-CE16B6F8AD6F}"/>
                </a:ext>
              </a:extLst>
            </p:cNvPr>
            <p:cNvSpPr txBox="1"/>
            <p:nvPr/>
          </p:nvSpPr>
          <p:spPr>
            <a:xfrm>
              <a:off x="4477869" y="4833570"/>
              <a:ext cx="3236262" cy="592535"/>
            </a:xfrm>
            <a:prstGeom prst="rect">
              <a:avLst/>
            </a:prstGeom>
            <a:noFill/>
          </p:spPr>
          <p:txBody>
            <a:bodyPr wrap="square">
              <a:spAutoFit/>
            </a:bodyPr>
            <a:lstStyle/>
            <a:p>
              <a:pPr algn="ctr">
                <a:lnSpc>
                  <a:spcPct val="90000"/>
                </a:lnSpc>
              </a:pPr>
              <a:r>
                <a:rPr lang="sv-SE" dirty="0"/>
                <a:t>Gynnar investering i alla fossilfria kraftslag</a:t>
              </a:r>
            </a:p>
          </p:txBody>
        </p:sp>
        <p:pic>
          <p:nvPicPr>
            <p:cNvPr id="22" name="Picture 21">
              <a:extLst>
                <a:ext uri="{FF2B5EF4-FFF2-40B4-BE49-F238E27FC236}">
                  <a16:creationId xmlns:a16="http://schemas.microsoft.com/office/drawing/2014/main" id="{4F58CAC9-F8E0-613A-0F7F-CFC0B89238F2}"/>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5" name="!!Kanbidratill">
            <a:extLst>
              <a:ext uri="{FF2B5EF4-FFF2-40B4-BE49-F238E27FC236}">
                <a16:creationId xmlns:a16="http://schemas.microsoft.com/office/drawing/2014/main" id="{67071FAD-53AA-A14D-452A-E90DCE3BA462}"/>
              </a:ext>
            </a:extLst>
          </p:cNvPr>
          <p:cNvGrpSpPr/>
          <p:nvPr/>
        </p:nvGrpSpPr>
        <p:grpSpPr>
          <a:xfrm>
            <a:off x="-10521294" y="2219223"/>
            <a:ext cx="3505200" cy="3600552"/>
            <a:chOff x="546100" y="2219223"/>
            <a:chExt cx="3505200" cy="3600552"/>
          </a:xfrm>
        </p:grpSpPr>
        <p:sp>
          <p:nvSpPr>
            <p:cNvPr id="3" name="Rectangle 2">
              <a:extLst>
                <a:ext uri="{FF2B5EF4-FFF2-40B4-BE49-F238E27FC236}">
                  <a16:creationId xmlns:a16="http://schemas.microsoft.com/office/drawing/2014/main" id="{5D428A14-6FD6-6B34-4332-B1485E864471}"/>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94A3A760-2D84-067C-300E-D150312AE471}"/>
                </a:ext>
              </a:extLst>
            </p:cNvPr>
            <p:cNvSpPr txBox="1"/>
            <p:nvPr/>
          </p:nvSpPr>
          <p:spPr>
            <a:xfrm>
              <a:off x="680570" y="4833570"/>
              <a:ext cx="3236262" cy="590931"/>
            </a:xfrm>
            <a:prstGeom prst="rect">
              <a:avLst/>
            </a:prstGeom>
            <a:noFill/>
          </p:spPr>
          <p:txBody>
            <a:bodyPr wrap="square">
              <a:spAutoFit/>
            </a:bodyPr>
            <a:lstStyle/>
            <a:p>
              <a:pPr algn="ctr">
                <a:lnSpc>
                  <a:spcPct val="90000"/>
                </a:lnSpc>
              </a:pPr>
              <a:r>
                <a:rPr lang="sv-SE" dirty="0"/>
                <a:t>Kan bidra till ett</a:t>
              </a:r>
              <a:br>
                <a:rPr lang="sv-SE" dirty="0"/>
              </a:br>
              <a:r>
                <a:rPr lang="sv-SE" dirty="0"/>
                <a:t>mer robust elsystem  </a:t>
              </a:r>
            </a:p>
          </p:txBody>
        </p:sp>
        <p:pic>
          <p:nvPicPr>
            <p:cNvPr id="20" name="Picture 19">
              <a:extLst>
                <a:ext uri="{FF2B5EF4-FFF2-40B4-BE49-F238E27FC236}">
                  <a16:creationId xmlns:a16="http://schemas.microsoft.com/office/drawing/2014/main" id="{0E538AC2-A5E4-AC83-93CD-324521D8F99C}"/>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sp>
        <p:nvSpPr>
          <p:cNvPr id="4" name="!!Title 33">
            <a:extLst>
              <a:ext uri="{FF2B5EF4-FFF2-40B4-BE49-F238E27FC236}">
                <a16:creationId xmlns:a16="http://schemas.microsoft.com/office/drawing/2014/main" id="{8D795AA5-8474-F2A1-7F23-D62F9146DC1B}"/>
              </a:ext>
            </a:extLst>
          </p:cNvPr>
          <p:cNvSpPr>
            <a:spLocks noGrp="1"/>
          </p:cNvSpPr>
          <p:nvPr>
            <p:ph type="title"/>
          </p:nvPr>
        </p:nvSpPr>
        <p:spPr>
          <a:xfrm>
            <a:off x="546101" y="752475"/>
            <a:ext cx="5549900" cy="1357313"/>
          </a:xfrm>
        </p:spPr>
        <p:txBody>
          <a:bodyPr/>
          <a:lstStyle/>
          <a:p>
            <a:r>
              <a:rPr lang="sv-SE" noProof="0" dirty="0">
                <a:solidFill>
                  <a:schemeClr val="bg1"/>
                </a:solidFill>
              </a:rPr>
              <a:t>Storskalig kommersiell vätgaslagring</a:t>
            </a:r>
          </a:p>
        </p:txBody>
      </p:sp>
      <p:sp>
        <p:nvSpPr>
          <p:cNvPr id="205" name="!!Hybrittext">
            <a:extLst>
              <a:ext uri="{FF2B5EF4-FFF2-40B4-BE49-F238E27FC236}">
                <a16:creationId xmlns:a16="http://schemas.microsoft.com/office/drawing/2014/main" id="{30E8C116-8468-E920-BA38-D7CD781D126B}"/>
              </a:ext>
            </a:extLst>
          </p:cNvPr>
          <p:cNvSpPr txBox="1"/>
          <p:nvPr/>
        </p:nvSpPr>
        <p:spPr>
          <a:xfrm>
            <a:off x="1317414" y="3962510"/>
            <a:ext cx="1993762"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50" normalizeH="0" noProof="0" dirty="0" err="1">
                <a:ln>
                  <a:noFill/>
                </a:ln>
                <a:solidFill>
                  <a:srgbClr val="FFFFFF"/>
                </a:solidFill>
                <a:effectLst/>
                <a:uLnTx/>
                <a:uFillTx/>
                <a:latin typeface="Aptos" panose="02110004020202020204"/>
                <a:ea typeface="+mn-ea"/>
                <a:cs typeface="+mn-cs"/>
              </a:rPr>
              <a:t>HYBRIT:s</a:t>
            </a:r>
            <a:r>
              <a:rPr kumimoji="0" lang="sv-SE" b="0" i="0" u="none" strike="noStrike" kern="1200" cap="none" spc="50" normalizeH="0" noProof="0" dirty="0">
                <a:ln>
                  <a:noFill/>
                </a:ln>
                <a:solidFill>
                  <a:srgbClr val="FFFFFF"/>
                </a:solidFill>
                <a:effectLst/>
                <a:uLnTx/>
                <a:uFillTx/>
                <a:latin typeface="Aptos" panose="02110004020202020204"/>
                <a:ea typeface="+mn-ea"/>
                <a:cs typeface="+mn-cs"/>
              </a:rPr>
              <a:t> </a:t>
            </a:r>
            <a:br>
              <a:rPr kumimoji="0" lang="sv-SE" b="0" i="0" u="none" strike="noStrike" kern="1200" cap="none" spc="50" normalizeH="0" noProof="0" dirty="0">
                <a:ln>
                  <a:noFill/>
                </a:ln>
                <a:solidFill>
                  <a:srgbClr val="FFFFFF"/>
                </a:solidFill>
                <a:effectLst/>
                <a:uLnTx/>
                <a:uFillTx/>
                <a:latin typeface="Aptos" panose="02110004020202020204"/>
                <a:ea typeface="+mn-ea"/>
                <a:cs typeface="+mn-cs"/>
              </a:rPr>
            </a:br>
            <a:r>
              <a:rPr kumimoji="0" lang="sv-SE" b="0" i="0" u="none" strike="noStrike" kern="1200" cap="none" spc="50" normalizeH="0" noProof="0" dirty="0">
                <a:ln>
                  <a:noFill/>
                </a:ln>
                <a:solidFill>
                  <a:srgbClr val="FFFFFF"/>
                </a:solidFill>
                <a:effectLst/>
                <a:uLnTx/>
                <a:uFillTx/>
                <a:latin typeface="Aptos" panose="02110004020202020204"/>
                <a:ea typeface="+mn-ea"/>
                <a:cs typeface="+mn-cs"/>
              </a:rPr>
              <a:t>p</a:t>
            </a:r>
            <a:r>
              <a:rPr lang="sv-SE" spc="50" dirty="0" err="1">
                <a:solidFill>
                  <a:srgbClr val="FFFFFF"/>
                </a:solidFill>
                <a:latin typeface="Aptos" panose="02110004020202020204"/>
              </a:rPr>
              <a:t>ilotlager</a:t>
            </a:r>
            <a:br>
              <a:rPr kumimoji="0" lang="sv-SE" b="0" i="0" u="none" strike="noStrike" kern="1200" cap="none" spc="50" normalizeH="0" noProof="0" dirty="0">
                <a:ln>
                  <a:noFill/>
                </a:ln>
                <a:solidFill>
                  <a:srgbClr val="FFFFFF"/>
                </a:solidFill>
                <a:effectLst/>
                <a:uLnTx/>
                <a:uFillTx/>
                <a:latin typeface="Aptos" panose="02110004020202020204"/>
                <a:ea typeface="+mn-ea"/>
                <a:cs typeface="+mn-cs"/>
              </a:rPr>
            </a:br>
            <a:r>
              <a:rPr kumimoji="0" lang="sv-SE" sz="2400" b="1" i="0" u="none" strike="noStrike" kern="1200" cap="none" spc="50" normalizeH="0" noProof="0" dirty="0">
                <a:ln>
                  <a:noFill/>
                </a:ln>
                <a:solidFill>
                  <a:srgbClr val="FFFFFF"/>
                </a:solidFill>
                <a:effectLst/>
                <a:uLnTx/>
                <a:uFillTx/>
                <a:latin typeface="Aptos" panose="02110004020202020204"/>
                <a:ea typeface="+mn-ea"/>
                <a:cs typeface="+mn-cs"/>
              </a:rPr>
              <a:t>100 m</a:t>
            </a:r>
            <a:r>
              <a:rPr kumimoji="0" lang="sv-SE" sz="2400" b="1" i="0" u="none" strike="noStrike" kern="1200" cap="none" spc="50" normalizeH="0" baseline="30000" noProof="0" dirty="0">
                <a:ln>
                  <a:noFill/>
                </a:ln>
                <a:solidFill>
                  <a:srgbClr val="FFFFFF"/>
                </a:solidFill>
                <a:effectLst/>
                <a:uLnTx/>
                <a:uFillTx/>
                <a:latin typeface="Aptos" panose="02110004020202020204"/>
                <a:ea typeface="+mn-ea"/>
                <a:cs typeface="+mn-cs"/>
              </a:rPr>
              <a:t>3</a:t>
            </a:r>
          </a:p>
        </p:txBody>
      </p:sp>
      <p:grpSp>
        <p:nvGrpSpPr>
          <p:cNvPr id="256" name="!!HYBRIT_Pilot">
            <a:extLst>
              <a:ext uri="{FF2B5EF4-FFF2-40B4-BE49-F238E27FC236}">
                <a16:creationId xmlns:a16="http://schemas.microsoft.com/office/drawing/2014/main" id="{993132B7-EC15-CB27-1923-2DF5A69ABE66}"/>
              </a:ext>
            </a:extLst>
          </p:cNvPr>
          <p:cNvGrpSpPr/>
          <p:nvPr/>
        </p:nvGrpSpPr>
        <p:grpSpPr>
          <a:xfrm>
            <a:off x="2152506" y="5307349"/>
            <a:ext cx="323577" cy="722345"/>
            <a:chOff x="4630151" y="4833569"/>
            <a:chExt cx="323577" cy="722345"/>
          </a:xfrm>
        </p:grpSpPr>
        <p:pic>
          <p:nvPicPr>
            <p:cNvPr id="207" name="Picture 206" descr="A close-up of a white surface&#10;&#10;AI-generated content may be incorrect.">
              <a:extLst>
                <a:ext uri="{FF2B5EF4-FFF2-40B4-BE49-F238E27FC236}">
                  <a16:creationId xmlns:a16="http://schemas.microsoft.com/office/drawing/2014/main" id="{E63CABAD-2CCD-7C9F-D999-72F30C3126BD}"/>
                </a:ext>
              </a:extLst>
            </p:cNvPr>
            <p:cNvPicPr>
              <a:picLocks noChangeAspect="1"/>
            </p:cNvPicPr>
            <p:nvPr/>
          </p:nvPicPr>
          <p:blipFill>
            <a:blip r:embed="rId7" cstate="print">
              <a:alphaModFix amt="50000"/>
              <a:extLst>
                <a:ext uri="{28A0092B-C50C-407E-A947-70E740481C1C}">
                  <a14:useLocalDpi xmlns:a14="http://schemas.microsoft.com/office/drawing/2010/main"/>
                </a:ext>
              </a:extLst>
            </a:blip>
            <a:srcRect r="-1"/>
            <a:stretch/>
          </p:blipFill>
          <p:spPr>
            <a:xfrm rot="16200000">
              <a:off x="4430768" y="5032953"/>
              <a:ext cx="722344" cy="323577"/>
            </a:xfrm>
            <a:custGeom>
              <a:avLst/>
              <a:gdLst>
                <a:gd name="connsiteX0" fmla="*/ 4556308 w 4556308"/>
                <a:gd name="connsiteY0" fmla="*/ 1020510 h 2041019"/>
                <a:gd name="connsiteX1" fmla="*/ 3535799 w 4556308"/>
                <a:gd name="connsiteY1" fmla="*/ 2041019 h 2041019"/>
                <a:gd name="connsiteX2" fmla="*/ 1020509 w 4556308"/>
                <a:gd name="connsiteY2" fmla="*/ 2041019 h 2041019"/>
                <a:gd name="connsiteX3" fmla="*/ 0 w 4556308"/>
                <a:gd name="connsiteY3" fmla="*/ 1020509 h 2041019"/>
                <a:gd name="connsiteX4" fmla="*/ 1020510 w 4556308"/>
                <a:gd name="connsiteY4" fmla="*/ 0 h 2041019"/>
                <a:gd name="connsiteX5" fmla="*/ 3535799 w 4556308"/>
                <a:gd name="connsiteY5" fmla="*/ 1 h 2041019"/>
                <a:gd name="connsiteX6" fmla="*/ 4556308 w 4556308"/>
                <a:gd name="connsiteY6" fmla="*/ 1020510 h 20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6308" h="2041019">
                  <a:moveTo>
                    <a:pt x="4556308" y="1020510"/>
                  </a:moveTo>
                  <a:cubicBezTo>
                    <a:pt x="4556308" y="1584122"/>
                    <a:pt x="4099411" y="2041019"/>
                    <a:pt x="3535799" y="2041019"/>
                  </a:cubicBezTo>
                  <a:lnTo>
                    <a:pt x="1020509" y="2041019"/>
                  </a:lnTo>
                  <a:cubicBezTo>
                    <a:pt x="456897" y="2041018"/>
                    <a:pt x="0" y="1584121"/>
                    <a:pt x="0" y="1020509"/>
                  </a:cubicBezTo>
                  <a:cubicBezTo>
                    <a:pt x="1" y="456898"/>
                    <a:pt x="456897" y="0"/>
                    <a:pt x="1020510" y="0"/>
                  </a:cubicBezTo>
                  <a:lnTo>
                    <a:pt x="3535799" y="1"/>
                  </a:lnTo>
                  <a:cubicBezTo>
                    <a:pt x="4099411" y="1"/>
                    <a:pt x="4556308" y="456898"/>
                    <a:pt x="4556308" y="1020510"/>
                  </a:cubicBezTo>
                  <a:close/>
                </a:path>
              </a:pathLst>
            </a:custGeom>
            <a:ln w="9525">
              <a:solidFill>
                <a:schemeClr val="accent5"/>
              </a:solidFill>
            </a:ln>
          </p:spPr>
        </p:pic>
        <p:sp>
          <p:nvSpPr>
            <p:cNvPr id="208" name="Freeform 207">
              <a:extLst>
                <a:ext uri="{FF2B5EF4-FFF2-40B4-BE49-F238E27FC236}">
                  <a16:creationId xmlns:a16="http://schemas.microsoft.com/office/drawing/2014/main" id="{F8470BAB-C52F-1E83-75CD-3D386CE5F171}"/>
                </a:ext>
              </a:extLst>
            </p:cNvPr>
            <p:cNvSpPr/>
            <p:nvPr/>
          </p:nvSpPr>
          <p:spPr>
            <a:xfrm>
              <a:off x="4644455" y="4847447"/>
              <a:ext cx="294968" cy="694590"/>
            </a:xfrm>
            <a:custGeom>
              <a:avLst/>
              <a:gdLst>
                <a:gd name="connsiteX0" fmla="*/ 1016801 w 2030606"/>
                <a:gd name="connsiteY0" fmla="*/ 0 h 4781665"/>
                <a:gd name="connsiteX1" fmla="*/ 2030607 w 2030606"/>
                <a:gd name="connsiteY1" fmla="*/ 1013806 h 4781665"/>
                <a:gd name="connsiteX2" fmla="*/ 2030607 w 2030606"/>
                <a:gd name="connsiteY2" fmla="*/ 3767859 h 4781665"/>
                <a:gd name="connsiteX3" fmla="*/ 1016801 w 2030606"/>
                <a:gd name="connsiteY3" fmla="*/ 4781665 h 4781665"/>
                <a:gd name="connsiteX4" fmla="*/ 1013805 w 2030606"/>
                <a:gd name="connsiteY4" fmla="*/ 4781665 h 4781665"/>
                <a:gd name="connsiteX5" fmla="*/ -1 w 2030606"/>
                <a:gd name="connsiteY5" fmla="*/ 3767859 h 4781665"/>
                <a:gd name="connsiteX6" fmla="*/ -1 w 2030606"/>
                <a:gd name="connsiteY6" fmla="*/ 1013806 h 4781665"/>
                <a:gd name="connsiteX7" fmla="*/ 1013805 w 2030606"/>
                <a:gd name="connsiteY7" fmla="*/ 0 h 478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606" h="4781665">
                  <a:moveTo>
                    <a:pt x="1016801" y="0"/>
                  </a:moveTo>
                  <a:cubicBezTo>
                    <a:pt x="1576710" y="0"/>
                    <a:pt x="2030607" y="453896"/>
                    <a:pt x="2030607" y="1013806"/>
                  </a:cubicBezTo>
                  <a:lnTo>
                    <a:pt x="2030607" y="3767859"/>
                  </a:lnTo>
                  <a:cubicBezTo>
                    <a:pt x="2030607" y="4327769"/>
                    <a:pt x="1576710" y="4781665"/>
                    <a:pt x="1016801" y="4781665"/>
                  </a:cubicBezTo>
                  <a:lnTo>
                    <a:pt x="1013805" y="4781665"/>
                  </a:lnTo>
                  <a:cubicBezTo>
                    <a:pt x="453896" y="4781665"/>
                    <a:pt x="-1" y="4327769"/>
                    <a:pt x="-1" y="3767859"/>
                  </a:cubicBezTo>
                  <a:lnTo>
                    <a:pt x="-1" y="1013806"/>
                  </a:lnTo>
                  <a:cubicBezTo>
                    <a:pt x="-1" y="453896"/>
                    <a:pt x="453896" y="0"/>
                    <a:pt x="1013805" y="0"/>
                  </a:cubicBezTo>
                  <a:close/>
                </a:path>
              </a:pathLst>
            </a:custGeom>
            <a:solidFill>
              <a:schemeClr val="bg1"/>
            </a:solidFill>
            <a:ln w="3175" cap="flat">
              <a:solidFill>
                <a:schemeClr val="accent5"/>
              </a:solidFill>
              <a:prstDash val="solid"/>
              <a:miter/>
            </a:ln>
          </p:spPr>
          <p:txBody>
            <a:bodyPr rtlCol="0" anchor="ctr"/>
            <a:lstStyle/>
            <a:p>
              <a:endParaRPr lang="sv-SE"/>
            </a:p>
          </p:txBody>
        </p:sp>
        <p:pic>
          <p:nvPicPr>
            <p:cNvPr id="209" name="Picture 208" descr="A close-up of a white surface&#10;&#10;AI-generated content may be incorrect.">
              <a:extLst>
                <a:ext uri="{FF2B5EF4-FFF2-40B4-BE49-F238E27FC236}">
                  <a16:creationId xmlns:a16="http://schemas.microsoft.com/office/drawing/2014/main" id="{08BE9887-2680-CC8A-4B5E-D1808E8B77BF}"/>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rot="5400000">
              <a:off x="4511669" y="5113840"/>
              <a:ext cx="722329" cy="161788"/>
            </a:xfrm>
            <a:custGeom>
              <a:avLst/>
              <a:gdLst>
                <a:gd name="connsiteX0" fmla="*/ 0 w 4556214"/>
                <a:gd name="connsiteY0" fmla="*/ 1020509 h 1020509"/>
                <a:gd name="connsiteX1" fmla="*/ 1020509 w 4556214"/>
                <a:gd name="connsiteY1" fmla="*/ 0 h 1020509"/>
                <a:gd name="connsiteX2" fmla="*/ 3535799 w 4556214"/>
                <a:gd name="connsiteY2" fmla="*/ 0 h 1020509"/>
                <a:gd name="connsiteX3" fmla="*/ 4556214 w 4556214"/>
                <a:gd name="connsiteY3" fmla="*/ 1013318 h 1020509"/>
                <a:gd name="connsiteX4" fmla="*/ 4536579 w 4556214"/>
                <a:gd name="connsiteY4" fmla="*/ 994392 h 1020509"/>
                <a:gd name="connsiteX5" fmla="*/ 4503176 w 4556214"/>
                <a:gd name="connsiteY5" fmla="*/ 977028 h 1020509"/>
                <a:gd name="connsiteX6" fmla="*/ 4427048 w 4556214"/>
                <a:gd name="connsiteY6" fmla="*/ 951668 h 1020509"/>
                <a:gd name="connsiteX7" fmla="*/ 4326838 w 4556214"/>
                <a:gd name="connsiteY7" fmla="*/ 928957 h 1020509"/>
                <a:gd name="connsiteX8" fmla="*/ 4226627 w 4556214"/>
                <a:gd name="connsiteY8" fmla="*/ 910269 h 1020509"/>
                <a:gd name="connsiteX9" fmla="*/ 4090364 w 4556214"/>
                <a:gd name="connsiteY9" fmla="*/ 890207 h 1020509"/>
                <a:gd name="connsiteX10" fmla="*/ 3922021 w 4556214"/>
                <a:gd name="connsiteY10" fmla="*/ 868822 h 1020509"/>
                <a:gd name="connsiteX11" fmla="*/ 3796450 w 4556214"/>
                <a:gd name="connsiteY11" fmla="*/ 854107 h 1020509"/>
                <a:gd name="connsiteX12" fmla="*/ 3646845 w 4556214"/>
                <a:gd name="connsiteY12" fmla="*/ 842090 h 1020509"/>
                <a:gd name="connsiteX13" fmla="*/ 3549332 w 4556214"/>
                <a:gd name="connsiteY13" fmla="*/ 835417 h 1020509"/>
                <a:gd name="connsiteX14" fmla="*/ 1446616 w 4556214"/>
                <a:gd name="connsiteY14" fmla="*/ 835417 h 1020509"/>
                <a:gd name="connsiteX15" fmla="*/ 1011094 w 4556214"/>
                <a:gd name="connsiteY15" fmla="*/ 834093 h 1020509"/>
                <a:gd name="connsiteX16" fmla="*/ 910883 w 4556214"/>
                <a:gd name="connsiteY16" fmla="*/ 840765 h 1020509"/>
                <a:gd name="connsiteX17" fmla="*/ 783988 w 4556214"/>
                <a:gd name="connsiteY17" fmla="*/ 852782 h 1020509"/>
                <a:gd name="connsiteX18" fmla="*/ 658417 w 4556214"/>
                <a:gd name="connsiteY18" fmla="*/ 866125 h 1020509"/>
                <a:gd name="connsiteX19" fmla="*/ 527500 w 4556214"/>
                <a:gd name="connsiteY19" fmla="*/ 882164 h 1020509"/>
                <a:gd name="connsiteX20" fmla="*/ 395259 w 4556214"/>
                <a:gd name="connsiteY20" fmla="*/ 900853 h 1020509"/>
                <a:gd name="connsiteX21" fmla="*/ 265667 w 4556214"/>
                <a:gd name="connsiteY21" fmla="*/ 922239 h 1020509"/>
                <a:gd name="connsiteX22" fmla="*/ 134750 w 4556214"/>
                <a:gd name="connsiteY22" fmla="*/ 950295 h 1020509"/>
                <a:gd name="connsiteX23" fmla="*/ 42582 w 4556214"/>
                <a:gd name="connsiteY23" fmla="*/ 979678 h 1020509"/>
                <a:gd name="connsiteX24" fmla="*/ 2508 w 4556214"/>
                <a:gd name="connsiteY24" fmla="*/ 1009060 h 1020509"/>
                <a:gd name="connsiteX25" fmla="*/ 1231 w 4556214"/>
                <a:gd name="connsiteY25" fmla="*/ 1020509 h 102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56214" h="1020509">
                  <a:moveTo>
                    <a:pt x="0" y="1020509"/>
                  </a:moveTo>
                  <a:cubicBezTo>
                    <a:pt x="0" y="456909"/>
                    <a:pt x="456909" y="0"/>
                    <a:pt x="1020509" y="0"/>
                  </a:cubicBezTo>
                  <a:lnTo>
                    <a:pt x="3535799" y="0"/>
                  </a:lnTo>
                  <a:cubicBezTo>
                    <a:pt x="4096987" y="0"/>
                    <a:pt x="4552335" y="453029"/>
                    <a:pt x="4556214" y="1013318"/>
                  </a:cubicBezTo>
                  <a:lnTo>
                    <a:pt x="4536579" y="994392"/>
                  </a:lnTo>
                  <a:lnTo>
                    <a:pt x="4503176" y="977028"/>
                  </a:lnTo>
                  <a:lnTo>
                    <a:pt x="4427048" y="951668"/>
                  </a:lnTo>
                  <a:lnTo>
                    <a:pt x="4326838" y="928957"/>
                  </a:lnTo>
                  <a:lnTo>
                    <a:pt x="4226627" y="910269"/>
                  </a:lnTo>
                  <a:lnTo>
                    <a:pt x="4090364" y="890207"/>
                  </a:lnTo>
                  <a:lnTo>
                    <a:pt x="3922021" y="868822"/>
                  </a:lnTo>
                  <a:lnTo>
                    <a:pt x="3796450" y="854107"/>
                  </a:lnTo>
                  <a:lnTo>
                    <a:pt x="3646845" y="842090"/>
                  </a:lnTo>
                  <a:lnTo>
                    <a:pt x="3549332" y="835417"/>
                  </a:lnTo>
                  <a:lnTo>
                    <a:pt x="1446616" y="835417"/>
                  </a:lnTo>
                  <a:lnTo>
                    <a:pt x="1011094" y="834093"/>
                  </a:lnTo>
                  <a:lnTo>
                    <a:pt x="910883" y="840765"/>
                  </a:lnTo>
                  <a:lnTo>
                    <a:pt x="783988" y="852782"/>
                  </a:lnTo>
                  <a:lnTo>
                    <a:pt x="658417" y="866125"/>
                  </a:lnTo>
                  <a:lnTo>
                    <a:pt x="527500" y="882164"/>
                  </a:lnTo>
                  <a:lnTo>
                    <a:pt x="395259" y="900853"/>
                  </a:lnTo>
                  <a:lnTo>
                    <a:pt x="265667" y="922239"/>
                  </a:lnTo>
                  <a:lnTo>
                    <a:pt x="134750" y="950295"/>
                  </a:lnTo>
                  <a:lnTo>
                    <a:pt x="42582" y="979678"/>
                  </a:lnTo>
                  <a:lnTo>
                    <a:pt x="2508" y="1009060"/>
                  </a:lnTo>
                  <a:lnTo>
                    <a:pt x="1231" y="1020509"/>
                  </a:lnTo>
                  <a:close/>
                </a:path>
              </a:pathLst>
            </a:custGeom>
          </p:spPr>
        </p:pic>
      </p:grpSp>
      <p:grpSp>
        <p:nvGrpSpPr>
          <p:cNvPr id="258" name="!!Hybrit_logo">
            <a:extLst>
              <a:ext uri="{FF2B5EF4-FFF2-40B4-BE49-F238E27FC236}">
                <a16:creationId xmlns:a16="http://schemas.microsoft.com/office/drawing/2014/main" id="{8F0630A7-0AB2-580D-1BD6-55A5269FAB6A}"/>
              </a:ext>
            </a:extLst>
          </p:cNvPr>
          <p:cNvGrpSpPr/>
          <p:nvPr/>
        </p:nvGrpSpPr>
        <p:grpSpPr>
          <a:xfrm>
            <a:off x="10823330" y="6338104"/>
            <a:ext cx="1018484" cy="320220"/>
            <a:chOff x="1343025" y="-3013943"/>
            <a:chExt cx="7772399" cy="2443714"/>
          </a:xfrm>
          <a:solidFill>
            <a:schemeClr val="accent5"/>
          </a:solidFill>
        </p:grpSpPr>
        <p:sp>
          <p:nvSpPr>
            <p:cNvPr id="259" name="Freeform 258">
              <a:extLst>
                <a:ext uri="{FF2B5EF4-FFF2-40B4-BE49-F238E27FC236}">
                  <a16:creationId xmlns:a16="http://schemas.microsoft.com/office/drawing/2014/main" id="{ACCF3AAE-C2AE-47DD-366D-5B8972A08E8D}"/>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solidFill>
              <a:srgbClr val="1F376B"/>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15034F57-A23C-3046-3269-6E28592D8F26}"/>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8293FDB2-8AB9-CE23-8BEE-9428D3AFD0DF}"/>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solidFill>
              <a:schemeClr val="accent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5CF28AAB-381C-B046-E3DF-7CF02FA94932}"/>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solidFill>
              <a:srgbClr val="0046A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3" name="Freeform 262">
              <a:extLst>
                <a:ext uri="{FF2B5EF4-FFF2-40B4-BE49-F238E27FC236}">
                  <a16:creationId xmlns:a16="http://schemas.microsoft.com/office/drawing/2014/main" id="{E757CEBB-4793-D811-ADA1-6ABF10A0FF11}"/>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solidFill>
              <a:schemeClr val="accent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257" name="TextBox 256">
            <a:extLst>
              <a:ext uri="{FF2B5EF4-FFF2-40B4-BE49-F238E27FC236}">
                <a16:creationId xmlns:a16="http://schemas.microsoft.com/office/drawing/2014/main" id="{BEB46764-7E3B-51D3-C5CE-44457143D806}"/>
              </a:ext>
            </a:extLst>
          </p:cNvPr>
          <p:cNvSpPr txBox="1"/>
          <p:nvPr/>
        </p:nvSpPr>
        <p:spPr>
          <a:xfrm>
            <a:off x="9277383" y="3962510"/>
            <a:ext cx="2781370" cy="1292662"/>
          </a:xfrm>
          <a:prstGeom prst="rect">
            <a:avLst/>
          </a:prstGeom>
          <a:noFill/>
        </p:spPr>
        <p:txBody>
          <a:bodyPr wrap="square" lIns="0" tIns="0" rIns="0" bIns="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normalizeH="0" noProof="0" dirty="0">
                <a:ln>
                  <a:noFill/>
                </a:ln>
                <a:solidFill>
                  <a:schemeClr val="tx2"/>
                </a:solidFill>
                <a:effectLst/>
                <a:uLnTx/>
                <a:uFillTx/>
                <a:latin typeface="Aptos" panose="02110004020202020204"/>
                <a:ea typeface="+mn-ea"/>
                <a:cs typeface="+mn-cs"/>
              </a:rPr>
              <a:t>Framtida </a:t>
            </a:r>
            <a:br>
              <a:rPr kumimoji="0" lang="sv-SE" b="0" i="0" u="none" strike="noStrike" kern="1200" cap="none" normalizeH="0" noProof="0" dirty="0">
                <a:ln>
                  <a:noFill/>
                </a:ln>
                <a:solidFill>
                  <a:schemeClr val="tx2"/>
                </a:solidFill>
                <a:effectLst/>
                <a:uLnTx/>
                <a:uFillTx/>
                <a:latin typeface="Aptos" panose="02110004020202020204"/>
                <a:ea typeface="+mn-ea"/>
                <a:cs typeface="+mn-cs"/>
              </a:rPr>
            </a:br>
            <a:r>
              <a:rPr kumimoji="0" lang="sv-SE" b="0" i="0" u="none" strike="noStrike" kern="1200" cap="none" normalizeH="0" noProof="0" dirty="0">
                <a:ln>
                  <a:noFill/>
                </a:ln>
                <a:solidFill>
                  <a:schemeClr val="tx2"/>
                </a:solidFill>
                <a:effectLst/>
                <a:uLnTx/>
                <a:uFillTx/>
                <a:latin typeface="Aptos" panose="02110004020202020204"/>
                <a:ea typeface="+mn-ea"/>
                <a:cs typeface="+mn-cs"/>
              </a:rPr>
              <a:t>kommersiell skala</a:t>
            </a:r>
          </a:p>
          <a:p>
            <a:pPr marL="0" marR="0" lvl="0" indent="0" defTabSz="914400" rtl="0" eaLnBrk="1" fontAlgn="auto" latinLnBrk="0" hangingPunct="1">
              <a:lnSpc>
                <a:spcPct val="100000"/>
              </a:lnSpc>
              <a:spcBef>
                <a:spcPts val="0"/>
              </a:spcBef>
              <a:spcAft>
                <a:spcPts val="0"/>
              </a:spcAft>
              <a:buClrTx/>
              <a:buSzTx/>
              <a:buFontTx/>
              <a:buNone/>
              <a:tabLst/>
              <a:defRPr/>
            </a:pPr>
            <a:r>
              <a:rPr lang="sv-SE" sz="2400" b="1" dirty="0">
                <a:solidFill>
                  <a:schemeClr val="tx2"/>
                </a:solidFill>
                <a:latin typeface="Aptos" panose="02110004020202020204"/>
              </a:rPr>
              <a:t>ca 50 000 till</a:t>
            </a:r>
            <a:br>
              <a:rPr lang="sv-SE" sz="2400" b="1" dirty="0">
                <a:solidFill>
                  <a:schemeClr val="tx2"/>
                </a:solidFill>
                <a:latin typeface="Aptos" panose="02110004020202020204"/>
              </a:rPr>
            </a:br>
            <a:r>
              <a:rPr lang="sv-SE" sz="2400" b="1" dirty="0">
                <a:solidFill>
                  <a:schemeClr val="tx2"/>
                </a:solidFill>
                <a:latin typeface="Aptos" panose="02110004020202020204"/>
              </a:rPr>
              <a:t>100 000 m</a:t>
            </a:r>
            <a:r>
              <a:rPr lang="sv-SE" sz="2400" b="1" baseline="30000" dirty="0">
                <a:solidFill>
                  <a:schemeClr val="tx2"/>
                </a:solidFill>
                <a:latin typeface="Aptos" panose="02110004020202020204"/>
              </a:rPr>
              <a:t>3</a:t>
            </a:r>
            <a:endParaRPr kumimoji="0" lang="sv-SE" sz="2400" b="1" i="0" u="none" strike="noStrike" kern="1200" cap="none" normalizeH="0" baseline="30000" noProof="0" dirty="0">
              <a:ln>
                <a:noFill/>
              </a:ln>
              <a:solidFill>
                <a:schemeClr val="tx2"/>
              </a:solidFill>
              <a:effectLst/>
              <a:uLnTx/>
              <a:uFillTx/>
              <a:latin typeface="Aptos" panose="02110004020202020204"/>
            </a:endParaRPr>
          </a:p>
        </p:txBody>
      </p:sp>
      <p:grpSp>
        <p:nvGrpSpPr>
          <p:cNvPr id="146" name="!!Storskalig">
            <a:extLst>
              <a:ext uri="{FF2B5EF4-FFF2-40B4-BE49-F238E27FC236}">
                <a16:creationId xmlns:a16="http://schemas.microsoft.com/office/drawing/2014/main" id="{0F39212C-CE64-6EF5-F157-1F6D08FD7A4E}"/>
              </a:ext>
            </a:extLst>
          </p:cNvPr>
          <p:cNvGrpSpPr/>
          <p:nvPr/>
        </p:nvGrpSpPr>
        <p:grpSpPr>
          <a:xfrm>
            <a:off x="6685869" y="690157"/>
            <a:ext cx="2390533" cy="5324213"/>
            <a:chOff x="7077930" y="1042989"/>
            <a:chExt cx="2045750" cy="4556310"/>
          </a:xfrm>
        </p:grpSpPr>
        <p:pic>
          <p:nvPicPr>
            <p:cNvPr id="144" name="Picture 143" descr="A close-up of a white surface&#10;&#10;AI-generated content may be incorrect.">
              <a:extLst>
                <a:ext uri="{FF2B5EF4-FFF2-40B4-BE49-F238E27FC236}">
                  <a16:creationId xmlns:a16="http://schemas.microsoft.com/office/drawing/2014/main" id="{7E87D1E5-E567-ADF6-62AD-B270CBD60229}"/>
                </a:ext>
              </a:extLst>
            </p:cNvPr>
            <p:cNvPicPr>
              <a:picLocks noChangeAspect="1"/>
            </p:cNvPicPr>
            <p:nvPr/>
          </p:nvPicPr>
          <p:blipFill>
            <a:blip r:embed="rId7" cstate="print">
              <a:alphaModFix amt="50000"/>
              <a:extLst>
                <a:ext uri="{28A0092B-C50C-407E-A947-70E740481C1C}">
                  <a14:useLocalDpi xmlns:a14="http://schemas.microsoft.com/office/drawing/2010/main"/>
                </a:ext>
              </a:extLst>
            </a:blip>
            <a:srcRect r="-1"/>
            <a:stretch/>
          </p:blipFill>
          <p:spPr>
            <a:xfrm rot="16200000">
              <a:off x="5820286" y="2300634"/>
              <a:ext cx="4556308" cy="2041019"/>
            </a:xfrm>
            <a:custGeom>
              <a:avLst/>
              <a:gdLst>
                <a:gd name="connsiteX0" fmla="*/ 4556308 w 4556308"/>
                <a:gd name="connsiteY0" fmla="*/ 1020510 h 2041019"/>
                <a:gd name="connsiteX1" fmla="*/ 3535799 w 4556308"/>
                <a:gd name="connsiteY1" fmla="*/ 2041019 h 2041019"/>
                <a:gd name="connsiteX2" fmla="*/ 1020509 w 4556308"/>
                <a:gd name="connsiteY2" fmla="*/ 2041019 h 2041019"/>
                <a:gd name="connsiteX3" fmla="*/ 0 w 4556308"/>
                <a:gd name="connsiteY3" fmla="*/ 1020509 h 2041019"/>
                <a:gd name="connsiteX4" fmla="*/ 1020510 w 4556308"/>
                <a:gd name="connsiteY4" fmla="*/ 0 h 2041019"/>
                <a:gd name="connsiteX5" fmla="*/ 3535799 w 4556308"/>
                <a:gd name="connsiteY5" fmla="*/ 1 h 2041019"/>
                <a:gd name="connsiteX6" fmla="*/ 4556308 w 4556308"/>
                <a:gd name="connsiteY6" fmla="*/ 1020510 h 20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6308" h="2041019">
                  <a:moveTo>
                    <a:pt x="4556308" y="1020510"/>
                  </a:moveTo>
                  <a:cubicBezTo>
                    <a:pt x="4556308" y="1584122"/>
                    <a:pt x="4099411" y="2041019"/>
                    <a:pt x="3535799" y="2041019"/>
                  </a:cubicBezTo>
                  <a:lnTo>
                    <a:pt x="1020509" y="2041019"/>
                  </a:lnTo>
                  <a:cubicBezTo>
                    <a:pt x="456897" y="2041018"/>
                    <a:pt x="0" y="1584121"/>
                    <a:pt x="0" y="1020509"/>
                  </a:cubicBezTo>
                  <a:cubicBezTo>
                    <a:pt x="1" y="456898"/>
                    <a:pt x="456897" y="0"/>
                    <a:pt x="1020510" y="0"/>
                  </a:cubicBezTo>
                  <a:lnTo>
                    <a:pt x="3535799" y="1"/>
                  </a:lnTo>
                  <a:cubicBezTo>
                    <a:pt x="4099411" y="1"/>
                    <a:pt x="4556308" y="456898"/>
                    <a:pt x="4556308" y="1020510"/>
                  </a:cubicBezTo>
                  <a:close/>
                </a:path>
              </a:pathLst>
            </a:custGeom>
            <a:ln w="19050">
              <a:solidFill>
                <a:schemeClr val="accent5"/>
              </a:solidFill>
            </a:ln>
          </p:spPr>
        </p:pic>
        <p:sp>
          <p:nvSpPr>
            <p:cNvPr id="88" name="Freeform 87">
              <a:extLst>
                <a:ext uri="{FF2B5EF4-FFF2-40B4-BE49-F238E27FC236}">
                  <a16:creationId xmlns:a16="http://schemas.microsoft.com/office/drawing/2014/main" id="{A1786E47-2E89-2963-3F93-C009AC1A4DFD}"/>
                </a:ext>
              </a:extLst>
            </p:cNvPr>
            <p:cNvSpPr/>
            <p:nvPr/>
          </p:nvSpPr>
          <p:spPr>
            <a:xfrm>
              <a:off x="7168158" y="1130519"/>
              <a:ext cx="1860563" cy="4381247"/>
            </a:xfrm>
            <a:custGeom>
              <a:avLst/>
              <a:gdLst>
                <a:gd name="connsiteX0" fmla="*/ 1016801 w 2030606"/>
                <a:gd name="connsiteY0" fmla="*/ 0 h 4781665"/>
                <a:gd name="connsiteX1" fmla="*/ 2030607 w 2030606"/>
                <a:gd name="connsiteY1" fmla="*/ 1013806 h 4781665"/>
                <a:gd name="connsiteX2" fmla="*/ 2030607 w 2030606"/>
                <a:gd name="connsiteY2" fmla="*/ 3767859 h 4781665"/>
                <a:gd name="connsiteX3" fmla="*/ 1016801 w 2030606"/>
                <a:gd name="connsiteY3" fmla="*/ 4781665 h 4781665"/>
                <a:gd name="connsiteX4" fmla="*/ 1013805 w 2030606"/>
                <a:gd name="connsiteY4" fmla="*/ 4781665 h 4781665"/>
                <a:gd name="connsiteX5" fmla="*/ -1 w 2030606"/>
                <a:gd name="connsiteY5" fmla="*/ 3767859 h 4781665"/>
                <a:gd name="connsiteX6" fmla="*/ -1 w 2030606"/>
                <a:gd name="connsiteY6" fmla="*/ 1013806 h 4781665"/>
                <a:gd name="connsiteX7" fmla="*/ 1013805 w 2030606"/>
                <a:gd name="connsiteY7" fmla="*/ 0 h 478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606" h="4781665">
                  <a:moveTo>
                    <a:pt x="1016801" y="0"/>
                  </a:moveTo>
                  <a:cubicBezTo>
                    <a:pt x="1576710" y="0"/>
                    <a:pt x="2030607" y="453896"/>
                    <a:pt x="2030607" y="1013806"/>
                  </a:cubicBezTo>
                  <a:lnTo>
                    <a:pt x="2030607" y="3767859"/>
                  </a:lnTo>
                  <a:cubicBezTo>
                    <a:pt x="2030607" y="4327769"/>
                    <a:pt x="1576710" y="4781665"/>
                    <a:pt x="1016801" y="4781665"/>
                  </a:cubicBezTo>
                  <a:lnTo>
                    <a:pt x="1013805" y="4781665"/>
                  </a:lnTo>
                  <a:cubicBezTo>
                    <a:pt x="453896" y="4781665"/>
                    <a:pt x="-1" y="4327769"/>
                    <a:pt x="-1" y="3767859"/>
                  </a:cubicBezTo>
                  <a:lnTo>
                    <a:pt x="-1" y="1013806"/>
                  </a:lnTo>
                  <a:cubicBezTo>
                    <a:pt x="-1" y="453896"/>
                    <a:pt x="453896" y="0"/>
                    <a:pt x="1013805" y="0"/>
                  </a:cubicBezTo>
                  <a:close/>
                </a:path>
              </a:pathLst>
            </a:custGeom>
            <a:solidFill>
              <a:schemeClr val="bg1"/>
            </a:solidFill>
            <a:ln w="12700" cap="flat">
              <a:solidFill>
                <a:schemeClr val="accent5"/>
              </a:solidFill>
              <a:prstDash val="solid"/>
              <a:miter/>
            </a:ln>
          </p:spPr>
          <p:txBody>
            <a:bodyPr rtlCol="0" anchor="ctr"/>
            <a:lstStyle/>
            <a:p>
              <a:endParaRPr lang="sv-SE"/>
            </a:p>
          </p:txBody>
        </p:sp>
        <p:pic>
          <p:nvPicPr>
            <p:cNvPr id="141" name="Picture 140" descr="A close-up of a white surface&#10;&#10;AI-generated content may be incorrect.">
              <a:extLst>
                <a:ext uri="{FF2B5EF4-FFF2-40B4-BE49-F238E27FC236}">
                  <a16:creationId xmlns:a16="http://schemas.microsoft.com/office/drawing/2014/main" id="{09D63E10-E24B-CFC7-F5F1-75AF76DD733D}"/>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rot="5400000">
              <a:off x="6330587" y="2810842"/>
              <a:ext cx="4556214" cy="1020509"/>
            </a:xfrm>
            <a:custGeom>
              <a:avLst/>
              <a:gdLst>
                <a:gd name="connsiteX0" fmla="*/ 0 w 4556214"/>
                <a:gd name="connsiteY0" fmla="*/ 1020509 h 1020509"/>
                <a:gd name="connsiteX1" fmla="*/ 1020509 w 4556214"/>
                <a:gd name="connsiteY1" fmla="*/ 0 h 1020509"/>
                <a:gd name="connsiteX2" fmla="*/ 3535799 w 4556214"/>
                <a:gd name="connsiteY2" fmla="*/ 0 h 1020509"/>
                <a:gd name="connsiteX3" fmla="*/ 4556214 w 4556214"/>
                <a:gd name="connsiteY3" fmla="*/ 1013318 h 1020509"/>
                <a:gd name="connsiteX4" fmla="*/ 4536579 w 4556214"/>
                <a:gd name="connsiteY4" fmla="*/ 994392 h 1020509"/>
                <a:gd name="connsiteX5" fmla="*/ 4503176 w 4556214"/>
                <a:gd name="connsiteY5" fmla="*/ 977028 h 1020509"/>
                <a:gd name="connsiteX6" fmla="*/ 4427048 w 4556214"/>
                <a:gd name="connsiteY6" fmla="*/ 951668 h 1020509"/>
                <a:gd name="connsiteX7" fmla="*/ 4326838 w 4556214"/>
                <a:gd name="connsiteY7" fmla="*/ 928957 h 1020509"/>
                <a:gd name="connsiteX8" fmla="*/ 4226627 w 4556214"/>
                <a:gd name="connsiteY8" fmla="*/ 910269 h 1020509"/>
                <a:gd name="connsiteX9" fmla="*/ 4090364 w 4556214"/>
                <a:gd name="connsiteY9" fmla="*/ 890207 h 1020509"/>
                <a:gd name="connsiteX10" fmla="*/ 3922021 w 4556214"/>
                <a:gd name="connsiteY10" fmla="*/ 868822 h 1020509"/>
                <a:gd name="connsiteX11" fmla="*/ 3796450 w 4556214"/>
                <a:gd name="connsiteY11" fmla="*/ 854107 h 1020509"/>
                <a:gd name="connsiteX12" fmla="*/ 3646845 w 4556214"/>
                <a:gd name="connsiteY12" fmla="*/ 842090 h 1020509"/>
                <a:gd name="connsiteX13" fmla="*/ 3549332 w 4556214"/>
                <a:gd name="connsiteY13" fmla="*/ 835417 h 1020509"/>
                <a:gd name="connsiteX14" fmla="*/ 1446616 w 4556214"/>
                <a:gd name="connsiteY14" fmla="*/ 835417 h 1020509"/>
                <a:gd name="connsiteX15" fmla="*/ 1011094 w 4556214"/>
                <a:gd name="connsiteY15" fmla="*/ 834093 h 1020509"/>
                <a:gd name="connsiteX16" fmla="*/ 910883 w 4556214"/>
                <a:gd name="connsiteY16" fmla="*/ 840765 h 1020509"/>
                <a:gd name="connsiteX17" fmla="*/ 783988 w 4556214"/>
                <a:gd name="connsiteY17" fmla="*/ 852782 h 1020509"/>
                <a:gd name="connsiteX18" fmla="*/ 658417 w 4556214"/>
                <a:gd name="connsiteY18" fmla="*/ 866125 h 1020509"/>
                <a:gd name="connsiteX19" fmla="*/ 527500 w 4556214"/>
                <a:gd name="connsiteY19" fmla="*/ 882164 h 1020509"/>
                <a:gd name="connsiteX20" fmla="*/ 395259 w 4556214"/>
                <a:gd name="connsiteY20" fmla="*/ 900853 h 1020509"/>
                <a:gd name="connsiteX21" fmla="*/ 265667 w 4556214"/>
                <a:gd name="connsiteY21" fmla="*/ 922239 h 1020509"/>
                <a:gd name="connsiteX22" fmla="*/ 134750 w 4556214"/>
                <a:gd name="connsiteY22" fmla="*/ 950295 h 1020509"/>
                <a:gd name="connsiteX23" fmla="*/ 42582 w 4556214"/>
                <a:gd name="connsiteY23" fmla="*/ 979678 h 1020509"/>
                <a:gd name="connsiteX24" fmla="*/ 2508 w 4556214"/>
                <a:gd name="connsiteY24" fmla="*/ 1009060 h 1020509"/>
                <a:gd name="connsiteX25" fmla="*/ 1231 w 4556214"/>
                <a:gd name="connsiteY25" fmla="*/ 1020509 h 102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56214" h="1020509">
                  <a:moveTo>
                    <a:pt x="0" y="1020509"/>
                  </a:moveTo>
                  <a:cubicBezTo>
                    <a:pt x="0" y="456909"/>
                    <a:pt x="456909" y="0"/>
                    <a:pt x="1020509" y="0"/>
                  </a:cubicBezTo>
                  <a:lnTo>
                    <a:pt x="3535799" y="0"/>
                  </a:lnTo>
                  <a:cubicBezTo>
                    <a:pt x="4096987" y="0"/>
                    <a:pt x="4552335" y="453029"/>
                    <a:pt x="4556214" y="1013318"/>
                  </a:cubicBezTo>
                  <a:lnTo>
                    <a:pt x="4536579" y="994392"/>
                  </a:lnTo>
                  <a:lnTo>
                    <a:pt x="4503176" y="977028"/>
                  </a:lnTo>
                  <a:lnTo>
                    <a:pt x="4427048" y="951668"/>
                  </a:lnTo>
                  <a:lnTo>
                    <a:pt x="4326838" y="928957"/>
                  </a:lnTo>
                  <a:lnTo>
                    <a:pt x="4226627" y="910269"/>
                  </a:lnTo>
                  <a:lnTo>
                    <a:pt x="4090364" y="890207"/>
                  </a:lnTo>
                  <a:lnTo>
                    <a:pt x="3922021" y="868822"/>
                  </a:lnTo>
                  <a:lnTo>
                    <a:pt x="3796450" y="854107"/>
                  </a:lnTo>
                  <a:lnTo>
                    <a:pt x="3646845" y="842090"/>
                  </a:lnTo>
                  <a:lnTo>
                    <a:pt x="3549332" y="835417"/>
                  </a:lnTo>
                  <a:lnTo>
                    <a:pt x="1446616" y="835417"/>
                  </a:lnTo>
                  <a:lnTo>
                    <a:pt x="1011094" y="834093"/>
                  </a:lnTo>
                  <a:lnTo>
                    <a:pt x="910883" y="840765"/>
                  </a:lnTo>
                  <a:lnTo>
                    <a:pt x="783988" y="852782"/>
                  </a:lnTo>
                  <a:lnTo>
                    <a:pt x="658417" y="866125"/>
                  </a:lnTo>
                  <a:lnTo>
                    <a:pt x="527500" y="882164"/>
                  </a:lnTo>
                  <a:lnTo>
                    <a:pt x="395259" y="900853"/>
                  </a:lnTo>
                  <a:lnTo>
                    <a:pt x="265667" y="922239"/>
                  </a:lnTo>
                  <a:lnTo>
                    <a:pt x="134750" y="950295"/>
                  </a:lnTo>
                  <a:lnTo>
                    <a:pt x="42582" y="979678"/>
                  </a:lnTo>
                  <a:lnTo>
                    <a:pt x="2508" y="1009060"/>
                  </a:lnTo>
                  <a:lnTo>
                    <a:pt x="1231" y="1020509"/>
                  </a:lnTo>
                  <a:close/>
                </a:path>
              </a:pathLst>
            </a:custGeom>
          </p:spPr>
        </p:pic>
        <p:grpSp>
          <p:nvGrpSpPr>
            <p:cNvPr id="136" name="!!Armeringsjärn">
              <a:extLst>
                <a:ext uri="{FF2B5EF4-FFF2-40B4-BE49-F238E27FC236}">
                  <a16:creationId xmlns:a16="http://schemas.microsoft.com/office/drawing/2014/main" id="{2D9FFB58-357F-F31B-818D-733FC4D0E4FB}"/>
                </a:ext>
              </a:extLst>
            </p:cNvPr>
            <p:cNvGrpSpPr/>
            <p:nvPr/>
          </p:nvGrpSpPr>
          <p:grpSpPr>
            <a:xfrm>
              <a:off x="8098440" y="1042989"/>
              <a:ext cx="1025240" cy="4556310"/>
              <a:chOff x="-3801906" y="7860917"/>
              <a:chExt cx="1118940" cy="4972727"/>
            </a:xfrm>
          </p:grpSpPr>
          <p:sp>
            <p:nvSpPr>
              <p:cNvPr id="91" name="Freeform 90">
                <a:extLst>
                  <a:ext uri="{FF2B5EF4-FFF2-40B4-BE49-F238E27FC236}">
                    <a16:creationId xmlns:a16="http://schemas.microsoft.com/office/drawing/2014/main" id="{25F88859-CB39-C5A0-C937-5C57BB97D1C8}"/>
                  </a:ext>
                </a:extLst>
              </p:cNvPr>
              <p:cNvSpPr/>
              <p:nvPr/>
            </p:nvSpPr>
            <p:spPr>
              <a:xfrm>
                <a:off x="-3801906" y="11719866"/>
                <a:ext cx="1012515" cy="1113776"/>
              </a:xfrm>
              <a:custGeom>
                <a:avLst/>
                <a:gdLst>
                  <a:gd name="connsiteX0" fmla="*/ 1012515 w 1012515"/>
                  <a:gd name="connsiteY0" fmla="*/ 0 h 1113776"/>
                  <a:gd name="connsiteX1" fmla="*/ 0 w 1012515"/>
                  <a:gd name="connsiteY1" fmla="*/ 1113777 h 1113776"/>
                </a:gdLst>
                <a:ahLst/>
                <a:cxnLst>
                  <a:cxn ang="0">
                    <a:pos x="connsiteX0" y="connsiteY0"/>
                  </a:cxn>
                  <a:cxn ang="0">
                    <a:pos x="connsiteX1" y="connsiteY1"/>
                  </a:cxn>
                </a:cxnLst>
                <a:rect l="l" t="t" r="r" b="b"/>
                <a:pathLst>
                  <a:path w="1012515" h="1113776">
                    <a:moveTo>
                      <a:pt x="1012515" y="0"/>
                    </a:moveTo>
                    <a:cubicBezTo>
                      <a:pt x="1012515" y="559186"/>
                      <a:pt x="559186" y="1113777"/>
                      <a:pt x="0" y="1113777"/>
                    </a:cubicBezTo>
                  </a:path>
                </a:pathLst>
              </a:custGeom>
              <a:noFill/>
              <a:ln w="9525" cap="flat">
                <a:solidFill>
                  <a:schemeClr val="accent5"/>
                </a:solidFill>
                <a:prstDash val="solid"/>
                <a:miter/>
              </a:ln>
            </p:spPr>
            <p:txBody>
              <a:bodyPr rtlCol="0" anchor="ctr"/>
              <a:lstStyle/>
              <a:p>
                <a:endParaRPr lang="sv-SE"/>
              </a:p>
            </p:txBody>
          </p:sp>
          <p:sp>
            <p:nvSpPr>
              <p:cNvPr id="92" name="Freeform 91">
                <a:extLst>
                  <a:ext uri="{FF2B5EF4-FFF2-40B4-BE49-F238E27FC236}">
                    <a16:creationId xmlns:a16="http://schemas.microsoft.com/office/drawing/2014/main" id="{1F5FC3F5-F5FE-3677-B121-167503E0C0A8}"/>
                  </a:ext>
                </a:extLst>
              </p:cNvPr>
              <p:cNvSpPr/>
              <p:nvPr/>
            </p:nvSpPr>
            <p:spPr>
              <a:xfrm>
                <a:off x="-3801854" y="11719866"/>
                <a:ext cx="809991" cy="1113776"/>
              </a:xfrm>
              <a:custGeom>
                <a:avLst/>
                <a:gdLst>
                  <a:gd name="connsiteX0" fmla="*/ 809992 w 809991"/>
                  <a:gd name="connsiteY0" fmla="*/ 0 h 1113776"/>
                  <a:gd name="connsiteX1" fmla="*/ 0 w 809991"/>
                  <a:gd name="connsiteY1" fmla="*/ 1113777 h 1113776"/>
                </a:gdLst>
                <a:ahLst/>
                <a:cxnLst>
                  <a:cxn ang="0">
                    <a:pos x="connsiteX0" y="connsiteY0"/>
                  </a:cxn>
                  <a:cxn ang="0">
                    <a:pos x="connsiteX1" y="connsiteY1"/>
                  </a:cxn>
                </a:cxnLst>
                <a:rect l="l" t="t" r="r" b="b"/>
                <a:pathLst>
                  <a:path w="809991" h="1113776">
                    <a:moveTo>
                      <a:pt x="809992" y="0"/>
                    </a:moveTo>
                    <a:cubicBezTo>
                      <a:pt x="809992" y="447339"/>
                      <a:pt x="447338" y="1113777"/>
                      <a:pt x="0" y="1113777"/>
                    </a:cubicBezTo>
                  </a:path>
                </a:pathLst>
              </a:custGeom>
              <a:noFill/>
              <a:ln w="9525" cap="flat">
                <a:solidFill>
                  <a:schemeClr val="accent5"/>
                </a:solidFill>
                <a:prstDash val="solid"/>
                <a:miter/>
              </a:ln>
            </p:spPr>
            <p:txBody>
              <a:bodyPr rtlCol="0" anchor="ctr"/>
              <a:lstStyle/>
              <a:p>
                <a:endParaRPr lang="sv-SE"/>
              </a:p>
            </p:txBody>
          </p:sp>
          <p:sp>
            <p:nvSpPr>
              <p:cNvPr id="93" name="Freeform 92">
                <a:extLst>
                  <a:ext uri="{FF2B5EF4-FFF2-40B4-BE49-F238E27FC236}">
                    <a16:creationId xmlns:a16="http://schemas.microsoft.com/office/drawing/2014/main" id="{2348ED87-FD83-EEB5-29FF-BD7A0BAF296E}"/>
                  </a:ext>
                </a:extLst>
              </p:cNvPr>
              <p:cNvSpPr/>
              <p:nvPr/>
            </p:nvSpPr>
            <p:spPr>
              <a:xfrm>
                <a:off x="-3801906" y="11719866"/>
                <a:ext cx="607519" cy="1113776"/>
              </a:xfrm>
              <a:custGeom>
                <a:avLst/>
                <a:gdLst>
                  <a:gd name="connsiteX0" fmla="*/ 607519 w 607519"/>
                  <a:gd name="connsiteY0" fmla="*/ 0 h 1113776"/>
                  <a:gd name="connsiteX1" fmla="*/ 0 w 607519"/>
                  <a:gd name="connsiteY1" fmla="*/ 1113777 h 1113776"/>
                </a:gdLst>
                <a:ahLst/>
                <a:cxnLst>
                  <a:cxn ang="0">
                    <a:pos x="connsiteX0" y="connsiteY0"/>
                  </a:cxn>
                  <a:cxn ang="0">
                    <a:pos x="connsiteX1" y="connsiteY1"/>
                  </a:cxn>
                </a:cxnLst>
                <a:rect l="l" t="t" r="r" b="b"/>
                <a:pathLst>
                  <a:path w="607519" h="1113776">
                    <a:moveTo>
                      <a:pt x="607519" y="0"/>
                    </a:moveTo>
                    <a:cubicBezTo>
                      <a:pt x="607519" y="335543"/>
                      <a:pt x="335543" y="1113777"/>
                      <a:pt x="0" y="1113777"/>
                    </a:cubicBezTo>
                  </a:path>
                </a:pathLst>
              </a:custGeom>
              <a:noFill/>
              <a:ln w="9525" cap="flat">
                <a:solidFill>
                  <a:schemeClr val="accent5"/>
                </a:solidFill>
                <a:prstDash val="solid"/>
                <a:miter/>
              </a:ln>
            </p:spPr>
            <p:txBody>
              <a:bodyPr rtlCol="0" anchor="ctr"/>
              <a:lstStyle/>
              <a:p>
                <a:endParaRPr lang="sv-SE"/>
              </a:p>
            </p:txBody>
          </p:sp>
          <p:sp>
            <p:nvSpPr>
              <p:cNvPr id="94" name="Freeform 93">
                <a:extLst>
                  <a:ext uri="{FF2B5EF4-FFF2-40B4-BE49-F238E27FC236}">
                    <a16:creationId xmlns:a16="http://schemas.microsoft.com/office/drawing/2014/main" id="{C09BFB56-134A-F890-7646-C7E21F21C863}"/>
                  </a:ext>
                </a:extLst>
              </p:cNvPr>
              <p:cNvSpPr/>
              <p:nvPr/>
            </p:nvSpPr>
            <p:spPr>
              <a:xfrm>
                <a:off x="-3801906" y="11719866"/>
                <a:ext cx="404995" cy="1113776"/>
              </a:xfrm>
              <a:custGeom>
                <a:avLst/>
                <a:gdLst>
                  <a:gd name="connsiteX0" fmla="*/ 404996 w 404995"/>
                  <a:gd name="connsiteY0" fmla="*/ 0 h 1113776"/>
                  <a:gd name="connsiteX1" fmla="*/ 0 w 404995"/>
                  <a:gd name="connsiteY1" fmla="*/ 1113777 h 1113776"/>
                </a:gdLst>
                <a:ahLst/>
                <a:cxnLst>
                  <a:cxn ang="0">
                    <a:pos x="connsiteX0" y="connsiteY0"/>
                  </a:cxn>
                  <a:cxn ang="0">
                    <a:pos x="connsiteX1" y="connsiteY1"/>
                  </a:cxn>
                </a:cxnLst>
                <a:rect l="l" t="t" r="r" b="b"/>
                <a:pathLst>
                  <a:path w="404995" h="1113776">
                    <a:moveTo>
                      <a:pt x="404996" y="0"/>
                    </a:moveTo>
                    <a:cubicBezTo>
                      <a:pt x="404996" y="223695"/>
                      <a:pt x="223644" y="1113777"/>
                      <a:pt x="0" y="1113777"/>
                    </a:cubicBezTo>
                  </a:path>
                </a:pathLst>
              </a:custGeom>
              <a:noFill/>
              <a:ln w="9525" cap="flat">
                <a:solidFill>
                  <a:schemeClr val="accent5"/>
                </a:solidFill>
                <a:prstDash val="solid"/>
                <a:miter/>
              </a:ln>
            </p:spPr>
            <p:txBody>
              <a:bodyPr rtlCol="0" anchor="ctr"/>
              <a:lstStyle/>
              <a:p>
                <a:endParaRPr lang="sv-SE"/>
              </a:p>
            </p:txBody>
          </p:sp>
          <p:sp>
            <p:nvSpPr>
              <p:cNvPr id="95" name="Freeform 94">
                <a:extLst>
                  <a:ext uri="{FF2B5EF4-FFF2-40B4-BE49-F238E27FC236}">
                    <a16:creationId xmlns:a16="http://schemas.microsoft.com/office/drawing/2014/main" id="{56BEF338-0B1F-C872-3570-522B16C4194B}"/>
                  </a:ext>
                </a:extLst>
              </p:cNvPr>
              <p:cNvSpPr/>
              <p:nvPr/>
            </p:nvSpPr>
            <p:spPr>
              <a:xfrm>
                <a:off x="-3801906" y="11719866"/>
                <a:ext cx="202523" cy="1113776"/>
              </a:xfrm>
              <a:custGeom>
                <a:avLst/>
                <a:gdLst>
                  <a:gd name="connsiteX0" fmla="*/ 202524 w 202523"/>
                  <a:gd name="connsiteY0" fmla="*/ 0 h 1113776"/>
                  <a:gd name="connsiteX1" fmla="*/ 0 w 202523"/>
                  <a:gd name="connsiteY1" fmla="*/ 1113777 h 1113776"/>
                </a:gdLst>
                <a:ahLst/>
                <a:cxnLst>
                  <a:cxn ang="0">
                    <a:pos x="connsiteX0" y="connsiteY0"/>
                  </a:cxn>
                  <a:cxn ang="0">
                    <a:pos x="connsiteX1" y="connsiteY1"/>
                  </a:cxn>
                </a:cxnLst>
                <a:rect l="l" t="t" r="r" b="b"/>
                <a:pathLst>
                  <a:path w="202523" h="1113776">
                    <a:moveTo>
                      <a:pt x="202524" y="0"/>
                    </a:moveTo>
                    <a:cubicBezTo>
                      <a:pt x="202524" y="111847"/>
                      <a:pt x="111847" y="1113777"/>
                      <a:pt x="0" y="1113777"/>
                    </a:cubicBezTo>
                  </a:path>
                </a:pathLst>
              </a:custGeom>
              <a:noFill/>
              <a:ln w="9525" cap="flat">
                <a:solidFill>
                  <a:schemeClr val="accent5"/>
                </a:solidFill>
                <a:prstDash val="solid"/>
                <a:miter/>
              </a:ln>
            </p:spPr>
            <p:txBody>
              <a:bodyPr rtlCol="0" anchor="ctr"/>
              <a:lstStyle/>
              <a:p>
                <a:endParaRPr lang="sv-SE"/>
              </a:p>
            </p:txBody>
          </p:sp>
          <p:sp>
            <p:nvSpPr>
              <p:cNvPr id="96" name="Freeform 95">
                <a:extLst>
                  <a:ext uri="{FF2B5EF4-FFF2-40B4-BE49-F238E27FC236}">
                    <a16:creationId xmlns:a16="http://schemas.microsoft.com/office/drawing/2014/main" id="{AFD88570-B469-34E4-D96F-8BF2F2BCA65E}"/>
                  </a:ext>
                </a:extLst>
              </p:cNvPr>
              <p:cNvSpPr/>
              <p:nvPr/>
            </p:nvSpPr>
            <p:spPr>
              <a:xfrm>
                <a:off x="-2688129"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noFill/>
              <a:ln w="9525" cap="flat">
                <a:solidFill>
                  <a:schemeClr val="accent5"/>
                </a:solidFill>
                <a:prstDash val="solid"/>
                <a:miter/>
              </a:ln>
            </p:spPr>
            <p:txBody>
              <a:bodyPr rtlCol="0" anchor="ctr"/>
              <a:lstStyle/>
              <a:p>
                <a:endParaRPr lang="sv-SE"/>
              </a:p>
            </p:txBody>
          </p:sp>
          <p:sp>
            <p:nvSpPr>
              <p:cNvPr id="97" name="Freeform 96">
                <a:extLst>
                  <a:ext uri="{FF2B5EF4-FFF2-40B4-BE49-F238E27FC236}">
                    <a16:creationId xmlns:a16="http://schemas.microsoft.com/office/drawing/2014/main" id="{BD72FD9A-F792-DBEB-9756-0EF84CE3F018}"/>
                  </a:ext>
                </a:extLst>
              </p:cNvPr>
              <p:cNvSpPr/>
              <p:nvPr/>
            </p:nvSpPr>
            <p:spPr>
              <a:xfrm>
                <a:off x="-2789391"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98" name="Freeform 97">
                <a:extLst>
                  <a:ext uri="{FF2B5EF4-FFF2-40B4-BE49-F238E27FC236}">
                    <a16:creationId xmlns:a16="http://schemas.microsoft.com/office/drawing/2014/main" id="{23C3F01A-D154-4347-6986-9A720535A291}"/>
                  </a:ext>
                </a:extLst>
              </p:cNvPr>
              <p:cNvSpPr/>
              <p:nvPr/>
            </p:nvSpPr>
            <p:spPr>
              <a:xfrm>
                <a:off x="-2991863"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99" name="Freeform 98">
                <a:extLst>
                  <a:ext uri="{FF2B5EF4-FFF2-40B4-BE49-F238E27FC236}">
                    <a16:creationId xmlns:a16="http://schemas.microsoft.com/office/drawing/2014/main" id="{F05322A5-355B-5BC5-19C4-3DEB76C634DA}"/>
                  </a:ext>
                </a:extLst>
              </p:cNvPr>
              <p:cNvSpPr/>
              <p:nvPr/>
            </p:nvSpPr>
            <p:spPr>
              <a:xfrm>
                <a:off x="-3194387"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100" name="Freeform 99">
                <a:extLst>
                  <a:ext uri="{FF2B5EF4-FFF2-40B4-BE49-F238E27FC236}">
                    <a16:creationId xmlns:a16="http://schemas.microsoft.com/office/drawing/2014/main" id="{83193390-2A37-235F-8C56-DD20394A1EB5}"/>
                  </a:ext>
                </a:extLst>
              </p:cNvPr>
              <p:cNvSpPr/>
              <p:nvPr/>
            </p:nvSpPr>
            <p:spPr>
              <a:xfrm>
                <a:off x="-3396910" y="8974695"/>
                <a:ext cx="5163" cy="2745171"/>
              </a:xfrm>
              <a:custGeom>
                <a:avLst/>
                <a:gdLst>
                  <a:gd name="connsiteX0" fmla="*/ 0 w 5163"/>
                  <a:gd name="connsiteY0" fmla="*/ 2745172 h 2745171"/>
                  <a:gd name="connsiteX1" fmla="*/ 0 w 5163"/>
                  <a:gd name="connsiteY1" fmla="*/ 0 h 2745171"/>
                </a:gdLst>
                <a:ahLst/>
                <a:cxnLst>
                  <a:cxn ang="0">
                    <a:pos x="connsiteX0" y="connsiteY0"/>
                  </a:cxn>
                  <a:cxn ang="0">
                    <a:pos x="connsiteX1" y="connsiteY1"/>
                  </a:cxn>
                </a:cxnLst>
                <a:rect l="l" t="t" r="r" b="b"/>
                <a:pathLst>
                  <a:path w="5163" h="2745171">
                    <a:moveTo>
                      <a:pt x="0" y="2745172"/>
                    </a:moveTo>
                    <a:lnTo>
                      <a:pt x="0" y="0"/>
                    </a:lnTo>
                  </a:path>
                </a:pathLst>
              </a:custGeom>
              <a:ln w="9525" cap="flat">
                <a:solidFill>
                  <a:schemeClr val="accent5"/>
                </a:solidFill>
                <a:prstDash val="solid"/>
                <a:miter/>
              </a:ln>
            </p:spPr>
            <p:txBody>
              <a:bodyPr rtlCol="0" anchor="ctr"/>
              <a:lstStyle/>
              <a:p>
                <a:endParaRPr lang="sv-SE"/>
              </a:p>
            </p:txBody>
          </p:sp>
          <p:sp>
            <p:nvSpPr>
              <p:cNvPr id="101" name="Freeform 100">
                <a:extLst>
                  <a:ext uri="{FF2B5EF4-FFF2-40B4-BE49-F238E27FC236}">
                    <a16:creationId xmlns:a16="http://schemas.microsoft.com/office/drawing/2014/main" id="{774FF2D5-DA8C-E9A2-553A-FFE23455AB84}"/>
                  </a:ext>
                </a:extLst>
              </p:cNvPr>
              <p:cNvSpPr/>
              <p:nvPr/>
            </p:nvSpPr>
            <p:spPr>
              <a:xfrm>
                <a:off x="-3599382" y="8974695"/>
                <a:ext cx="5163" cy="2745171"/>
              </a:xfrm>
              <a:custGeom>
                <a:avLst/>
                <a:gdLst>
                  <a:gd name="connsiteX0" fmla="*/ 0 w 5163"/>
                  <a:gd name="connsiteY0" fmla="*/ 2745172 h 2745171"/>
                  <a:gd name="connsiteX1" fmla="*/ 0 w 5163"/>
                  <a:gd name="connsiteY1" fmla="*/ 0 h 2745171"/>
                </a:gdLst>
                <a:ahLst/>
                <a:cxnLst>
                  <a:cxn ang="0">
                    <a:pos x="connsiteX0" y="connsiteY0"/>
                  </a:cxn>
                  <a:cxn ang="0">
                    <a:pos x="connsiteX1" y="connsiteY1"/>
                  </a:cxn>
                </a:cxnLst>
                <a:rect l="l" t="t" r="r" b="b"/>
                <a:pathLst>
                  <a:path w="5163" h="2745171">
                    <a:moveTo>
                      <a:pt x="0" y="2745172"/>
                    </a:moveTo>
                    <a:lnTo>
                      <a:pt x="0" y="0"/>
                    </a:lnTo>
                  </a:path>
                </a:pathLst>
              </a:custGeom>
              <a:ln w="9525" cap="flat">
                <a:solidFill>
                  <a:schemeClr val="accent5"/>
                </a:solidFill>
                <a:prstDash val="solid"/>
                <a:miter/>
              </a:ln>
            </p:spPr>
            <p:txBody>
              <a:bodyPr rtlCol="0" anchor="ctr"/>
              <a:lstStyle/>
              <a:p>
                <a:endParaRPr lang="sv-SE"/>
              </a:p>
            </p:txBody>
          </p:sp>
          <p:sp>
            <p:nvSpPr>
              <p:cNvPr id="102" name="Freeform 101">
                <a:extLst>
                  <a:ext uri="{FF2B5EF4-FFF2-40B4-BE49-F238E27FC236}">
                    <a16:creationId xmlns:a16="http://schemas.microsoft.com/office/drawing/2014/main" id="{78E587D1-73A3-0D39-5717-F15A9932B565}"/>
                  </a:ext>
                </a:extLst>
              </p:cNvPr>
              <p:cNvSpPr/>
              <p:nvPr/>
            </p:nvSpPr>
            <p:spPr>
              <a:xfrm>
                <a:off x="-3801906" y="7860918"/>
                <a:ext cx="1012515" cy="1113776"/>
              </a:xfrm>
              <a:custGeom>
                <a:avLst/>
                <a:gdLst>
                  <a:gd name="connsiteX0" fmla="*/ 0 w 1012515"/>
                  <a:gd name="connsiteY0" fmla="*/ 0 h 1113776"/>
                  <a:gd name="connsiteX1" fmla="*/ 1012515 w 1012515"/>
                  <a:gd name="connsiteY1" fmla="*/ 1113777 h 1113776"/>
                </a:gdLst>
                <a:ahLst/>
                <a:cxnLst>
                  <a:cxn ang="0">
                    <a:pos x="connsiteX0" y="connsiteY0"/>
                  </a:cxn>
                  <a:cxn ang="0">
                    <a:pos x="connsiteX1" y="connsiteY1"/>
                  </a:cxn>
                </a:cxnLst>
                <a:rect l="l" t="t" r="r" b="b"/>
                <a:pathLst>
                  <a:path w="1012515" h="1113776">
                    <a:moveTo>
                      <a:pt x="0" y="0"/>
                    </a:moveTo>
                    <a:cubicBezTo>
                      <a:pt x="559186" y="0"/>
                      <a:pt x="1012515" y="554591"/>
                      <a:pt x="1012515" y="1113777"/>
                    </a:cubicBezTo>
                  </a:path>
                </a:pathLst>
              </a:custGeom>
              <a:noFill/>
              <a:ln w="9525" cap="flat">
                <a:solidFill>
                  <a:schemeClr val="accent5"/>
                </a:solidFill>
                <a:prstDash val="solid"/>
                <a:miter/>
              </a:ln>
            </p:spPr>
            <p:txBody>
              <a:bodyPr rtlCol="0" anchor="ctr"/>
              <a:lstStyle/>
              <a:p>
                <a:endParaRPr lang="sv-SE"/>
              </a:p>
            </p:txBody>
          </p:sp>
          <p:sp>
            <p:nvSpPr>
              <p:cNvPr id="103" name="Freeform 102">
                <a:extLst>
                  <a:ext uri="{FF2B5EF4-FFF2-40B4-BE49-F238E27FC236}">
                    <a16:creationId xmlns:a16="http://schemas.microsoft.com/office/drawing/2014/main" id="{47E97C8F-80EE-37D6-8F88-BDBC822500C0}"/>
                  </a:ext>
                </a:extLst>
              </p:cNvPr>
              <p:cNvSpPr/>
              <p:nvPr/>
            </p:nvSpPr>
            <p:spPr>
              <a:xfrm>
                <a:off x="-3801906" y="7860918"/>
                <a:ext cx="809991" cy="1113776"/>
              </a:xfrm>
              <a:custGeom>
                <a:avLst/>
                <a:gdLst>
                  <a:gd name="connsiteX0" fmla="*/ 0 w 809991"/>
                  <a:gd name="connsiteY0" fmla="*/ 0 h 1113776"/>
                  <a:gd name="connsiteX1" fmla="*/ 809992 w 809991"/>
                  <a:gd name="connsiteY1" fmla="*/ 1113777 h 1113776"/>
                </a:gdLst>
                <a:ahLst/>
                <a:cxnLst>
                  <a:cxn ang="0">
                    <a:pos x="connsiteX0" y="connsiteY0"/>
                  </a:cxn>
                  <a:cxn ang="0">
                    <a:pos x="connsiteX1" y="connsiteY1"/>
                  </a:cxn>
                </a:cxnLst>
                <a:rect l="l" t="t" r="r" b="b"/>
                <a:pathLst>
                  <a:path w="809991" h="1113776">
                    <a:moveTo>
                      <a:pt x="0" y="0"/>
                    </a:moveTo>
                    <a:cubicBezTo>
                      <a:pt x="447338" y="0"/>
                      <a:pt x="809992" y="666387"/>
                      <a:pt x="809992" y="1113777"/>
                    </a:cubicBezTo>
                  </a:path>
                </a:pathLst>
              </a:custGeom>
              <a:noFill/>
              <a:ln w="9525" cap="flat">
                <a:solidFill>
                  <a:schemeClr val="accent5"/>
                </a:solidFill>
                <a:prstDash val="solid"/>
                <a:miter/>
              </a:ln>
            </p:spPr>
            <p:txBody>
              <a:bodyPr rtlCol="0" anchor="ctr"/>
              <a:lstStyle/>
              <a:p>
                <a:endParaRPr lang="sv-SE"/>
              </a:p>
            </p:txBody>
          </p:sp>
          <p:sp>
            <p:nvSpPr>
              <p:cNvPr id="104" name="Freeform 103">
                <a:extLst>
                  <a:ext uri="{FF2B5EF4-FFF2-40B4-BE49-F238E27FC236}">
                    <a16:creationId xmlns:a16="http://schemas.microsoft.com/office/drawing/2014/main" id="{452611EF-8530-60FE-3B02-71A0FF97C19A}"/>
                  </a:ext>
                </a:extLst>
              </p:cNvPr>
              <p:cNvSpPr/>
              <p:nvPr/>
            </p:nvSpPr>
            <p:spPr>
              <a:xfrm>
                <a:off x="-3801906" y="7860918"/>
                <a:ext cx="607519" cy="1113776"/>
              </a:xfrm>
              <a:custGeom>
                <a:avLst/>
                <a:gdLst>
                  <a:gd name="connsiteX0" fmla="*/ 0 w 607519"/>
                  <a:gd name="connsiteY0" fmla="*/ 0 h 1113776"/>
                  <a:gd name="connsiteX1" fmla="*/ 607519 w 607519"/>
                  <a:gd name="connsiteY1" fmla="*/ 1113777 h 1113776"/>
                </a:gdLst>
                <a:ahLst/>
                <a:cxnLst>
                  <a:cxn ang="0">
                    <a:pos x="connsiteX0" y="connsiteY0"/>
                  </a:cxn>
                  <a:cxn ang="0">
                    <a:pos x="connsiteX1" y="connsiteY1"/>
                  </a:cxn>
                </a:cxnLst>
                <a:rect l="l" t="t" r="r" b="b"/>
                <a:pathLst>
                  <a:path w="607519" h="1113776">
                    <a:moveTo>
                      <a:pt x="0" y="0"/>
                    </a:moveTo>
                    <a:cubicBezTo>
                      <a:pt x="335543" y="0"/>
                      <a:pt x="607519" y="778234"/>
                      <a:pt x="607519" y="1113777"/>
                    </a:cubicBezTo>
                  </a:path>
                </a:pathLst>
              </a:custGeom>
              <a:noFill/>
              <a:ln w="9525" cap="flat">
                <a:solidFill>
                  <a:schemeClr val="accent5"/>
                </a:solidFill>
                <a:prstDash val="solid"/>
                <a:miter/>
              </a:ln>
            </p:spPr>
            <p:txBody>
              <a:bodyPr rtlCol="0" anchor="ctr"/>
              <a:lstStyle/>
              <a:p>
                <a:endParaRPr lang="sv-SE"/>
              </a:p>
            </p:txBody>
          </p:sp>
          <p:sp>
            <p:nvSpPr>
              <p:cNvPr id="105" name="Freeform 104">
                <a:extLst>
                  <a:ext uri="{FF2B5EF4-FFF2-40B4-BE49-F238E27FC236}">
                    <a16:creationId xmlns:a16="http://schemas.microsoft.com/office/drawing/2014/main" id="{8D65F48C-500C-E19B-D90D-10D94674FFDF}"/>
                  </a:ext>
                </a:extLst>
              </p:cNvPr>
              <p:cNvSpPr/>
              <p:nvPr/>
            </p:nvSpPr>
            <p:spPr>
              <a:xfrm>
                <a:off x="-3801906" y="7860918"/>
                <a:ext cx="404995" cy="1113776"/>
              </a:xfrm>
              <a:custGeom>
                <a:avLst/>
                <a:gdLst>
                  <a:gd name="connsiteX0" fmla="*/ 0 w 404995"/>
                  <a:gd name="connsiteY0" fmla="*/ 0 h 1113776"/>
                  <a:gd name="connsiteX1" fmla="*/ 404996 w 404995"/>
                  <a:gd name="connsiteY1" fmla="*/ 1113777 h 1113776"/>
                </a:gdLst>
                <a:ahLst/>
                <a:cxnLst>
                  <a:cxn ang="0">
                    <a:pos x="connsiteX0" y="connsiteY0"/>
                  </a:cxn>
                  <a:cxn ang="0">
                    <a:pos x="connsiteX1" y="connsiteY1"/>
                  </a:cxn>
                </a:cxnLst>
                <a:rect l="l" t="t" r="r" b="b"/>
                <a:pathLst>
                  <a:path w="404995" h="1113776">
                    <a:moveTo>
                      <a:pt x="0" y="0"/>
                    </a:moveTo>
                    <a:cubicBezTo>
                      <a:pt x="223695" y="0"/>
                      <a:pt x="404996" y="890082"/>
                      <a:pt x="404996" y="1113777"/>
                    </a:cubicBezTo>
                  </a:path>
                </a:pathLst>
              </a:custGeom>
              <a:noFill/>
              <a:ln w="9525" cap="flat">
                <a:solidFill>
                  <a:schemeClr val="accent5"/>
                </a:solidFill>
                <a:prstDash val="solid"/>
                <a:miter/>
              </a:ln>
            </p:spPr>
            <p:txBody>
              <a:bodyPr rtlCol="0" anchor="ctr"/>
              <a:lstStyle/>
              <a:p>
                <a:endParaRPr lang="sv-SE"/>
              </a:p>
            </p:txBody>
          </p:sp>
          <p:sp>
            <p:nvSpPr>
              <p:cNvPr id="106" name="Freeform 105">
                <a:extLst>
                  <a:ext uri="{FF2B5EF4-FFF2-40B4-BE49-F238E27FC236}">
                    <a16:creationId xmlns:a16="http://schemas.microsoft.com/office/drawing/2014/main" id="{3F426A99-E7D8-444A-D1A6-C4A47B92B4A8}"/>
                  </a:ext>
                </a:extLst>
              </p:cNvPr>
              <p:cNvSpPr/>
              <p:nvPr/>
            </p:nvSpPr>
            <p:spPr>
              <a:xfrm>
                <a:off x="-3801906" y="7860918"/>
                <a:ext cx="202523" cy="1113776"/>
              </a:xfrm>
              <a:custGeom>
                <a:avLst/>
                <a:gdLst>
                  <a:gd name="connsiteX0" fmla="*/ 0 w 202523"/>
                  <a:gd name="connsiteY0" fmla="*/ 0 h 1113776"/>
                  <a:gd name="connsiteX1" fmla="*/ 202524 w 202523"/>
                  <a:gd name="connsiteY1" fmla="*/ 1113777 h 1113776"/>
                </a:gdLst>
                <a:ahLst/>
                <a:cxnLst>
                  <a:cxn ang="0">
                    <a:pos x="connsiteX0" y="connsiteY0"/>
                  </a:cxn>
                  <a:cxn ang="0">
                    <a:pos x="connsiteX1" y="connsiteY1"/>
                  </a:cxn>
                </a:cxnLst>
                <a:rect l="l" t="t" r="r" b="b"/>
                <a:pathLst>
                  <a:path w="202523" h="1113776">
                    <a:moveTo>
                      <a:pt x="0" y="0"/>
                    </a:moveTo>
                    <a:cubicBezTo>
                      <a:pt x="111847" y="0"/>
                      <a:pt x="202524" y="1001929"/>
                      <a:pt x="202524" y="1113777"/>
                    </a:cubicBezTo>
                  </a:path>
                </a:pathLst>
              </a:custGeom>
              <a:noFill/>
              <a:ln w="9525" cap="flat">
                <a:solidFill>
                  <a:schemeClr val="accent5"/>
                </a:solidFill>
                <a:prstDash val="solid"/>
                <a:miter/>
              </a:ln>
            </p:spPr>
            <p:txBody>
              <a:bodyPr rtlCol="0" anchor="ctr"/>
              <a:lstStyle/>
              <a:p>
                <a:endParaRPr lang="sv-SE"/>
              </a:p>
            </p:txBody>
          </p:sp>
          <p:sp>
            <p:nvSpPr>
              <p:cNvPr id="107" name="Freeform 106">
                <a:extLst>
                  <a:ext uri="{FF2B5EF4-FFF2-40B4-BE49-F238E27FC236}">
                    <a16:creationId xmlns:a16="http://schemas.microsoft.com/office/drawing/2014/main" id="{A440B7ED-822D-2C9A-5A8E-903D5C553C9B}"/>
                  </a:ext>
                </a:extLst>
              </p:cNvPr>
              <p:cNvSpPr/>
              <p:nvPr/>
            </p:nvSpPr>
            <p:spPr>
              <a:xfrm>
                <a:off x="-3801596" y="8001270"/>
                <a:ext cx="1113467" cy="974561"/>
              </a:xfrm>
              <a:custGeom>
                <a:avLst/>
                <a:gdLst>
                  <a:gd name="connsiteX0" fmla="*/ 0 w 1113467"/>
                  <a:gd name="connsiteY0" fmla="*/ 0 h 974561"/>
                  <a:gd name="connsiteX1" fmla="*/ 1113467 w 1113467"/>
                  <a:gd name="connsiteY1" fmla="*/ 974561 h 974561"/>
                </a:gdLst>
                <a:ahLst/>
                <a:cxnLst>
                  <a:cxn ang="0">
                    <a:pos x="connsiteX0" y="connsiteY0"/>
                  </a:cxn>
                  <a:cxn ang="0">
                    <a:pos x="connsiteX1" y="connsiteY1"/>
                  </a:cxn>
                </a:cxnLst>
                <a:rect l="l" t="t" r="r" b="b"/>
                <a:pathLst>
                  <a:path w="1113467" h="974561">
                    <a:moveTo>
                      <a:pt x="0" y="0"/>
                    </a:moveTo>
                    <a:cubicBezTo>
                      <a:pt x="538221" y="0"/>
                      <a:pt x="1113467" y="436340"/>
                      <a:pt x="1113467" y="974561"/>
                    </a:cubicBezTo>
                  </a:path>
                </a:pathLst>
              </a:custGeom>
              <a:noFill/>
              <a:ln w="9525" cap="flat">
                <a:solidFill>
                  <a:schemeClr val="accent5"/>
                </a:solidFill>
                <a:prstDash val="solid"/>
                <a:miter/>
              </a:ln>
            </p:spPr>
            <p:txBody>
              <a:bodyPr rtlCol="0" anchor="ctr"/>
              <a:lstStyle/>
              <a:p>
                <a:endParaRPr lang="sv-SE"/>
              </a:p>
            </p:txBody>
          </p:sp>
          <p:sp>
            <p:nvSpPr>
              <p:cNvPr id="108" name="Freeform 107">
                <a:extLst>
                  <a:ext uri="{FF2B5EF4-FFF2-40B4-BE49-F238E27FC236}">
                    <a16:creationId xmlns:a16="http://schemas.microsoft.com/office/drawing/2014/main" id="{A5A3869B-1B1C-CE8C-107C-2BD18BC2D00F}"/>
                  </a:ext>
                </a:extLst>
              </p:cNvPr>
              <p:cNvSpPr/>
              <p:nvPr/>
            </p:nvSpPr>
            <p:spPr>
              <a:xfrm>
                <a:off x="-3801235" y="8141570"/>
                <a:ext cx="1113105" cy="835345"/>
              </a:xfrm>
              <a:custGeom>
                <a:avLst/>
                <a:gdLst>
                  <a:gd name="connsiteX0" fmla="*/ 0 w 1113105"/>
                  <a:gd name="connsiteY0" fmla="*/ 0 h 835345"/>
                  <a:gd name="connsiteX1" fmla="*/ 1113106 w 1113105"/>
                  <a:gd name="connsiteY1" fmla="*/ 835346 h 835345"/>
                </a:gdLst>
                <a:ahLst/>
                <a:cxnLst>
                  <a:cxn ang="0">
                    <a:pos x="connsiteX0" y="connsiteY0"/>
                  </a:cxn>
                  <a:cxn ang="0">
                    <a:pos x="connsiteX1" y="connsiteY1"/>
                  </a:cxn>
                </a:cxnLst>
                <a:rect l="l" t="t" r="r" b="b"/>
                <a:pathLst>
                  <a:path w="1113105" h="835345">
                    <a:moveTo>
                      <a:pt x="0" y="0"/>
                    </a:moveTo>
                    <a:cubicBezTo>
                      <a:pt x="461333" y="0"/>
                      <a:pt x="1113106" y="374013"/>
                      <a:pt x="1113106" y="835346"/>
                    </a:cubicBezTo>
                  </a:path>
                </a:pathLst>
              </a:custGeom>
              <a:noFill/>
              <a:ln w="9525" cap="flat">
                <a:solidFill>
                  <a:schemeClr val="accent5"/>
                </a:solidFill>
                <a:prstDash val="solid"/>
                <a:miter/>
              </a:ln>
            </p:spPr>
            <p:txBody>
              <a:bodyPr rtlCol="0" anchor="ctr"/>
              <a:lstStyle/>
              <a:p>
                <a:endParaRPr lang="sv-SE"/>
              </a:p>
            </p:txBody>
          </p:sp>
          <p:sp>
            <p:nvSpPr>
              <p:cNvPr id="109" name="Freeform 108">
                <a:extLst>
                  <a:ext uri="{FF2B5EF4-FFF2-40B4-BE49-F238E27FC236}">
                    <a16:creationId xmlns:a16="http://schemas.microsoft.com/office/drawing/2014/main" id="{1DFF7823-ABA9-AE91-65E9-3DE15D1D5C38}"/>
                  </a:ext>
                </a:extLst>
              </p:cNvPr>
              <p:cNvSpPr/>
              <p:nvPr/>
            </p:nvSpPr>
            <p:spPr>
              <a:xfrm>
                <a:off x="-3800925" y="8281921"/>
                <a:ext cx="1112795" cy="696129"/>
              </a:xfrm>
              <a:custGeom>
                <a:avLst/>
                <a:gdLst>
                  <a:gd name="connsiteX0" fmla="*/ 0 w 1112795"/>
                  <a:gd name="connsiteY0" fmla="*/ 0 h 696129"/>
                  <a:gd name="connsiteX1" fmla="*/ 1112796 w 1112795"/>
                  <a:gd name="connsiteY1" fmla="*/ 696130 h 696129"/>
                </a:gdLst>
                <a:ahLst/>
                <a:cxnLst>
                  <a:cxn ang="0">
                    <a:pos x="connsiteX0" y="connsiteY0"/>
                  </a:cxn>
                  <a:cxn ang="0">
                    <a:pos x="connsiteX1" y="connsiteY1"/>
                  </a:cxn>
                </a:cxnLst>
                <a:rect l="l" t="t" r="r" b="b"/>
                <a:pathLst>
                  <a:path w="1112795" h="696129">
                    <a:moveTo>
                      <a:pt x="0" y="0"/>
                    </a:moveTo>
                    <a:cubicBezTo>
                      <a:pt x="384444" y="0"/>
                      <a:pt x="1112796" y="311634"/>
                      <a:pt x="1112796" y="696130"/>
                    </a:cubicBezTo>
                  </a:path>
                </a:pathLst>
              </a:custGeom>
              <a:noFill/>
              <a:ln w="9525" cap="flat">
                <a:solidFill>
                  <a:schemeClr val="accent5"/>
                </a:solidFill>
                <a:prstDash val="solid"/>
                <a:miter/>
              </a:ln>
            </p:spPr>
            <p:txBody>
              <a:bodyPr rtlCol="0" anchor="ctr"/>
              <a:lstStyle/>
              <a:p>
                <a:endParaRPr lang="sv-SE"/>
              </a:p>
            </p:txBody>
          </p:sp>
          <p:sp>
            <p:nvSpPr>
              <p:cNvPr id="110" name="Freeform 109">
                <a:extLst>
                  <a:ext uri="{FF2B5EF4-FFF2-40B4-BE49-F238E27FC236}">
                    <a16:creationId xmlns:a16="http://schemas.microsoft.com/office/drawing/2014/main" id="{8C787733-1F42-0391-AE28-637B5A9A97C2}"/>
                  </a:ext>
                </a:extLst>
              </p:cNvPr>
              <p:cNvSpPr/>
              <p:nvPr/>
            </p:nvSpPr>
            <p:spPr>
              <a:xfrm>
                <a:off x="-3800615" y="8422273"/>
                <a:ext cx="1112485" cy="556862"/>
              </a:xfrm>
              <a:custGeom>
                <a:avLst/>
                <a:gdLst>
                  <a:gd name="connsiteX0" fmla="*/ 0 w 1112485"/>
                  <a:gd name="connsiteY0" fmla="*/ 0 h 556862"/>
                  <a:gd name="connsiteX1" fmla="*/ 1112486 w 1112485"/>
                  <a:gd name="connsiteY1" fmla="*/ 556863 h 556862"/>
                </a:gdLst>
                <a:ahLst/>
                <a:cxnLst>
                  <a:cxn ang="0">
                    <a:pos x="connsiteX0" y="connsiteY0"/>
                  </a:cxn>
                  <a:cxn ang="0">
                    <a:pos x="connsiteX1" y="connsiteY1"/>
                  </a:cxn>
                </a:cxnLst>
                <a:rect l="l" t="t" r="r" b="b"/>
                <a:pathLst>
                  <a:path w="1112485" h="556862">
                    <a:moveTo>
                      <a:pt x="0" y="0"/>
                    </a:moveTo>
                    <a:cubicBezTo>
                      <a:pt x="307555" y="0"/>
                      <a:pt x="1112486" y="249308"/>
                      <a:pt x="1112486" y="556863"/>
                    </a:cubicBezTo>
                  </a:path>
                </a:pathLst>
              </a:custGeom>
              <a:noFill/>
              <a:ln w="9525" cap="flat">
                <a:solidFill>
                  <a:schemeClr val="accent5"/>
                </a:solidFill>
                <a:prstDash val="solid"/>
                <a:miter/>
              </a:ln>
            </p:spPr>
            <p:txBody>
              <a:bodyPr rtlCol="0" anchor="ctr"/>
              <a:lstStyle/>
              <a:p>
                <a:endParaRPr lang="sv-SE"/>
              </a:p>
            </p:txBody>
          </p:sp>
          <p:sp>
            <p:nvSpPr>
              <p:cNvPr id="111" name="Freeform 110">
                <a:extLst>
                  <a:ext uri="{FF2B5EF4-FFF2-40B4-BE49-F238E27FC236}">
                    <a16:creationId xmlns:a16="http://schemas.microsoft.com/office/drawing/2014/main" id="{1565B58F-9AA1-3BB5-BFB6-A43FF1ABB47E}"/>
                  </a:ext>
                </a:extLst>
              </p:cNvPr>
              <p:cNvSpPr/>
              <p:nvPr/>
            </p:nvSpPr>
            <p:spPr>
              <a:xfrm>
                <a:off x="-3800305" y="8562625"/>
                <a:ext cx="1112176" cy="417646"/>
              </a:xfrm>
              <a:custGeom>
                <a:avLst/>
                <a:gdLst>
                  <a:gd name="connsiteX0" fmla="*/ 0 w 1112176"/>
                  <a:gd name="connsiteY0" fmla="*/ 0 h 417646"/>
                  <a:gd name="connsiteX1" fmla="*/ 1112176 w 1112176"/>
                  <a:gd name="connsiteY1" fmla="*/ 417647 h 417646"/>
                </a:gdLst>
                <a:ahLst/>
                <a:cxnLst>
                  <a:cxn ang="0">
                    <a:pos x="connsiteX0" y="connsiteY0"/>
                  </a:cxn>
                  <a:cxn ang="0">
                    <a:pos x="connsiteX1" y="connsiteY1"/>
                  </a:cxn>
                </a:cxnLst>
                <a:rect l="l" t="t" r="r" b="b"/>
                <a:pathLst>
                  <a:path w="1112176" h="417646">
                    <a:moveTo>
                      <a:pt x="0" y="0"/>
                    </a:moveTo>
                    <a:cubicBezTo>
                      <a:pt x="230667" y="0"/>
                      <a:pt x="1112176" y="186981"/>
                      <a:pt x="1112176" y="417647"/>
                    </a:cubicBezTo>
                  </a:path>
                </a:pathLst>
              </a:custGeom>
              <a:noFill/>
              <a:ln w="9525" cap="flat">
                <a:solidFill>
                  <a:schemeClr val="accent5"/>
                </a:solidFill>
                <a:prstDash val="solid"/>
                <a:miter/>
              </a:ln>
            </p:spPr>
            <p:txBody>
              <a:bodyPr rtlCol="0" anchor="ctr"/>
              <a:lstStyle/>
              <a:p>
                <a:endParaRPr lang="sv-SE"/>
              </a:p>
            </p:txBody>
          </p:sp>
          <p:sp>
            <p:nvSpPr>
              <p:cNvPr id="112" name="Freeform 111">
                <a:extLst>
                  <a:ext uri="{FF2B5EF4-FFF2-40B4-BE49-F238E27FC236}">
                    <a16:creationId xmlns:a16="http://schemas.microsoft.com/office/drawing/2014/main" id="{894AD194-E2B1-5BB6-31FE-DC0BC9FE8A4E}"/>
                  </a:ext>
                </a:extLst>
              </p:cNvPr>
              <p:cNvSpPr/>
              <p:nvPr/>
            </p:nvSpPr>
            <p:spPr>
              <a:xfrm>
                <a:off x="-3799944" y="8702925"/>
                <a:ext cx="1111814" cy="278431"/>
              </a:xfrm>
              <a:custGeom>
                <a:avLst/>
                <a:gdLst>
                  <a:gd name="connsiteX0" fmla="*/ 0 w 1111814"/>
                  <a:gd name="connsiteY0" fmla="*/ 0 h 278431"/>
                  <a:gd name="connsiteX1" fmla="*/ 1111815 w 1111814"/>
                  <a:gd name="connsiteY1" fmla="*/ 278431 h 278431"/>
                </a:gdLst>
                <a:ahLst/>
                <a:cxnLst>
                  <a:cxn ang="0">
                    <a:pos x="connsiteX0" y="connsiteY0"/>
                  </a:cxn>
                  <a:cxn ang="0">
                    <a:pos x="connsiteX1" y="connsiteY1"/>
                  </a:cxn>
                </a:cxnLst>
                <a:rect l="l" t="t" r="r" b="b"/>
                <a:pathLst>
                  <a:path w="1111814" h="278431">
                    <a:moveTo>
                      <a:pt x="0" y="0"/>
                    </a:moveTo>
                    <a:cubicBezTo>
                      <a:pt x="153777" y="0"/>
                      <a:pt x="1111815" y="124654"/>
                      <a:pt x="1111815" y="278431"/>
                    </a:cubicBezTo>
                  </a:path>
                </a:pathLst>
              </a:custGeom>
              <a:noFill/>
              <a:ln w="9525" cap="flat">
                <a:solidFill>
                  <a:schemeClr val="accent5"/>
                </a:solidFill>
                <a:prstDash val="solid"/>
                <a:miter/>
              </a:ln>
            </p:spPr>
            <p:txBody>
              <a:bodyPr rtlCol="0" anchor="ctr"/>
              <a:lstStyle/>
              <a:p>
                <a:endParaRPr lang="sv-SE"/>
              </a:p>
            </p:txBody>
          </p:sp>
          <p:sp>
            <p:nvSpPr>
              <p:cNvPr id="113" name="Freeform 112">
                <a:extLst>
                  <a:ext uri="{FF2B5EF4-FFF2-40B4-BE49-F238E27FC236}">
                    <a16:creationId xmlns:a16="http://schemas.microsoft.com/office/drawing/2014/main" id="{A3A90B38-D150-DC5E-C58E-CF69FAC7D6D0}"/>
                  </a:ext>
                </a:extLst>
              </p:cNvPr>
              <p:cNvSpPr/>
              <p:nvPr/>
            </p:nvSpPr>
            <p:spPr>
              <a:xfrm>
                <a:off x="-3799634" y="8843277"/>
                <a:ext cx="1111504" cy="139215"/>
              </a:xfrm>
              <a:custGeom>
                <a:avLst/>
                <a:gdLst>
                  <a:gd name="connsiteX0" fmla="*/ 0 w 1111504"/>
                  <a:gd name="connsiteY0" fmla="*/ 0 h 139215"/>
                  <a:gd name="connsiteX1" fmla="*/ 1111505 w 1111504"/>
                  <a:gd name="connsiteY1" fmla="*/ 139216 h 139215"/>
                </a:gdLst>
                <a:ahLst/>
                <a:cxnLst>
                  <a:cxn ang="0">
                    <a:pos x="connsiteX0" y="connsiteY0"/>
                  </a:cxn>
                  <a:cxn ang="0">
                    <a:pos x="connsiteX1" y="connsiteY1"/>
                  </a:cxn>
                </a:cxnLst>
                <a:rect l="l" t="t" r="r" b="b"/>
                <a:pathLst>
                  <a:path w="1111504" h="139215">
                    <a:moveTo>
                      <a:pt x="0" y="0"/>
                    </a:moveTo>
                    <a:cubicBezTo>
                      <a:pt x="76889" y="0"/>
                      <a:pt x="1111505" y="62327"/>
                      <a:pt x="1111505" y="139216"/>
                    </a:cubicBezTo>
                  </a:path>
                </a:pathLst>
              </a:custGeom>
              <a:noFill/>
              <a:ln w="9525" cap="flat">
                <a:solidFill>
                  <a:schemeClr val="accent5"/>
                </a:solidFill>
                <a:prstDash val="solid"/>
                <a:miter/>
              </a:ln>
            </p:spPr>
            <p:txBody>
              <a:bodyPr rtlCol="0" anchor="ctr"/>
              <a:lstStyle/>
              <a:p>
                <a:endParaRPr lang="sv-SE"/>
              </a:p>
            </p:txBody>
          </p:sp>
          <p:sp>
            <p:nvSpPr>
              <p:cNvPr id="114" name="Freeform 113">
                <a:extLst>
                  <a:ext uri="{FF2B5EF4-FFF2-40B4-BE49-F238E27FC236}">
                    <a16:creationId xmlns:a16="http://schemas.microsoft.com/office/drawing/2014/main" id="{26B5100D-14BD-8781-62B7-0B6745B15EA2}"/>
                  </a:ext>
                </a:extLst>
              </p:cNvPr>
              <p:cNvSpPr/>
              <p:nvPr/>
            </p:nvSpPr>
            <p:spPr>
              <a:xfrm>
                <a:off x="-3799789" y="9031342"/>
                <a:ext cx="1111504" cy="121813"/>
              </a:xfrm>
              <a:custGeom>
                <a:avLst/>
                <a:gdLst>
                  <a:gd name="connsiteX0" fmla="*/ 0 w 1111504"/>
                  <a:gd name="connsiteY0" fmla="*/ 0 h 121813"/>
                  <a:gd name="connsiteX1" fmla="*/ 1111505 w 1111504"/>
                  <a:gd name="connsiteY1" fmla="*/ 121814 h 121813"/>
                </a:gdLst>
                <a:ahLst/>
                <a:cxnLst>
                  <a:cxn ang="0">
                    <a:pos x="connsiteX0" y="connsiteY0"/>
                  </a:cxn>
                  <a:cxn ang="0">
                    <a:pos x="connsiteX1" y="connsiteY1"/>
                  </a:cxn>
                </a:cxnLst>
                <a:rect l="l" t="t" r="r" b="b"/>
                <a:pathLst>
                  <a:path w="1111504" h="121813">
                    <a:moveTo>
                      <a:pt x="0" y="0"/>
                    </a:moveTo>
                    <a:cubicBezTo>
                      <a:pt x="76889" y="0"/>
                      <a:pt x="1111505" y="54530"/>
                      <a:pt x="1111505" y="121814"/>
                    </a:cubicBezTo>
                  </a:path>
                </a:pathLst>
              </a:custGeom>
              <a:noFill/>
              <a:ln w="9525" cap="flat">
                <a:solidFill>
                  <a:schemeClr val="accent5"/>
                </a:solidFill>
                <a:prstDash val="solid"/>
                <a:miter/>
              </a:ln>
            </p:spPr>
            <p:txBody>
              <a:bodyPr rtlCol="0" anchor="ctr"/>
              <a:lstStyle/>
              <a:p>
                <a:endParaRPr lang="sv-SE"/>
              </a:p>
            </p:txBody>
          </p:sp>
          <p:sp>
            <p:nvSpPr>
              <p:cNvPr id="115" name="Freeform 114">
                <a:extLst>
                  <a:ext uri="{FF2B5EF4-FFF2-40B4-BE49-F238E27FC236}">
                    <a16:creationId xmlns:a16="http://schemas.microsoft.com/office/drawing/2014/main" id="{DAAD5B81-3CC5-667F-1A1D-F8BF52686180}"/>
                  </a:ext>
                </a:extLst>
              </p:cNvPr>
              <p:cNvSpPr/>
              <p:nvPr/>
            </p:nvSpPr>
            <p:spPr>
              <a:xfrm>
                <a:off x="-3799944" y="9219407"/>
                <a:ext cx="1111504" cy="104411"/>
              </a:xfrm>
              <a:custGeom>
                <a:avLst/>
                <a:gdLst>
                  <a:gd name="connsiteX0" fmla="*/ 0 w 1111504"/>
                  <a:gd name="connsiteY0" fmla="*/ 0 h 104411"/>
                  <a:gd name="connsiteX1" fmla="*/ 1111505 w 1111504"/>
                  <a:gd name="connsiteY1" fmla="*/ 104412 h 104411"/>
                </a:gdLst>
                <a:ahLst/>
                <a:cxnLst>
                  <a:cxn ang="0">
                    <a:pos x="connsiteX0" y="connsiteY0"/>
                  </a:cxn>
                  <a:cxn ang="0">
                    <a:pos x="connsiteX1" y="connsiteY1"/>
                  </a:cxn>
                </a:cxnLst>
                <a:rect l="l" t="t" r="r" b="b"/>
                <a:pathLst>
                  <a:path w="1111504" h="104411">
                    <a:moveTo>
                      <a:pt x="0" y="0"/>
                    </a:moveTo>
                    <a:cubicBezTo>
                      <a:pt x="76889" y="0"/>
                      <a:pt x="1111505" y="46732"/>
                      <a:pt x="1111505" y="104412"/>
                    </a:cubicBezTo>
                  </a:path>
                </a:pathLst>
              </a:custGeom>
              <a:noFill/>
              <a:ln w="9525" cap="flat">
                <a:solidFill>
                  <a:schemeClr val="accent5"/>
                </a:solidFill>
                <a:prstDash val="solid"/>
                <a:miter/>
              </a:ln>
            </p:spPr>
            <p:txBody>
              <a:bodyPr rtlCol="0" anchor="ctr"/>
              <a:lstStyle/>
              <a:p>
                <a:endParaRPr lang="sv-SE"/>
              </a:p>
            </p:txBody>
          </p:sp>
          <p:sp>
            <p:nvSpPr>
              <p:cNvPr id="116" name="Freeform 115">
                <a:extLst>
                  <a:ext uri="{FF2B5EF4-FFF2-40B4-BE49-F238E27FC236}">
                    <a16:creationId xmlns:a16="http://schemas.microsoft.com/office/drawing/2014/main" id="{02201C56-F925-8F33-EAEF-219E9FABF9A3}"/>
                  </a:ext>
                </a:extLst>
              </p:cNvPr>
              <p:cNvSpPr/>
              <p:nvPr/>
            </p:nvSpPr>
            <p:spPr>
              <a:xfrm>
                <a:off x="-3800047" y="9407472"/>
                <a:ext cx="1111505" cy="87009"/>
              </a:xfrm>
              <a:custGeom>
                <a:avLst/>
                <a:gdLst>
                  <a:gd name="connsiteX0" fmla="*/ 0 w 1111505"/>
                  <a:gd name="connsiteY0" fmla="*/ 0 h 87009"/>
                  <a:gd name="connsiteX1" fmla="*/ 1111505 w 1111505"/>
                  <a:gd name="connsiteY1" fmla="*/ 87010 h 87009"/>
                </a:gdLst>
                <a:ahLst/>
                <a:cxnLst>
                  <a:cxn ang="0">
                    <a:pos x="connsiteX0" y="connsiteY0"/>
                  </a:cxn>
                  <a:cxn ang="0">
                    <a:pos x="connsiteX1" y="connsiteY1"/>
                  </a:cxn>
                </a:cxnLst>
                <a:rect l="l" t="t" r="r" b="b"/>
                <a:pathLst>
                  <a:path w="1111505" h="87009">
                    <a:moveTo>
                      <a:pt x="0" y="0"/>
                    </a:moveTo>
                    <a:cubicBezTo>
                      <a:pt x="76889" y="0"/>
                      <a:pt x="1111505" y="38935"/>
                      <a:pt x="1111505" y="87010"/>
                    </a:cubicBezTo>
                  </a:path>
                </a:pathLst>
              </a:custGeom>
              <a:noFill/>
              <a:ln w="9525" cap="flat">
                <a:solidFill>
                  <a:schemeClr val="accent5"/>
                </a:solidFill>
                <a:prstDash val="solid"/>
                <a:miter/>
              </a:ln>
            </p:spPr>
            <p:txBody>
              <a:bodyPr rtlCol="0" anchor="ctr"/>
              <a:lstStyle/>
              <a:p>
                <a:endParaRPr lang="sv-SE"/>
              </a:p>
            </p:txBody>
          </p:sp>
          <p:sp>
            <p:nvSpPr>
              <p:cNvPr id="117" name="Freeform 116">
                <a:extLst>
                  <a:ext uri="{FF2B5EF4-FFF2-40B4-BE49-F238E27FC236}">
                    <a16:creationId xmlns:a16="http://schemas.microsoft.com/office/drawing/2014/main" id="{D4263EE8-82D9-ABC2-3767-B699CE6443EC}"/>
                  </a:ext>
                </a:extLst>
              </p:cNvPr>
              <p:cNvSpPr/>
              <p:nvPr/>
            </p:nvSpPr>
            <p:spPr>
              <a:xfrm>
                <a:off x="-3800202" y="9595537"/>
                <a:ext cx="1111504" cy="69607"/>
              </a:xfrm>
              <a:custGeom>
                <a:avLst/>
                <a:gdLst>
                  <a:gd name="connsiteX0" fmla="*/ 0 w 1111504"/>
                  <a:gd name="connsiteY0" fmla="*/ 0 h 69607"/>
                  <a:gd name="connsiteX1" fmla="*/ 1111505 w 1111504"/>
                  <a:gd name="connsiteY1" fmla="*/ 69608 h 69607"/>
                </a:gdLst>
                <a:ahLst/>
                <a:cxnLst>
                  <a:cxn ang="0">
                    <a:pos x="connsiteX0" y="connsiteY0"/>
                  </a:cxn>
                  <a:cxn ang="0">
                    <a:pos x="connsiteX1" y="connsiteY1"/>
                  </a:cxn>
                </a:cxnLst>
                <a:rect l="l" t="t" r="r" b="b"/>
                <a:pathLst>
                  <a:path w="1111504" h="69607">
                    <a:moveTo>
                      <a:pt x="0" y="0"/>
                    </a:moveTo>
                    <a:cubicBezTo>
                      <a:pt x="76889" y="0"/>
                      <a:pt x="1111505" y="31189"/>
                      <a:pt x="1111505" y="69608"/>
                    </a:cubicBezTo>
                  </a:path>
                </a:pathLst>
              </a:custGeom>
              <a:noFill/>
              <a:ln w="9525" cap="flat">
                <a:solidFill>
                  <a:schemeClr val="accent5"/>
                </a:solidFill>
                <a:prstDash val="solid"/>
                <a:miter/>
              </a:ln>
            </p:spPr>
            <p:txBody>
              <a:bodyPr rtlCol="0" anchor="ctr"/>
              <a:lstStyle/>
              <a:p>
                <a:endParaRPr lang="sv-SE"/>
              </a:p>
            </p:txBody>
          </p:sp>
          <p:sp>
            <p:nvSpPr>
              <p:cNvPr id="118" name="Freeform 117">
                <a:extLst>
                  <a:ext uri="{FF2B5EF4-FFF2-40B4-BE49-F238E27FC236}">
                    <a16:creationId xmlns:a16="http://schemas.microsoft.com/office/drawing/2014/main" id="{5AD2EE2D-5532-FDAB-2353-633FACC12C61}"/>
                  </a:ext>
                </a:extLst>
              </p:cNvPr>
              <p:cNvSpPr/>
              <p:nvPr/>
            </p:nvSpPr>
            <p:spPr>
              <a:xfrm>
                <a:off x="-3800357" y="9783602"/>
                <a:ext cx="1111504" cy="52205"/>
              </a:xfrm>
              <a:custGeom>
                <a:avLst/>
                <a:gdLst>
                  <a:gd name="connsiteX0" fmla="*/ 0 w 1111504"/>
                  <a:gd name="connsiteY0" fmla="*/ 0 h 52205"/>
                  <a:gd name="connsiteX1" fmla="*/ 1111505 w 1111504"/>
                  <a:gd name="connsiteY1" fmla="*/ 52206 h 52205"/>
                </a:gdLst>
                <a:ahLst/>
                <a:cxnLst>
                  <a:cxn ang="0">
                    <a:pos x="connsiteX0" y="connsiteY0"/>
                  </a:cxn>
                  <a:cxn ang="0">
                    <a:pos x="connsiteX1" y="connsiteY1"/>
                  </a:cxn>
                </a:cxnLst>
                <a:rect l="l" t="t" r="r" b="b"/>
                <a:pathLst>
                  <a:path w="1111504" h="52205">
                    <a:moveTo>
                      <a:pt x="0" y="0"/>
                    </a:moveTo>
                    <a:cubicBezTo>
                      <a:pt x="76889" y="0"/>
                      <a:pt x="1111505" y="23392"/>
                      <a:pt x="1111505" y="52206"/>
                    </a:cubicBezTo>
                  </a:path>
                </a:pathLst>
              </a:custGeom>
              <a:noFill/>
              <a:ln w="9525" cap="flat">
                <a:solidFill>
                  <a:schemeClr val="accent5"/>
                </a:solidFill>
                <a:prstDash val="solid"/>
                <a:miter/>
              </a:ln>
            </p:spPr>
            <p:txBody>
              <a:bodyPr rtlCol="0" anchor="ctr"/>
              <a:lstStyle/>
              <a:p>
                <a:endParaRPr lang="sv-SE"/>
              </a:p>
            </p:txBody>
          </p:sp>
          <p:sp>
            <p:nvSpPr>
              <p:cNvPr id="119" name="Freeform 118">
                <a:extLst>
                  <a:ext uri="{FF2B5EF4-FFF2-40B4-BE49-F238E27FC236}">
                    <a16:creationId xmlns:a16="http://schemas.microsoft.com/office/drawing/2014/main" id="{08C1CCDB-2049-0D49-DC37-44BC7A634839}"/>
                  </a:ext>
                </a:extLst>
              </p:cNvPr>
              <p:cNvSpPr/>
              <p:nvPr/>
            </p:nvSpPr>
            <p:spPr>
              <a:xfrm>
                <a:off x="-3800512" y="9971667"/>
                <a:ext cx="1111504" cy="34803"/>
              </a:xfrm>
              <a:custGeom>
                <a:avLst/>
                <a:gdLst>
                  <a:gd name="connsiteX0" fmla="*/ 0 w 1111504"/>
                  <a:gd name="connsiteY0" fmla="*/ 0 h 34803"/>
                  <a:gd name="connsiteX1" fmla="*/ 1111505 w 1111504"/>
                  <a:gd name="connsiteY1" fmla="*/ 34804 h 34803"/>
                </a:gdLst>
                <a:ahLst/>
                <a:cxnLst>
                  <a:cxn ang="0">
                    <a:pos x="connsiteX0" y="connsiteY0"/>
                  </a:cxn>
                  <a:cxn ang="0">
                    <a:pos x="connsiteX1" y="connsiteY1"/>
                  </a:cxn>
                </a:cxnLst>
                <a:rect l="l" t="t" r="r" b="b"/>
                <a:pathLst>
                  <a:path w="1111504" h="34803">
                    <a:moveTo>
                      <a:pt x="0" y="0"/>
                    </a:moveTo>
                    <a:cubicBezTo>
                      <a:pt x="76889" y="0"/>
                      <a:pt x="1111505" y="15595"/>
                      <a:pt x="1111505" y="34804"/>
                    </a:cubicBezTo>
                  </a:path>
                </a:pathLst>
              </a:custGeom>
              <a:noFill/>
              <a:ln w="9525" cap="flat">
                <a:solidFill>
                  <a:schemeClr val="accent5"/>
                </a:solidFill>
                <a:prstDash val="solid"/>
                <a:miter/>
              </a:ln>
            </p:spPr>
            <p:txBody>
              <a:bodyPr rtlCol="0" anchor="ctr"/>
              <a:lstStyle/>
              <a:p>
                <a:endParaRPr lang="sv-SE"/>
              </a:p>
            </p:txBody>
          </p:sp>
          <p:sp>
            <p:nvSpPr>
              <p:cNvPr id="120" name="Freeform 119">
                <a:extLst>
                  <a:ext uri="{FF2B5EF4-FFF2-40B4-BE49-F238E27FC236}">
                    <a16:creationId xmlns:a16="http://schemas.microsoft.com/office/drawing/2014/main" id="{A9E7C394-3E14-2F6D-ECD4-F65BF2FBC4A3}"/>
                  </a:ext>
                </a:extLst>
              </p:cNvPr>
              <p:cNvSpPr/>
              <p:nvPr/>
            </p:nvSpPr>
            <p:spPr>
              <a:xfrm>
                <a:off x="-3800615" y="10159732"/>
                <a:ext cx="1111505" cy="17401"/>
              </a:xfrm>
              <a:custGeom>
                <a:avLst/>
                <a:gdLst>
                  <a:gd name="connsiteX0" fmla="*/ 0 w 1111505"/>
                  <a:gd name="connsiteY0" fmla="*/ 0 h 17401"/>
                  <a:gd name="connsiteX1" fmla="*/ 1111505 w 1111505"/>
                  <a:gd name="connsiteY1" fmla="*/ 17402 h 17401"/>
                </a:gdLst>
                <a:ahLst/>
                <a:cxnLst>
                  <a:cxn ang="0">
                    <a:pos x="connsiteX0" y="connsiteY0"/>
                  </a:cxn>
                  <a:cxn ang="0">
                    <a:pos x="connsiteX1" y="connsiteY1"/>
                  </a:cxn>
                </a:cxnLst>
                <a:rect l="l" t="t" r="r" b="b"/>
                <a:pathLst>
                  <a:path w="1111505" h="17401">
                    <a:moveTo>
                      <a:pt x="0" y="0"/>
                    </a:moveTo>
                    <a:cubicBezTo>
                      <a:pt x="76889" y="0"/>
                      <a:pt x="1111505" y="7797"/>
                      <a:pt x="1111505" y="17402"/>
                    </a:cubicBezTo>
                  </a:path>
                </a:pathLst>
              </a:custGeom>
              <a:noFill/>
              <a:ln w="9525" cap="flat">
                <a:solidFill>
                  <a:schemeClr val="accent5"/>
                </a:solidFill>
                <a:prstDash val="solid"/>
                <a:miter/>
              </a:ln>
            </p:spPr>
            <p:txBody>
              <a:bodyPr rtlCol="0" anchor="ctr"/>
              <a:lstStyle/>
              <a:p>
                <a:endParaRPr lang="sv-SE"/>
              </a:p>
            </p:txBody>
          </p:sp>
          <p:sp>
            <p:nvSpPr>
              <p:cNvPr id="121" name="Freeform 120">
                <a:extLst>
                  <a:ext uri="{FF2B5EF4-FFF2-40B4-BE49-F238E27FC236}">
                    <a16:creationId xmlns:a16="http://schemas.microsoft.com/office/drawing/2014/main" id="{492C4E71-2453-295E-1A25-BEAAFA2BC224}"/>
                  </a:ext>
                </a:extLst>
              </p:cNvPr>
              <p:cNvSpPr/>
              <p:nvPr/>
            </p:nvSpPr>
            <p:spPr>
              <a:xfrm>
                <a:off x="-3800770" y="10347746"/>
                <a:ext cx="1111504" cy="5163"/>
              </a:xfrm>
              <a:custGeom>
                <a:avLst/>
                <a:gdLst>
                  <a:gd name="connsiteX0" fmla="*/ 0 w 1111504"/>
                  <a:gd name="connsiteY0" fmla="*/ 0 h 5163"/>
                  <a:gd name="connsiteX1" fmla="*/ 1111505 w 1111504"/>
                  <a:gd name="connsiteY1" fmla="*/ 0 h 5163"/>
                </a:gdLst>
                <a:ahLst/>
                <a:cxnLst>
                  <a:cxn ang="0">
                    <a:pos x="connsiteX0" y="connsiteY0"/>
                  </a:cxn>
                  <a:cxn ang="0">
                    <a:pos x="connsiteX1" y="connsiteY1"/>
                  </a:cxn>
                </a:cxnLst>
                <a:rect l="l" t="t" r="r" b="b"/>
                <a:pathLst>
                  <a:path w="1111504" h="5163">
                    <a:moveTo>
                      <a:pt x="0" y="0"/>
                    </a:moveTo>
                    <a:lnTo>
                      <a:pt x="1111505" y="0"/>
                    </a:lnTo>
                  </a:path>
                </a:pathLst>
              </a:custGeom>
              <a:noFill/>
              <a:ln w="9525" cap="flat">
                <a:solidFill>
                  <a:schemeClr val="accent5"/>
                </a:solidFill>
                <a:prstDash val="solid"/>
                <a:miter/>
              </a:ln>
            </p:spPr>
            <p:txBody>
              <a:bodyPr rtlCol="0" anchor="ctr"/>
              <a:lstStyle/>
              <a:p>
                <a:endParaRPr lang="sv-SE"/>
              </a:p>
            </p:txBody>
          </p:sp>
          <p:sp>
            <p:nvSpPr>
              <p:cNvPr id="122" name="Freeform 121">
                <a:extLst>
                  <a:ext uri="{FF2B5EF4-FFF2-40B4-BE49-F238E27FC236}">
                    <a16:creationId xmlns:a16="http://schemas.microsoft.com/office/drawing/2014/main" id="{7422EF9E-B8A3-C894-6F93-82D8CE76208F}"/>
                  </a:ext>
                </a:extLst>
              </p:cNvPr>
              <p:cNvSpPr/>
              <p:nvPr/>
            </p:nvSpPr>
            <p:spPr>
              <a:xfrm>
                <a:off x="-3800925" y="10518409"/>
                <a:ext cx="1111504" cy="17401"/>
              </a:xfrm>
              <a:custGeom>
                <a:avLst/>
                <a:gdLst>
                  <a:gd name="connsiteX0" fmla="*/ 0 w 1111504"/>
                  <a:gd name="connsiteY0" fmla="*/ 17402 h 17401"/>
                  <a:gd name="connsiteX1" fmla="*/ 1111505 w 1111504"/>
                  <a:gd name="connsiteY1" fmla="*/ 0 h 17401"/>
                </a:gdLst>
                <a:ahLst/>
                <a:cxnLst>
                  <a:cxn ang="0">
                    <a:pos x="connsiteX0" y="connsiteY0"/>
                  </a:cxn>
                  <a:cxn ang="0">
                    <a:pos x="connsiteX1" y="connsiteY1"/>
                  </a:cxn>
                </a:cxnLst>
                <a:rect l="l" t="t" r="r" b="b"/>
                <a:pathLst>
                  <a:path w="1111504" h="17401">
                    <a:moveTo>
                      <a:pt x="0" y="17402"/>
                    </a:moveTo>
                    <a:cubicBezTo>
                      <a:pt x="76889" y="17402"/>
                      <a:pt x="1111505" y="9605"/>
                      <a:pt x="1111505" y="0"/>
                    </a:cubicBezTo>
                  </a:path>
                </a:pathLst>
              </a:custGeom>
              <a:noFill/>
              <a:ln w="9525" cap="flat">
                <a:solidFill>
                  <a:schemeClr val="accent5"/>
                </a:solidFill>
                <a:prstDash val="solid"/>
                <a:miter/>
              </a:ln>
            </p:spPr>
            <p:txBody>
              <a:bodyPr rtlCol="0" anchor="ctr"/>
              <a:lstStyle/>
              <a:p>
                <a:endParaRPr lang="sv-SE"/>
              </a:p>
            </p:txBody>
          </p:sp>
          <p:sp>
            <p:nvSpPr>
              <p:cNvPr id="123" name="Freeform 122">
                <a:extLst>
                  <a:ext uri="{FF2B5EF4-FFF2-40B4-BE49-F238E27FC236}">
                    <a16:creationId xmlns:a16="http://schemas.microsoft.com/office/drawing/2014/main" id="{06E81A13-70BA-7CBE-AFF1-706BC00C1A63}"/>
                  </a:ext>
                </a:extLst>
              </p:cNvPr>
              <p:cNvSpPr/>
              <p:nvPr/>
            </p:nvSpPr>
            <p:spPr>
              <a:xfrm>
                <a:off x="-3801028" y="10689072"/>
                <a:ext cx="1111504" cy="34803"/>
              </a:xfrm>
              <a:custGeom>
                <a:avLst/>
                <a:gdLst>
                  <a:gd name="connsiteX0" fmla="*/ 0 w 1111504"/>
                  <a:gd name="connsiteY0" fmla="*/ 34804 h 34803"/>
                  <a:gd name="connsiteX1" fmla="*/ 1111505 w 1111504"/>
                  <a:gd name="connsiteY1" fmla="*/ 0 h 34803"/>
                </a:gdLst>
                <a:ahLst/>
                <a:cxnLst>
                  <a:cxn ang="0">
                    <a:pos x="connsiteX0" y="connsiteY0"/>
                  </a:cxn>
                  <a:cxn ang="0">
                    <a:pos x="connsiteX1" y="connsiteY1"/>
                  </a:cxn>
                </a:cxnLst>
                <a:rect l="l" t="t" r="r" b="b"/>
                <a:pathLst>
                  <a:path w="1111504" h="34803">
                    <a:moveTo>
                      <a:pt x="0" y="34804"/>
                    </a:moveTo>
                    <a:cubicBezTo>
                      <a:pt x="76889" y="34804"/>
                      <a:pt x="1111505" y="19209"/>
                      <a:pt x="1111505" y="0"/>
                    </a:cubicBezTo>
                  </a:path>
                </a:pathLst>
              </a:custGeom>
              <a:noFill/>
              <a:ln w="9525" cap="flat">
                <a:solidFill>
                  <a:schemeClr val="accent5"/>
                </a:solidFill>
                <a:prstDash val="solid"/>
                <a:miter/>
              </a:ln>
            </p:spPr>
            <p:txBody>
              <a:bodyPr rtlCol="0" anchor="ctr"/>
              <a:lstStyle/>
              <a:p>
                <a:endParaRPr lang="sv-SE"/>
              </a:p>
            </p:txBody>
          </p:sp>
          <p:sp>
            <p:nvSpPr>
              <p:cNvPr id="124" name="Freeform 123">
                <a:extLst>
                  <a:ext uri="{FF2B5EF4-FFF2-40B4-BE49-F238E27FC236}">
                    <a16:creationId xmlns:a16="http://schemas.microsoft.com/office/drawing/2014/main" id="{FF9001CE-FF35-8153-D91C-440BA1FD4AEB}"/>
                  </a:ext>
                </a:extLst>
              </p:cNvPr>
              <p:cNvSpPr/>
              <p:nvPr/>
            </p:nvSpPr>
            <p:spPr>
              <a:xfrm>
                <a:off x="-3801183" y="10859735"/>
                <a:ext cx="1111504" cy="52205"/>
              </a:xfrm>
              <a:custGeom>
                <a:avLst/>
                <a:gdLst>
                  <a:gd name="connsiteX0" fmla="*/ 0 w 1111504"/>
                  <a:gd name="connsiteY0" fmla="*/ 52206 h 52205"/>
                  <a:gd name="connsiteX1" fmla="*/ 1111505 w 1111504"/>
                  <a:gd name="connsiteY1" fmla="*/ 0 h 52205"/>
                </a:gdLst>
                <a:ahLst/>
                <a:cxnLst>
                  <a:cxn ang="0">
                    <a:pos x="connsiteX0" y="connsiteY0"/>
                  </a:cxn>
                  <a:cxn ang="0">
                    <a:pos x="connsiteX1" y="connsiteY1"/>
                  </a:cxn>
                </a:cxnLst>
                <a:rect l="l" t="t" r="r" b="b"/>
                <a:pathLst>
                  <a:path w="1111504" h="52205">
                    <a:moveTo>
                      <a:pt x="0" y="52206"/>
                    </a:moveTo>
                    <a:cubicBezTo>
                      <a:pt x="76889" y="52206"/>
                      <a:pt x="1111505" y="28814"/>
                      <a:pt x="1111505" y="0"/>
                    </a:cubicBezTo>
                  </a:path>
                </a:pathLst>
              </a:custGeom>
              <a:noFill/>
              <a:ln w="9525" cap="flat">
                <a:solidFill>
                  <a:schemeClr val="accent5"/>
                </a:solidFill>
                <a:prstDash val="solid"/>
                <a:miter/>
              </a:ln>
            </p:spPr>
            <p:txBody>
              <a:bodyPr rtlCol="0" anchor="ctr"/>
              <a:lstStyle/>
              <a:p>
                <a:endParaRPr lang="sv-SE"/>
              </a:p>
            </p:txBody>
          </p:sp>
          <p:sp>
            <p:nvSpPr>
              <p:cNvPr id="125" name="Freeform 124">
                <a:extLst>
                  <a:ext uri="{FF2B5EF4-FFF2-40B4-BE49-F238E27FC236}">
                    <a16:creationId xmlns:a16="http://schemas.microsoft.com/office/drawing/2014/main" id="{65A18904-54EA-12F4-11D2-DFFF52A4FF1B}"/>
                  </a:ext>
                </a:extLst>
              </p:cNvPr>
              <p:cNvSpPr/>
              <p:nvPr/>
            </p:nvSpPr>
            <p:spPr>
              <a:xfrm>
                <a:off x="-3801338" y="11030398"/>
                <a:ext cx="1111505" cy="69608"/>
              </a:xfrm>
              <a:custGeom>
                <a:avLst/>
                <a:gdLst>
                  <a:gd name="connsiteX0" fmla="*/ 0 w 1111505"/>
                  <a:gd name="connsiteY0" fmla="*/ 69608 h 69608"/>
                  <a:gd name="connsiteX1" fmla="*/ 1111505 w 1111505"/>
                  <a:gd name="connsiteY1" fmla="*/ 0 h 69608"/>
                </a:gdLst>
                <a:ahLst/>
                <a:cxnLst>
                  <a:cxn ang="0">
                    <a:pos x="connsiteX0" y="connsiteY0"/>
                  </a:cxn>
                  <a:cxn ang="0">
                    <a:pos x="connsiteX1" y="connsiteY1"/>
                  </a:cxn>
                </a:cxnLst>
                <a:rect l="l" t="t" r="r" b="b"/>
                <a:pathLst>
                  <a:path w="1111505" h="69608">
                    <a:moveTo>
                      <a:pt x="0" y="69608"/>
                    </a:moveTo>
                    <a:cubicBezTo>
                      <a:pt x="76889" y="69608"/>
                      <a:pt x="1111505" y="38419"/>
                      <a:pt x="1111505" y="0"/>
                    </a:cubicBezTo>
                  </a:path>
                </a:pathLst>
              </a:custGeom>
              <a:noFill/>
              <a:ln w="9525" cap="flat">
                <a:solidFill>
                  <a:schemeClr val="accent5"/>
                </a:solidFill>
                <a:prstDash val="solid"/>
                <a:miter/>
              </a:ln>
            </p:spPr>
            <p:txBody>
              <a:bodyPr rtlCol="0" anchor="ctr"/>
              <a:lstStyle/>
              <a:p>
                <a:endParaRPr lang="sv-SE"/>
              </a:p>
            </p:txBody>
          </p:sp>
          <p:sp>
            <p:nvSpPr>
              <p:cNvPr id="126" name="Freeform 125">
                <a:extLst>
                  <a:ext uri="{FF2B5EF4-FFF2-40B4-BE49-F238E27FC236}">
                    <a16:creationId xmlns:a16="http://schemas.microsoft.com/office/drawing/2014/main" id="{E3EAB664-89F2-D46D-C8A8-898FF97EB99E}"/>
                  </a:ext>
                </a:extLst>
              </p:cNvPr>
              <p:cNvSpPr/>
              <p:nvPr/>
            </p:nvSpPr>
            <p:spPr>
              <a:xfrm>
                <a:off x="-3801493" y="11201061"/>
                <a:ext cx="1111504" cy="87009"/>
              </a:xfrm>
              <a:custGeom>
                <a:avLst/>
                <a:gdLst>
                  <a:gd name="connsiteX0" fmla="*/ 0 w 1111504"/>
                  <a:gd name="connsiteY0" fmla="*/ 87010 h 87009"/>
                  <a:gd name="connsiteX1" fmla="*/ 1111505 w 1111504"/>
                  <a:gd name="connsiteY1" fmla="*/ 0 h 87009"/>
                </a:gdLst>
                <a:ahLst/>
                <a:cxnLst>
                  <a:cxn ang="0">
                    <a:pos x="connsiteX0" y="connsiteY0"/>
                  </a:cxn>
                  <a:cxn ang="0">
                    <a:pos x="connsiteX1" y="connsiteY1"/>
                  </a:cxn>
                </a:cxnLst>
                <a:rect l="l" t="t" r="r" b="b"/>
                <a:pathLst>
                  <a:path w="1111504" h="87009">
                    <a:moveTo>
                      <a:pt x="0" y="87010"/>
                    </a:moveTo>
                    <a:cubicBezTo>
                      <a:pt x="76889" y="87010"/>
                      <a:pt x="1111505" y="48075"/>
                      <a:pt x="1111505" y="0"/>
                    </a:cubicBezTo>
                  </a:path>
                </a:pathLst>
              </a:custGeom>
              <a:noFill/>
              <a:ln w="9525" cap="flat">
                <a:solidFill>
                  <a:schemeClr val="accent5"/>
                </a:solidFill>
                <a:prstDash val="solid"/>
                <a:miter/>
              </a:ln>
            </p:spPr>
            <p:txBody>
              <a:bodyPr rtlCol="0" anchor="ctr"/>
              <a:lstStyle/>
              <a:p>
                <a:endParaRPr lang="sv-SE"/>
              </a:p>
            </p:txBody>
          </p:sp>
          <p:sp>
            <p:nvSpPr>
              <p:cNvPr id="127" name="Freeform 126">
                <a:extLst>
                  <a:ext uri="{FF2B5EF4-FFF2-40B4-BE49-F238E27FC236}">
                    <a16:creationId xmlns:a16="http://schemas.microsoft.com/office/drawing/2014/main" id="{CB03D7D8-B748-00C0-9CFF-E2F1B1C63D57}"/>
                  </a:ext>
                </a:extLst>
              </p:cNvPr>
              <p:cNvSpPr/>
              <p:nvPr/>
            </p:nvSpPr>
            <p:spPr>
              <a:xfrm>
                <a:off x="-3801596" y="11371724"/>
                <a:ext cx="1111504" cy="104411"/>
              </a:xfrm>
              <a:custGeom>
                <a:avLst/>
                <a:gdLst>
                  <a:gd name="connsiteX0" fmla="*/ 0 w 1111504"/>
                  <a:gd name="connsiteY0" fmla="*/ 104412 h 104411"/>
                  <a:gd name="connsiteX1" fmla="*/ 1111505 w 1111504"/>
                  <a:gd name="connsiteY1" fmla="*/ 0 h 104411"/>
                </a:gdLst>
                <a:ahLst/>
                <a:cxnLst>
                  <a:cxn ang="0">
                    <a:pos x="connsiteX0" y="connsiteY0"/>
                  </a:cxn>
                  <a:cxn ang="0">
                    <a:pos x="connsiteX1" y="connsiteY1"/>
                  </a:cxn>
                </a:cxnLst>
                <a:rect l="l" t="t" r="r" b="b"/>
                <a:pathLst>
                  <a:path w="1111504" h="104411">
                    <a:moveTo>
                      <a:pt x="0" y="104412"/>
                    </a:moveTo>
                    <a:cubicBezTo>
                      <a:pt x="76889" y="104412"/>
                      <a:pt x="1111505" y="57679"/>
                      <a:pt x="1111505" y="0"/>
                    </a:cubicBezTo>
                  </a:path>
                </a:pathLst>
              </a:custGeom>
              <a:noFill/>
              <a:ln w="9525" cap="flat">
                <a:solidFill>
                  <a:schemeClr val="accent5"/>
                </a:solidFill>
                <a:prstDash val="solid"/>
                <a:miter/>
              </a:ln>
            </p:spPr>
            <p:txBody>
              <a:bodyPr rtlCol="0" anchor="ctr"/>
              <a:lstStyle/>
              <a:p>
                <a:endParaRPr lang="sv-SE"/>
              </a:p>
            </p:txBody>
          </p:sp>
          <p:sp>
            <p:nvSpPr>
              <p:cNvPr id="128" name="Freeform 127">
                <a:extLst>
                  <a:ext uri="{FF2B5EF4-FFF2-40B4-BE49-F238E27FC236}">
                    <a16:creationId xmlns:a16="http://schemas.microsoft.com/office/drawing/2014/main" id="{0CC1D515-E414-BC6C-4625-5BDBBA618829}"/>
                  </a:ext>
                </a:extLst>
              </p:cNvPr>
              <p:cNvSpPr/>
              <p:nvPr/>
            </p:nvSpPr>
            <p:spPr>
              <a:xfrm>
                <a:off x="-3801751" y="11542387"/>
                <a:ext cx="1111504" cy="121813"/>
              </a:xfrm>
              <a:custGeom>
                <a:avLst/>
                <a:gdLst>
                  <a:gd name="connsiteX0" fmla="*/ 0 w 1111504"/>
                  <a:gd name="connsiteY0" fmla="*/ 121814 h 121813"/>
                  <a:gd name="connsiteX1" fmla="*/ 1111505 w 1111504"/>
                  <a:gd name="connsiteY1" fmla="*/ 0 h 121813"/>
                </a:gdLst>
                <a:ahLst/>
                <a:cxnLst>
                  <a:cxn ang="0">
                    <a:pos x="connsiteX0" y="connsiteY0"/>
                  </a:cxn>
                  <a:cxn ang="0">
                    <a:pos x="connsiteX1" y="connsiteY1"/>
                  </a:cxn>
                </a:cxnLst>
                <a:rect l="l" t="t" r="r" b="b"/>
                <a:pathLst>
                  <a:path w="1111504" h="121813">
                    <a:moveTo>
                      <a:pt x="0" y="121814"/>
                    </a:moveTo>
                    <a:cubicBezTo>
                      <a:pt x="76889" y="121814"/>
                      <a:pt x="1111505" y="67284"/>
                      <a:pt x="1111505" y="0"/>
                    </a:cubicBezTo>
                  </a:path>
                </a:pathLst>
              </a:custGeom>
              <a:noFill/>
              <a:ln w="9525" cap="flat">
                <a:solidFill>
                  <a:schemeClr val="accent5"/>
                </a:solidFill>
                <a:prstDash val="solid"/>
                <a:miter/>
              </a:ln>
            </p:spPr>
            <p:txBody>
              <a:bodyPr rtlCol="0" anchor="ctr"/>
              <a:lstStyle/>
              <a:p>
                <a:endParaRPr lang="sv-SE"/>
              </a:p>
            </p:txBody>
          </p:sp>
          <p:sp>
            <p:nvSpPr>
              <p:cNvPr id="129" name="Freeform 128">
                <a:extLst>
                  <a:ext uri="{FF2B5EF4-FFF2-40B4-BE49-F238E27FC236}">
                    <a16:creationId xmlns:a16="http://schemas.microsoft.com/office/drawing/2014/main" id="{9C3E2CE2-FFC8-91CE-34CD-2D143164B4B2}"/>
                  </a:ext>
                </a:extLst>
              </p:cNvPr>
              <p:cNvSpPr/>
              <p:nvPr/>
            </p:nvSpPr>
            <p:spPr>
              <a:xfrm>
                <a:off x="-3801906" y="11718885"/>
                <a:ext cx="1113466" cy="974561"/>
              </a:xfrm>
              <a:custGeom>
                <a:avLst/>
                <a:gdLst>
                  <a:gd name="connsiteX0" fmla="*/ 0 w 1113466"/>
                  <a:gd name="connsiteY0" fmla="*/ 974561 h 974561"/>
                  <a:gd name="connsiteX1" fmla="*/ 1113467 w 1113466"/>
                  <a:gd name="connsiteY1" fmla="*/ 0 h 974561"/>
                </a:gdLst>
                <a:ahLst/>
                <a:cxnLst>
                  <a:cxn ang="0">
                    <a:pos x="connsiteX0" y="connsiteY0"/>
                  </a:cxn>
                  <a:cxn ang="0">
                    <a:pos x="connsiteX1" y="connsiteY1"/>
                  </a:cxn>
                </a:cxnLst>
                <a:rect l="l" t="t" r="r" b="b"/>
                <a:pathLst>
                  <a:path w="1113466" h="974561">
                    <a:moveTo>
                      <a:pt x="0" y="974561"/>
                    </a:moveTo>
                    <a:cubicBezTo>
                      <a:pt x="538222" y="974561"/>
                      <a:pt x="1113467" y="538221"/>
                      <a:pt x="1113467" y="0"/>
                    </a:cubicBezTo>
                  </a:path>
                </a:pathLst>
              </a:custGeom>
              <a:noFill/>
              <a:ln w="9525" cap="flat">
                <a:solidFill>
                  <a:schemeClr val="accent5"/>
                </a:solidFill>
                <a:prstDash val="solid"/>
                <a:miter/>
              </a:ln>
            </p:spPr>
            <p:txBody>
              <a:bodyPr rtlCol="0" anchor="ctr"/>
              <a:lstStyle/>
              <a:p>
                <a:endParaRPr lang="sv-SE"/>
              </a:p>
            </p:txBody>
          </p:sp>
          <p:sp>
            <p:nvSpPr>
              <p:cNvPr id="130" name="Freeform 129">
                <a:extLst>
                  <a:ext uri="{FF2B5EF4-FFF2-40B4-BE49-F238E27FC236}">
                    <a16:creationId xmlns:a16="http://schemas.microsoft.com/office/drawing/2014/main" id="{9582F774-BBE2-3D02-772F-8D270ECCC318}"/>
                  </a:ext>
                </a:extLst>
              </p:cNvPr>
              <p:cNvSpPr/>
              <p:nvPr/>
            </p:nvSpPr>
            <p:spPr>
              <a:xfrm>
                <a:off x="-3801906" y="11717904"/>
                <a:ext cx="1113105" cy="835345"/>
              </a:xfrm>
              <a:custGeom>
                <a:avLst/>
                <a:gdLst>
                  <a:gd name="connsiteX0" fmla="*/ 0 w 1113105"/>
                  <a:gd name="connsiteY0" fmla="*/ 835346 h 835345"/>
                  <a:gd name="connsiteX1" fmla="*/ 1113106 w 1113105"/>
                  <a:gd name="connsiteY1" fmla="*/ 0 h 835345"/>
                </a:gdLst>
                <a:ahLst/>
                <a:cxnLst>
                  <a:cxn ang="0">
                    <a:pos x="connsiteX0" y="connsiteY0"/>
                  </a:cxn>
                  <a:cxn ang="0">
                    <a:pos x="connsiteX1" y="connsiteY1"/>
                  </a:cxn>
                </a:cxnLst>
                <a:rect l="l" t="t" r="r" b="b"/>
                <a:pathLst>
                  <a:path w="1113105" h="835345">
                    <a:moveTo>
                      <a:pt x="0" y="835346"/>
                    </a:moveTo>
                    <a:cubicBezTo>
                      <a:pt x="461333" y="835346"/>
                      <a:pt x="1113106" y="461333"/>
                      <a:pt x="1113106" y="0"/>
                    </a:cubicBezTo>
                  </a:path>
                </a:pathLst>
              </a:custGeom>
              <a:noFill/>
              <a:ln w="9525" cap="flat">
                <a:solidFill>
                  <a:schemeClr val="accent5"/>
                </a:solidFill>
                <a:prstDash val="solid"/>
                <a:miter/>
              </a:ln>
            </p:spPr>
            <p:txBody>
              <a:bodyPr rtlCol="0" anchor="ctr"/>
              <a:lstStyle/>
              <a:p>
                <a:endParaRPr lang="sv-SE"/>
              </a:p>
            </p:txBody>
          </p:sp>
          <p:sp>
            <p:nvSpPr>
              <p:cNvPr id="131" name="Freeform 130">
                <a:extLst>
                  <a:ext uri="{FF2B5EF4-FFF2-40B4-BE49-F238E27FC236}">
                    <a16:creationId xmlns:a16="http://schemas.microsoft.com/office/drawing/2014/main" id="{1A7BDC21-A595-0314-6516-3D71DE4D7322}"/>
                  </a:ext>
                </a:extLst>
              </p:cNvPr>
              <p:cNvSpPr/>
              <p:nvPr/>
            </p:nvSpPr>
            <p:spPr>
              <a:xfrm>
                <a:off x="-3801906" y="11716923"/>
                <a:ext cx="1112796" cy="696129"/>
              </a:xfrm>
              <a:custGeom>
                <a:avLst/>
                <a:gdLst>
                  <a:gd name="connsiteX0" fmla="*/ 0 w 1112796"/>
                  <a:gd name="connsiteY0" fmla="*/ 696130 h 696129"/>
                  <a:gd name="connsiteX1" fmla="*/ 1112796 w 1112796"/>
                  <a:gd name="connsiteY1" fmla="*/ 0 h 696129"/>
                </a:gdLst>
                <a:ahLst/>
                <a:cxnLst>
                  <a:cxn ang="0">
                    <a:pos x="connsiteX0" y="connsiteY0"/>
                  </a:cxn>
                  <a:cxn ang="0">
                    <a:pos x="connsiteX1" y="connsiteY1"/>
                  </a:cxn>
                </a:cxnLst>
                <a:rect l="l" t="t" r="r" b="b"/>
                <a:pathLst>
                  <a:path w="1112796" h="696129">
                    <a:moveTo>
                      <a:pt x="0" y="696130"/>
                    </a:moveTo>
                    <a:cubicBezTo>
                      <a:pt x="384444" y="696130"/>
                      <a:pt x="1112796" y="384496"/>
                      <a:pt x="1112796" y="0"/>
                    </a:cubicBezTo>
                  </a:path>
                </a:pathLst>
              </a:custGeom>
              <a:noFill/>
              <a:ln w="9525" cap="flat">
                <a:solidFill>
                  <a:schemeClr val="accent5"/>
                </a:solidFill>
                <a:prstDash val="solid"/>
                <a:miter/>
              </a:ln>
            </p:spPr>
            <p:txBody>
              <a:bodyPr rtlCol="0" anchor="ctr"/>
              <a:lstStyle/>
              <a:p>
                <a:endParaRPr lang="sv-SE"/>
              </a:p>
            </p:txBody>
          </p:sp>
          <p:sp>
            <p:nvSpPr>
              <p:cNvPr id="132" name="Freeform 131">
                <a:extLst>
                  <a:ext uri="{FF2B5EF4-FFF2-40B4-BE49-F238E27FC236}">
                    <a16:creationId xmlns:a16="http://schemas.microsoft.com/office/drawing/2014/main" id="{2F477044-2AFF-93B6-D99A-005E90014FCE}"/>
                  </a:ext>
                </a:extLst>
              </p:cNvPr>
              <p:cNvSpPr/>
              <p:nvPr/>
            </p:nvSpPr>
            <p:spPr>
              <a:xfrm>
                <a:off x="-3801906" y="11715994"/>
                <a:ext cx="1112485" cy="556862"/>
              </a:xfrm>
              <a:custGeom>
                <a:avLst/>
                <a:gdLst>
                  <a:gd name="connsiteX0" fmla="*/ 0 w 1112485"/>
                  <a:gd name="connsiteY0" fmla="*/ 556863 h 556862"/>
                  <a:gd name="connsiteX1" fmla="*/ 1112486 w 1112485"/>
                  <a:gd name="connsiteY1" fmla="*/ 0 h 556862"/>
                </a:gdLst>
                <a:ahLst/>
                <a:cxnLst>
                  <a:cxn ang="0">
                    <a:pos x="connsiteX0" y="connsiteY0"/>
                  </a:cxn>
                  <a:cxn ang="0">
                    <a:pos x="connsiteX1" y="connsiteY1"/>
                  </a:cxn>
                </a:cxnLst>
                <a:rect l="l" t="t" r="r" b="b"/>
                <a:pathLst>
                  <a:path w="1112485" h="556862">
                    <a:moveTo>
                      <a:pt x="0" y="556863"/>
                    </a:moveTo>
                    <a:cubicBezTo>
                      <a:pt x="307555" y="556863"/>
                      <a:pt x="1112486" y="307555"/>
                      <a:pt x="1112486" y="0"/>
                    </a:cubicBezTo>
                  </a:path>
                </a:pathLst>
              </a:custGeom>
              <a:noFill/>
              <a:ln w="9525" cap="flat">
                <a:solidFill>
                  <a:schemeClr val="accent5"/>
                </a:solidFill>
                <a:prstDash val="solid"/>
                <a:miter/>
              </a:ln>
            </p:spPr>
            <p:txBody>
              <a:bodyPr rtlCol="0" anchor="ctr"/>
              <a:lstStyle/>
              <a:p>
                <a:endParaRPr lang="sv-SE"/>
              </a:p>
            </p:txBody>
          </p:sp>
          <p:sp>
            <p:nvSpPr>
              <p:cNvPr id="133" name="Freeform 132">
                <a:extLst>
                  <a:ext uri="{FF2B5EF4-FFF2-40B4-BE49-F238E27FC236}">
                    <a16:creationId xmlns:a16="http://schemas.microsoft.com/office/drawing/2014/main" id="{AE3CF1D3-ACF4-CA55-2329-8C083EA702CB}"/>
                  </a:ext>
                </a:extLst>
              </p:cNvPr>
              <p:cNvSpPr/>
              <p:nvPr/>
            </p:nvSpPr>
            <p:spPr>
              <a:xfrm>
                <a:off x="-3801906" y="11715012"/>
                <a:ext cx="1112175" cy="417646"/>
              </a:xfrm>
              <a:custGeom>
                <a:avLst/>
                <a:gdLst>
                  <a:gd name="connsiteX0" fmla="*/ 0 w 1112175"/>
                  <a:gd name="connsiteY0" fmla="*/ 417647 h 417646"/>
                  <a:gd name="connsiteX1" fmla="*/ 1112176 w 1112175"/>
                  <a:gd name="connsiteY1" fmla="*/ 0 h 417646"/>
                </a:gdLst>
                <a:ahLst/>
                <a:cxnLst>
                  <a:cxn ang="0">
                    <a:pos x="connsiteX0" y="connsiteY0"/>
                  </a:cxn>
                  <a:cxn ang="0">
                    <a:pos x="connsiteX1" y="connsiteY1"/>
                  </a:cxn>
                </a:cxnLst>
                <a:rect l="l" t="t" r="r" b="b"/>
                <a:pathLst>
                  <a:path w="1112175" h="417646">
                    <a:moveTo>
                      <a:pt x="0" y="417647"/>
                    </a:moveTo>
                    <a:cubicBezTo>
                      <a:pt x="230666" y="417647"/>
                      <a:pt x="1112176" y="230666"/>
                      <a:pt x="1112176" y="0"/>
                    </a:cubicBezTo>
                  </a:path>
                </a:pathLst>
              </a:custGeom>
              <a:noFill/>
              <a:ln w="9525" cap="flat">
                <a:solidFill>
                  <a:schemeClr val="accent5"/>
                </a:solidFill>
                <a:prstDash val="solid"/>
                <a:miter/>
              </a:ln>
            </p:spPr>
            <p:txBody>
              <a:bodyPr rtlCol="0" anchor="ctr"/>
              <a:lstStyle/>
              <a:p>
                <a:endParaRPr lang="sv-SE"/>
              </a:p>
            </p:txBody>
          </p:sp>
          <p:sp>
            <p:nvSpPr>
              <p:cNvPr id="134" name="Freeform 133">
                <a:extLst>
                  <a:ext uri="{FF2B5EF4-FFF2-40B4-BE49-F238E27FC236}">
                    <a16:creationId xmlns:a16="http://schemas.microsoft.com/office/drawing/2014/main" id="{15A4E504-45A9-30F2-2F71-4053622F0AEA}"/>
                  </a:ext>
                </a:extLst>
              </p:cNvPr>
              <p:cNvSpPr/>
              <p:nvPr/>
            </p:nvSpPr>
            <p:spPr>
              <a:xfrm>
                <a:off x="-3801906" y="11714031"/>
                <a:ext cx="1111814" cy="278431"/>
              </a:xfrm>
              <a:custGeom>
                <a:avLst/>
                <a:gdLst>
                  <a:gd name="connsiteX0" fmla="*/ 0 w 1111814"/>
                  <a:gd name="connsiteY0" fmla="*/ 278431 h 278431"/>
                  <a:gd name="connsiteX1" fmla="*/ 1111815 w 1111814"/>
                  <a:gd name="connsiteY1" fmla="*/ 0 h 278431"/>
                </a:gdLst>
                <a:ahLst/>
                <a:cxnLst>
                  <a:cxn ang="0">
                    <a:pos x="connsiteX0" y="connsiteY0"/>
                  </a:cxn>
                  <a:cxn ang="0">
                    <a:pos x="connsiteX1" y="connsiteY1"/>
                  </a:cxn>
                </a:cxnLst>
                <a:rect l="l" t="t" r="r" b="b"/>
                <a:pathLst>
                  <a:path w="1111814" h="278431">
                    <a:moveTo>
                      <a:pt x="0" y="278431"/>
                    </a:moveTo>
                    <a:cubicBezTo>
                      <a:pt x="153778" y="278431"/>
                      <a:pt x="1111815" y="153778"/>
                      <a:pt x="1111815" y="0"/>
                    </a:cubicBezTo>
                  </a:path>
                </a:pathLst>
              </a:custGeom>
              <a:noFill/>
              <a:ln w="9525" cap="flat">
                <a:solidFill>
                  <a:schemeClr val="accent5"/>
                </a:solidFill>
                <a:prstDash val="solid"/>
                <a:miter/>
              </a:ln>
            </p:spPr>
            <p:txBody>
              <a:bodyPr rtlCol="0" anchor="ctr"/>
              <a:lstStyle/>
              <a:p>
                <a:endParaRPr lang="sv-SE"/>
              </a:p>
            </p:txBody>
          </p:sp>
          <p:sp>
            <p:nvSpPr>
              <p:cNvPr id="135" name="Freeform 134">
                <a:extLst>
                  <a:ext uri="{FF2B5EF4-FFF2-40B4-BE49-F238E27FC236}">
                    <a16:creationId xmlns:a16="http://schemas.microsoft.com/office/drawing/2014/main" id="{E2E063D3-CCB4-450E-ECA4-2C4556815E67}"/>
                  </a:ext>
                </a:extLst>
              </p:cNvPr>
              <p:cNvSpPr/>
              <p:nvPr/>
            </p:nvSpPr>
            <p:spPr>
              <a:xfrm>
                <a:off x="-3801906" y="11713050"/>
                <a:ext cx="1111505" cy="139215"/>
              </a:xfrm>
              <a:custGeom>
                <a:avLst/>
                <a:gdLst>
                  <a:gd name="connsiteX0" fmla="*/ 0 w 1111505"/>
                  <a:gd name="connsiteY0" fmla="*/ 139216 h 139215"/>
                  <a:gd name="connsiteX1" fmla="*/ 1111505 w 1111505"/>
                  <a:gd name="connsiteY1" fmla="*/ 0 h 139215"/>
                </a:gdLst>
                <a:ahLst/>
                <a:cxnLst>
                  <a:cxn ang="0">
                    <a:pos x="connsiteX0" y="connsiteY0"/>
                  </a:cxn>
                  <a:cxn ang="0">
                    <a:pos x="connsiteX1" y="connsiteY1"/>
                  </a:cxn>
                </a:cxnLst>
                <a:rect l="l" t="t" r="r" b="b"/>
                <a:pathLst>
                  <a:path w="1111505" h="139215">
                    <a:moveTo>
                      <a:pt x="0" y="139216"/>
                    </a:moveTo>
                    <a:cubicBezTo>
                      <a:pt x="76889" y="139216"/>
                      <a:pt x="1111505" y="76889"/>
                      <a:pt x="1111505" y="0"/>
                    </a:cubicBezTo>
                  </a:path>
                </a:pathLst>
              </a:custGeom>
              <a:noFill/>
              <a:ln w="9525" cap="flat">
                <a:solidFill>
                  <a:schemeClr val="accent5"/>
                </a:solidFill>
                <a:prstDash val="solid"/>
                <a:miter/>
              </a:ln>
            </p:spPr>
            <p:txBody>
              <a:bodyPr rtlCol="0" anchor="ctr"/>
              <a:lstStyle/>
              <a:p>
                <a:endParaRPr lang="sv-SE"/>
              </a:p>
            </p:txBody>
          </p:sp>
        </p:grpSp>
      </p:grpSp>
      <p:grpSp>
        <p:nvGrpSpPr>
          <p:cNvPr id="12" name="!!Data">
            <a:extLst>
              <a:ext uri="{FF2B5EF4-FFF2-40B4-BE49-F238E27FC236}">
                <a16:creationId xmlns:a16="http://schemas.microsoft.com/office/drawing/2014/main" id="{25923322-664B-5BEF-39D9-0431F950E385}"/>
              </a:ext>
            </a:extLst>
          </p:cNvPr>
          <p:cNvGrpSpPr/>
          <p:nvPr/>
        </p:nvGrpSpPr>
        <p:grpSpPr>
          <a:xfrm>
            <a:off x="-16702708" y="4632472"/>
            <a:ext cx="11100381" cy="1499786"/>
            <a:chOff x="546101" y="4485511"/>
            <a:chExt cx="11100381" cy="1499786"/>
          </a:xfrm>
        </p:grpSpPr>
        <p:sp>
          <p:nvSpPr>
            <p:cNvPr id="13" name="TextBox 12">
              <a:extLst>
                <a:ext uri="{FF2B5EF4-FFF2-40B4-BE49-F238E27FC236}">
                  <a16:creationId xmlns:a16="http://schemas.microsoft.com/office/drawing/2014/main" id="{B198760C-5014-02FE-FE35-EF6A3CDF805D}"/>
                </a:ext>
              </a:extLst>
            </p:cNvPr>
            <p:cNvSpPr txBox="1"/>
            <p:nvPr/>
          </p:nvSpPr>
          <p:spPr>
            <a:xfrm>
              <a:off x="546101" y="4549874"/>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Volym (m</a:t>
              </a:r>
              <a:r>
                <a:rPr kumimoji="0" lang="sv-SE" sz="1600" b="1" i="0" u="none" strike="noStrike" kern="1200" cap="none" spc="0" normalizeH="0" baseline="30000" noProof="0" dirty="0">
                  <a:ln>
                    <a:noFill/>
                  </a:ln>
                  <a:solidFill>
                    <a:srgbClr val="FFFFFF"/>
                  </a:solidFill>
                  <a:effectLst/>
                  <a:uLnTx/>
                  <a:uFillTx/>
                  <a:latin typeface="Aptos" panose="02110004020202020204"/>
                  <a:ea typeface="+mn-ea"/>
                  <a:cs typeface="+mn-cs"/>
                </a:rPr>
                <a:t>3</a:t>
              </a: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a:t>
              </a:r>
            </a:p>
          </p:txBody>
        </p:sp>
        <p:sp>
          <p:nvSpPr>
            <p:cNvPr id="15" name="TextBox 14">
              <a:extLst>
                <a:ext uri="{FF2B5EF4-FFF2-40B4-BE49-F238E27FC236}">
                  <a16:creationId xmlns:a16="http://schemas.microsoft.com/office/drawing/2014/main" id="{165A73B8-B760-4042-F5AB-C8FA07AC850F}"/>
                </a:ext>
              </a:extLst>
            </p:cNvPr>
            <p:cNvSpPr txBox="1"/>
            <p:nvPr/>
          </p:nvSpPr>
          <p:spPr>
            <a:xfrm>
              <a:off x="4389990" y="4549874"/>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00</a:t>
              </a:r>
            </a:p>
          </p:txBody>
        </p:sp>
        <p:sp>
          <p:nvSpPr>
            <p:cNvPr id="16" name="TextBox 15">
              <a:extLst>
                <a:ext uri="{FF2B5EF4-FFF2-40B4-BE49-F238E27FC236}">
                  <a16:creationId xmlns:a16="http://schemas.microsoft.com/office/drawing/2014/main" id="{518BDF31-C31F-EAE9-3614-7936673765E2}"/>
                </a:ext>
              </a:extLst>
            </p:cNvPr>
            <p:cNvSpPr txBox="1"/>
            <p:nvPr/>
          </p:nvSpPr>
          <p:spPr>
            <a:xfrm>
              <a:off x="9279539" y="4549874"/>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lt;100 000</a:t>
              </a:r>
            </a:p>
          </p:txBody>
        </p:sp>
        <p:sp>
          <p:nvSpPr>
            <p:cNvPr id="18" name="TextBox 17">
              <a:extLst>
                <a:ext uri="{FF2B5EF4-FFF2-40B4-BE49-F238E27FC236}">
                  <a16:creationId xmlns:a16="http://schemas.microsoft.com/office/drawing/2014/main" id="{6BB63F6F-19EF-7F14-ADC0-99D09E3B9448}"/>
                </a:ext>
              </a:extLst>
            </p:cNvPr>
            <p:cNvSpPr txBox="1"/>
            <p:nvPr/>
          </p:nvSpPr>
          <p:spPr>
            <a:xfrm>
              <a:off x="546101" y="4924820"/>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Mängd vätgas (full) (Nm</a:t>
              </a:r>
              <a:r>
                <a:rPr kumimoji="0" lang="sv-SE" sz="1600" b="1" i="0" u="none" strike="noStrike" kern="1200" cap="none" spc="0" normalizeH="0" baseline="30000" noProof="0" dirty="0">
                  <a:ln>
                    <a:noFill/>
                  </a:ln>
                  <a:solidFill>
                    <a:srgbClr val="FFFFFF"/>
                  </a:solidFill>
                  <a:effectLst/>
                  <a:uLnTx/>
                  <a:uFillTx/>
                  <a:latin typeface="Aptos" panose="02110004020202020204"/>
                  <a:ea typeface="+mn-ea"/>
                  <a:cs typeface="+mn-cs"/>
                </a:rPr>
                <a:t>3</a:t>
              </a: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 och ton)</a:t>
              </a:r>
            </a:p>
          </p:txBody>
        </p:sp>
        <p:sp>
          <p:nvSpPr>
            <p:cNvPr id="19" name="TextBox 18">
              <a:extLst>
                <a:ext uri="{FF2B5EF4-FFF2-40B4-BE49-F238E27FC236}">
                  <a16:creationId xmlns:a16="http://schemas.microsoft.com/office/drawing/2014/main" id="{7FE48FE4-16B5-6C30-E8DF-8177CC630F9F}"/>
                </a:ext>
              </a:extLst>
            </p:cNvPr>
            <p:cNvSpPr txBox="1"/>
            <p:nvPr/>
          </p:nvSpPr>
          <p:spPr>
            <a:xfrm>
              <a:off x="4389990" y="4924820"/>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9 000/1,7</a:t>
              </a:r>
            </a:p>
          </p:txBody>
        </p:sp>
        <p:sp>
          <p:nvSpPr>
            <p:cNvPr id="21" name="TextBox 20">
              <a:extLst>
                <a:ext uri="{FF2B5EF4-FFF2-40B4-BE49-F238E27FC236}">
                  <a16:creationId xmlns:a16="http://schemas.microsoft.com/office/drawing/2014/main" id="{54FF8992-DE9F-974E-2DFB-7083F713A131}"/>
                </a:ext>
              </a:extLst>
            </p:cNvPr>
            <p:cNvSpPr txBox="1"/>
            <p:nvPr/>
          </p:nvSpPr>
          <p:spPr>
            <a:xfrm>
              <a:off x="9279539" y="4924820"/>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7 000 000/1 500</a:t>
              </a:r>
            </a:p>
          </p:txBody>
        </p:sp>
        <p:sp>
          <p:nvSpPr>
            <p:cNvPr id="24" name="TextBox 23">
              <a:extLst>
                <a:ext uri="{FF2B5EF4-FFF2-40B4-BE49-F238E27FC236}">
                  <a16:creationId xmlns:a16="http://schemas.microsoft.com/office/drawing/2014/main" id="{D2B69FCD-2457-7B8D-BD3E-66FDC243F96E}"/>
                </a:ext>
              </a:extLst>
            </p:cNvPr>
            <p:cNvSpPr txBox="1"/>
            <p:nvPr/>
          </p:nvSpPr>
          <p:spPr>
            <a:xfrm>
              <a:off x="546101" y="5299766"/>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Vätgas energi (full) (GJ/MWh)*</a:t>
              </a:r>
            </a:p>
          </p:txBody>
        </p:sp>
        <p:sp>
          <p:nvSpPr>
            <p:cNvPr id="25" name="TextBox 24">
              <a:extLst>
                <a:ext uri="{FF2B5EF4-FFF2-40B4-BE49-F238E27FC236}">
                  <a16:creationId xmlns:a16="http://schemas.microsoft.com/office/drawing/2014/main" id="{13AF6D5E-97C8-3008-99E0-A92FFBCD90A3}"/>
                </a:ext>
              </a:extLst>
            </p:cNvPr>
            <p:cNvSpPr txBox="1"/>
            <p:nvPr/>
          </p:nvSpPr>
          <p:spPr>
            <a:xfrm>
              <a:off x="4389990" y="5299766"/>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40/70</a:t>
              </a:r>
            </a:p>
          </p:txBody>
        </p:sp>
        <p:sp>
          <p:nvSpPr>
            <p:cNvPr id="27" name="TextBox 26">
              <a:extLst>
                <a:ext uri="{FF2B5EF4-FFF2-40B4-BE49-F238E27FC236}">
                  <a16:creationId xmlns:a16="http://schemas.microsoft.com/office/drawing/2014/main" id="{E7D8C314-FD9D-E007-C3DC-863AB7376B32}"/>
                </a:ext>
              </a:extLst>
            </p:cNvPr>
            <p:cNvSpPr txBox="1"/>
            <p:nvPr/>
          </p:nvSpPr>
          <p:spPr>
            <a:xfrm>
              <a:off x="9279539" y="5299766"/>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00 000/50 000</a:t>
              </a:r>
            </a:p>
          </p:txBody>
        </p:sp>
        <p:sp>
          <p:nvSpPr>
            <p:cNvPr id="28" name="TextBox 27">
              <a:extLst>
                <a:ext uri="{FF2B5EF4-FFF2-40B4-BE49-F238E27FC236}">
                  <a16:creationId xmlns:a16="http://schemas.microsoft.com/office/drawing/2014/main" id="{E50067E5-C09F-E74C-4903-2BC534994A3E}"/>
                </a:ext>
              </a:extLst>
            </p:cNvPr>
            <p:cNvSpPr txBox="1"/>
            <p:nvPr/>
          </p:nvSpPr>
          <p:spPr>
            <a:xfrm>
              <a:off x="546101" y="5674712"/>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Effekt påfyllning/tömning (MW vätgas)</a:t>
              </a:r>
            </a:p>
          </p:txBody>
        </p:sp>
        <p:sp>
          <p:nvSpPr>
            <p:cNvPr id="29" name="TextBox 28">
              <a:extLst>
                <a:ext uri="{FF2B5EF4-FFF2-40B4-BE49-F238E27FC236}">
                  <a16:creationId xmlns:a16="http://schemas.microsoft.com/office/drawing/2014/main" id="{D2FBEF88-2362-E19A-9AEB-D70ABBCBE890}"/>
                </a:ext>
              </a:extLst>
            </p:cNvPr>
            <p:cNvSpPr txBox="1"/>
            <p:nvPr/>
          </p:nvSpPr>
          <p:spPr>
            <a:xfrm>
              <a:off x="4389990" y="5674712"/>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3-4</a:t>
              </a:r>
            </a:p>
          </p:txBody>
        </p:sp>
        <p:sp>
          <p:nvSpPr>
            <p:cNvPr id="30" name="TextBox 29">
              <a:extLst>
                <a:ext uri="{FF2B5EF4-FFF2-40B4-BE49-F238E27FC236}">
                  <a16:creationId xmlns:a16="http://schemas.microsoft.com/office/drawing/2014/main" id="{E081DE39-3E9B-B157-D730-9723EE554638}"/>
                </a:ext>
              </a:extLst>
            </p:cNvPr>
            <p:cNvSpPr txBox="1"/>
            <p:nvPr/>
          </p:nvSpPr>
          <p:spPr>
            <a:xfrm>
              <a:off x="9279539" y="5674712"/>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00/400</a:t>
              </a:r>
            </a:p>
          </p:txBody>
        </p:sp>
        <p:cxnSp>
          <p:nvCxnSpPr>
            <p:cNvPr id="32" name="Straight Connector 31">
              <a:extLst>
                <a:ext uri="{FF2B5EF4-FFF2-40B4-BE49-F238E27FC236}">
                  <a16:creationId xmlns:a16="http://schemas.microsoft.com/office/drawing/2014/main" id="{373B67A3-3C4E-B0E4-24DA-31B8F754473C}"/>
                </a:ext>
              </a:extLst>
            </p:cNvPr>
            <p:cNvCxnSpPr>
              <a:cxnSpLocks/>
            </p:cNvCxnSpPr>
            <p:nvPr/>
          </p:nvCxnSpPr>
          <p:spPr>
            <a:xfrm>
              <a:off x="546101" y="5610349"/>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79E0E7-713C-2348-6CEA-829E6A0DAFBD}"/>
                </a:ext>
              </a:extLst>
            </p:cNvPr>
            <p:cNvCxnSpPr>
              <a:cxnSpLocks/>
            </p:cNvCxnSpPr>
            <p:nvPr/>
          </p:nvCxnSpPr>
          <p:spPr>
            <a:xfrm>
              <a:off x="546101" y="5235403"/>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AF55BF-A876-CB44-EBDF-6C6040479190}"/>
                </a:ext>
              </a:extLst>
            </p:cNvPr>
            <p:cNvCxnSpPr>
              <a:cxnSpLocks/>
            </p:cNvCxnSpPr>
            <p:nvPr/>
          </p:nvCxnSpPr>
          <p:spPr>
            <a:xfrm>
              <a:off x="546101" y="4860457"/>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A316D4-F71E-42C0-647F-D676699FD326}"/>
                </a:ext>
              </a:extLst>
            </p:cNvPr>
            <p:cNvCxnSpPr>
              <a:cxnSpLocks/>
            </p:cNvCxnSpPr>
            <p:nvPr/>
          </p:nvCxnSpPr>
          <p:spPr>
            <a:xfrm>
              <a:off x="546101" y="4485511"/>
              <a:ext cx="110997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F4B3DEA-8C82-CA1A-6A72-C26710144038}"/>
                </a:ext>
              </a:extLst>
            </p:cNvPr>
            <p:cNvCxnSpPr>
              <a:cxnSpLocks/>
            </p:cNvCxnSpPr>
            <p:nvPr/>
          </p:nvCxnSpPr>
          <p:spPr>
            <a:xfrm>
              <a:off x="546101" y="5985297"/>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mask2">
            <a:extLst>
              <a:ext uri="{FF2B5EF4-FFF2-40B4-BE49-F238E27FC236}">
                <a16:creationId xmlns:a16="http://schemas.microsoft.com/office/drawing/2014/main" id="{8F795C9E-02A5-96F7-D87A-061110B54D73}"/>
              </a:ext>
            </a:extLst>
          </p:cNvPr>
          <p:cNvSpPr>
            <a:spLocks noGrp="1" noRot="1" noMove="1" noResize="1" noEditPoints="1" noAdjustHandles="1" noChangeArrowheads="1" noChangeShapeType="1"/>
          </p:cNvSpPr>
          <p:nvPr/>
        </p:nvSpPr>
        <p:spPr>
          <a:xfrm>
            <a:off x="-25603199" y="-5814390"/>
            <a:ext cx="65507306" cy="18486783"/>
          </a:xfrm>
          <a:custGeom>
            <a:avLst/>
            <a:gdLst>
              <a:gd name="connsiteX0" fmla="*/ 25459114 w 65507306"/>
              <a:gd name="connsiteY0" fmla="*/ 5733342 h 18486783"/>
              <a:gd name="connsiteX1" fmla="*/ 25459114 w 65507306"/>
              <a:gd name="connsiteY1" fmla="*/ 12753439 h 18486783"/>
              <a:gd name="connsiteX2" fmla="*/ 37939284 w 65507306"/>
              <a:gd name="connsiteY2" fmla="*/ 12753439 h 18486783"/>
              <a:gd name="connsiteX3" fmla="*/ 37939284 w 65507306"/>
              <a:gd name="connsiteY3" fmla="*/ 5733342 h 18486783"/>
              <a:gd name="connsiteX4" fmla="*/ 0 w 65507306"/>
              <a:gd name="connsiteY4" fmla="*/ 0 h 18486783"/>
              <a:gd name="connsiteX5" fmla="*/ 19134163 w 65507306"/>
              <a:gd name="connsiteY5" fmla="*/ 0 h 18486783"/>
              <a:gd name="connsiteX6" fmla="*/ 19134163 w 65507306"/>
              <a:gd name="connsiteY6" fmla="*/ 0 h 18486783"/>
              <a:gd name="connsiteX7" fmla="*/ 46373142 w 65507306"/>
              <a:gd name="connsiteY7" fmla="*/ 0 h 18486783"/>
              <a:gd name="connsiteX8" fmla="*/ 47025338 w 65507306"/>
              <a:gd name="connsiteY8" fmla="*/ 0 h 18486783"/>
              <a:gd name="connsiteX9" fmla="*/ 65507306 w 65507306"/>
              <a:gd name="connsiteY9" fmla="*/ 0 h 18486783"/>
              <a:gd name="connsiteX10" fmla="*/ 65507306 w 65507306"/>
              <a:gd name="connsiteY10" fmla="*/ 18486783 h 18486783"/>
              <a:gd name="connsiteX11" fmla="*/ 47025338 w 65507306"/>
              <a:gd name="connsiteY11" fmla="*/ 18486783 h 18486783"/>
              <a:gd name="connsiteX12" fmla="*/ 46373142 w 65507306"/>
              <a:gd name="connsiteY12" fmla="*/ 18486783 h 18486783"/>
              <a:gd name="connsiteX13" fmla="*/ 19134163 w 65507306"/>
              <a:gd name="connsiteY13" fmla="*/ 18486783 h 18486783"/>
              <a:gd name="connsiteX14" fmla="*/ 16373062 w 65507306"/>
              <a:gd name="connsiteY14" fmla="*/ 18486783 h 18486783"/>
              <a:gd name="connsiteX15" fmla="*/ 0 w 65507306"/>
              <a:gd name="connsiteY15"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07306" h="18486783">
                <a:moveTo>
                  <a:pt x="25459114" y="5733342"/>
                </a:moveTo>
                <a:lnTo>
                  <a:pt x="25459114" y="12753439"/>
                </a:lnTo>
                <a:lnTo>
                  <a:pt x="37939284" y="12753439"/>
                </a:lnTo>
                <a:lnTo>
                  <a:pt x="37939284" y="5733342"/>
                </a:lnTo>
                <a:close/>
                <a:moveTo>
                  <a:pt x="0" y="0"/>
                </a:moveTo>
                <a:lnTo>
                  <a:pt x="19134163" y="0"/>
                </a:lnTo>
                <a:lnTo>
                  <a:pt x="19134163" y="0"/>
                </a:lnTo>
                <a:lnTo>
                  <a:pt x="46373142" y="0"/>
                </a:lnTo>
                <a:lnTo>
                  <a:pt x="47025338" y="0"/>
                </a:lnTo>
                <a:lnTo>
                  <a:pt x="65507306" y="0"/>
                </a:lnTo>
                <a:lnTo>
                  <a:pt x="65507306" y="18486783"/>
                </a:lnTo>
                <a:lnTo>
                  <a:pt x="47025338" y="18486783"/>
                </a:lnTo>
                <a:lnTo>
                  <a:pt x="46373142" y="18486783"/>
                </a:lnTo>
                <a:lnTo>
                  <a:pt x="19134163" y="18486783"/>
                </a:lnTo>
                <a:lnTo>
                  <a:pt x="16373062"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680687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 presetClass="entr" presetSubtype="4" decel="50000" fill="hold" nodeType="withEffect">
                                  <p:stCondLst>
                                    <p:cond delay="500"/>
                                  </p:stCondLst>
                                  <p:childTnLst>
                                    <p:set>
                                      <p:cBhvr>
                                        <p:cTn id="9" dur="1" fill="hold">
                                          <p:stCondLst>
                                            <p:cond delay="0"/>
                                          </p:stCondLst>
                                        </p:cTn>
                                        <p:tgtEl>
                                          <p:spTgt spid="146"/>
                                        </p:tgtEl>
                                        <p:attrNameLst>
                                          <p:attrName>style.visibility</p:attrName>
                                        </p:attrNameLst>
                                      </p:cBhvr>
                                      <p:to>
                                        <p:strVal val="visible"/>
                                      </p:to>
                                    </p:set>
                                    <p:anim calcmode="lin" valueType="num">
                                      <p:cBhvr additive="base">
                                        <p:cTn id="10" dur="500" fill="hold"/>
                                        <p:tgtEl>
                                          <p:spTgt spid="146"/>
                                        </p:tgtEl>
                                        <p:attrNameLst>
                                          <p:attrName>ppt_x</p:attrName>
                                        </p:attrNameLst>
                                      </p:cBhvr>
                                      <p:tavLst>
                                        <p:tav tm="0">
                                          <p:val>
                                            <p:strVal val="#ppt_x"/>
                                          </p:val>
                                        </p:tav>
                                        <p:tav tm="100000">
                                          <p:val>
                                            <p:strVal val="#ppt_x"/>
                                          </p:val>
                                        </p:tav>
                                      </p:tavLst>
                                    </p:anim>
                                    <p:anim calcmode="lin" valueType="num">
                                      <p:cBhvr additive="base">
                                        <p:cTn id="11" dur="500" fill="hold"/>
                                        <p:tgtEl>
                                          <p:spTgt spid="146"/>
                                        </p:tgtEl>
                                        <p:attrNameLst>
                                          <p:attrName>ppt_y</p:attrName>
                                        </p:attrNameLst>
                                      </p:cBhvr>
                                      <p:tavLst>
                                        <p:tav tm="0">
                                          <p:val>
                                            <p:strVal val="1+#ppt_h/2"/>
                                          </p:val>
                                        </p:tav>
                                        <p:tav tm="100000">
                                          <p:val>
                                            <p:strVal val="#ppt_y"/>
                                          </p:val>
                                        </p:tav>
                                      </p:tavLst>
                                    </p:anim>
                                  </p:childTnLst>
                                </p:cTn>
                              </p:par>
                              <p:par>
                                <p:cTn id="12" presetID="12" presetClass="entr" presetSubtype="8" fill="hold" grpId="0" nodeType="withEffect">
                                  <p:stCondLst>
                                    <p:cond delay="1000"/>
                                  </p:stCondLst>
                                  <p:childTnLst>
                                    <p:set>
                                      <p:cBhvr>
                                        <p:cTn id="13" dur="1" fill="hold">
                                          <p:stCondLst>
                                            <p:cond delay="0"/>
                                          </p:stCondLst>
                                        </p:cTn>
                                        <p:tgtEl>
                                          <p:spTgt spid="257"/>
                                        </p:tgtEl>
                                        <p:attrNameLst>
                                          <p:attrName>style.visibility</p:attrName>
                                        </p:attrNameLst>
                                      </p:cBhvr>
                                      <p:to>
                                        <p:strVal val="visible"/>
                                      </p:to>
                                    </p:set>
                                    <p:anim calcmode="lin" valueType="num">
                                      <p:cBhvr additive="base">
                                        <p:cTn id="14" dur="500"/>
                                        <p:tgtEl>
                                          <p:spTgt spid="257"/>
                                        </p:tgtEl>
                                        <p:attrNameLst>
                                          <p:attrName>ppt_x</p:attrName>
                                        </p:attrNameLst>
                                      </p:cBhvr>
                                      <p:tavLst>
                                        <p:tav tm="0">
                                          <p:val>
                                            <p:strVal val="#ppt_x-#ppt_w*1.125000"/>
                                          </p:val>
                                        </p:tav>
                                        <p:tav tm="100000">
                                          <p:val>
                                            <p:strVal val="#ppt_x"/>
                                          </p:val>
                                        </p:tav>
                                      </p:tavLst>
                                    </p:anim>
                                    <p:animEffect transition="in" filter="wipe(right)">
                                      <p:cBhvr>
                                        <p:cTn id="15" dur="500"/>
                                        <p:tgtEl>
                                          <p:spTgt spid="2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57" grpId="0"/>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2699BA9D-6BC3-ADA0-9072-846059DA09B5}"/>
            </a:ext>
          </a:extLst>
        </p:cNvPr>
        <p:cNvGrpSpPr/>
        <p:nvPr/>
      </p:nvGrpSpPr>
      <p:grpSpPr>
        <a:xfrm>
          <a:off x="0" y="0"/>
          <a:ext cx="0" cy="0"/>
          <a:chOff x="0" y="0"/>
          <a:chExt cx="0" cy="0"/>
        </a:xfrm>
      </p:grpSpPr>
      <p:pic>
        <p:nvPicPr>
          <p:cNvPr id="32" name="!!Wind" descr="Wind turbines in a snowy landscape&#10;&#10;AI-generated content may be incorrect.">
            <a:extLst>
              <a:ext uri="{FF2B5EF4-FFF2-40B4-BE49-F238E27FC236}">
                <a16:creationId xmlns:a16="http://schemas.microsoft.com/office/drawing/2014/main" id="{50F06662-FE9A-5BF1-B27B-08311E38C5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02" name="!!Steel">
            <a:extLst>
              <a:ext uri="{FF2B5EF4-FFF2-40B4-BE49-F238E27FC236}">
                <a16:creationId xmlns:a16="http://schemas.microsoft.com/office/drawing/2014/main" id="{C966D426-01AA-BCB6-7D68-5607D2A79D5C}"/>
              </a:ext>
            </a:extLst>
          </p:cNvPr>
          <p:cNvPicPr>
            <a:picLocks noChangeAspect="1"/>
          </p:cNvPicPr>
          <p:nvPr/>
        </p:nvPicPr>
        <p:blipFill>
          <a:blip r:embed="rId4" cstate="print">
            <a:extLst>
              <a:ext uri="{28A0092B-C50C-407E-A947-70E740481C1C}">
                <a14:useLocalDpi xmlns:a14="http://schemas.microsoft.com/office/drawing/2010/main"/>
              </a:ext>
            </a:extLst>
          </a:blip>
          <a:srcRect l="15836" t="3056" r="-9797" b="12591"/>
          <a:stretch/>
        </p:blipFill>
        <p:spPr>
          <a:xfrm>
            <a:off x="5972888" y="0"/>
            <a:ext cx="13577610" cy="6858000"/>
          </a:xfrm>
          <a:custGeom>
            <a:avLst/>
            <a:gdLst>
              <a:gd name="connsiteX0" fmla="*/ 1273876 w 13577610"/>
              <a:gd name="connsiteY0" fmla="*/ 0 h 6858000"/>
              <a:gd name="connsiteX1" fmla="*/ 1385611 w 13577610"/>
              <a:gd name="connsiteY1" fmla="*/ 0 h 6858000"/>
              <a:gd name="connsiteX2" fmla="*/ 6279072 w 13577610"/>
              <a:gd name="connsiteY2" fmla="*/ 0 h 6858000"/>
              <a:gd name="connsiteX3" fmla="*/ 13577610 w 13577610"/>
              <a:gd name="connsiteY3" fmla="*/ 0 h 6858000"/>
              <a:gd name="connsiteX4" fmla="*/ 13577610 w 13577610"/>
              <a:gd name="connsiteY4" fmla="*/ 6858000 h 6858000"/>
              <a:gd name="connsiteX5" fmla="*/ 6279072 w 13577610"/>
              <a:gd name="connsiteY5" fmla="*/ 6858000 h 6858000"/>
              <a:gd name="connsiteX6" fmla="*/ 1385611 w 13577610"/>
              <a:gd name="connsiteY6" fmla="*/ 6858000 h 6858000"/>
              <a:gd name="connsiteX7" fmla="*/ 1274003 w 13577610"/>
              <a:gd name="connsiteY7" fmla="*/ 6858000 h 6858000"/>
              <a:gd name="connsiteX8" fmla="*/ 76011 w 13577610"/>
              <a:gd name="connsiteY8" fmla="*/ 3828034 h 6858000"/>
              <a:gd name="connsiteX9" fmla="*/ 76011 w 13577610"/>
              <a:gd name="connsiteY9" fmla="*/ 30299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77610" h="6858000">
                <a:moveTo>
                  <a:pt x="1273876" y="0"/>
                </a:moveTo>
                <a:lnTo>
                  <a:pt x="1385611" y="0"/>
                </a:lnTo>
                <a:lnTo>
                  <a:pt x="6279072" y="0"/>
                </a:lnTo>
                <a:lnTo>
                  <a:pt x="13577610" y="0"/>
                </a:lnTo>
                <a:lnTo>
                  <a:pt x="13577610" y="6858000"/>
                </a:lnTo>
                <a:lnTo>
                  <a:pt x="6279072" y="6858000"/>
                </a:lnTo>
                <a:lnTo>
                  <a:pt x="1385611" y="6858000"/>
                </a:lnTo>
                <a:lnTo>
                  <a:pt x="1274003" y="6858000"/>
                </a:lnTo>
                <a:lnTo>
                  <a:pt x="76011" y="3828034"/>
                </a:lnTo>
                <a:cubicBezTo>
                  <a:pt x="-25336" y="3571684"/>
                  <a:pt x="-25336" y="3286316"/>
                  <a:pt x="76011" y="3029966"/>
                </a:cubicBezTo>
                <a:close/>
              </a:path>
            </a:pathLst>
          </a:custGeom>
        </p:spPr>
      </p:pic>
      <p:sp>
        <p:nvSpPr>
          <p:cNvPr id="20" name="!!Title 19">
            <a:extLst>
              <a:ext uri="{FF2B5EF4-FFF2-40B4-BE49-F238E27FC236}">
                <a16:creationId xmlns:a16="http://schemas.microsoft.com/office/drawing/2014/main" id="{892054A9-E31B-EFF8-4DA3-26FC3FED6187}"/>
              </a:ext>
            </a:extLst>
          </p:cNvPr>
          <p:cNvSpPr>
            <a:spLocks noGrp="1"/>
          </p:cNvSpPr>
          <p:nvPr>
            <p:ph type="title"/>
          </p:nvPr>
        </p:nvSpPr>
        <p:spPr/>
        <p:txBody>
          <a:bodyPr/>
          <a:lstStyle/>
          <a:p>
            <a:r>
              <a:rPr lang="sv-SE" dirty="0">
                <a:solidFill>
                  <a:schemeClr val="bg1"/>
                </a:solidFill>
              </a:rPr>
              <a:t>Klimatmål för </a:t>
            </a:r>
            <a:br>
              <a:rPr lang="sv-SE" dirty="0">
                <a:solidFill>
                  <a:schemeClr val="bg1"/>
                </a:solidFill>
              </a:rPr>
            </a:br>
            <a:r>
              <a:rPr lang="sv-SE" dirty="0">
                <a:solidFill>
                  <a:schemeClr val="bg1"/>
                </a:solidFill>
              </a:rPr>
              <a:t>en fossilfri framtid</a:t>
            </a:r>
          </a:p>
        </p:txBody>
      </p:sp>
      <p:grpSp>
        <p:nvGrpSpPr>
          <p:cNvPr id="7" name="!!Hybrit_logo">
            <a:extLst>
              <a:ext uri="{FF2B5EF4-FFF2-40B4-BE49-F238E27FC236}">
                <a16:creationId xmlns:a16="http://schemas.microsoft.com/office/drawing/2014/main" id="{F1A02555-A941-544C-B4CA-1C1D31FDF494}"/>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F4E05D1F-E2DA-BC1B-00BE-8C9198F3C64A}"/>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9" name="Freeform 8">
              <a:extLst>
                <a:ext uri="{FF2B5EF4-FFF2-40B4-BE49-F238E27FC236}">
                  <a16:creationId xmlns:a16="http://schemas.microsoft.com/office/drawing/2014/main" id="{F122DF99-F868-5CE8-569B-973204428B0A}"/>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0" name="Freeform 9">
              <a:extLst>
                <a:ext uri="{FF2B5EF4-FFF2-40B4-BE49-F238E27FC236}">
                  <a16:creationId xmlns:a16="http://schemas.microsoft.com/office/drawing/2014/main" id="{C2B6BE8A-3CED-B501-02B2-604E0D7E0C17}"/>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1" name="Freeform 10">
              <a:extLst>
                <a:ext uri="{FF2B5EF4-FFF2-40B4-BE49-F238E27FC236}">
                  <a16:creationId xmlns:a16="http://schemas.microsoft.com/office/drawing/2014/main" id="{1A128D0C-7D7A-8F9C-1971-7CBA689CEEAC}"/>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12" name="Freeform 11">
              <a:extLst>
                <a:ext uri="{FF2B5EF4-FFF2-40B4-BE49-F238E27FC236}">
                  <a16:creationId xmlns:a16="http://schemas.microsoft.com/office/drawing/2014/main" id="{42A8AA44-56DE-EEF2-8553-81E206D8F394}"/>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grpSp>
        <p:nvGrpSpPr>
          <p:cNvPr id="93" name="!!Under2">
            <a:extLst>
              <a:ext uri="{FF2B5EF4-FFF2-40B4-BE49-F238E27FC236}">
                <a16:creationId xmlns:a16="http://schemas.microsoft.com/office/drawing/2014/main" id="{4AEC6728-D25A-77D8-74DD-86D26E07429E}"/>
              </a:ext>
            </a:extLst>
          </p:cNvPr>
          <p:cNvGrpSpPr/>
          <p:nvPr/>
        </p:nvGrpSpPr>
        <p:grpSpPr>
          <a:xfrm>
            <a:off x="322615" y="3394773"/>
            <a:ext cx="2231689" cy="1518407"/>
            <a:chOff x="408776" y="3975710"/>
            <a:chExt cx="2231689" cy="1518407"/>
          </a:xfrm>
        </p:grpSpPr>
        <p:sp>
          <p:nvSpPr>
            <p:cNvPr id="33" name="TextBox 32">
              <a:extLst>
                <a:ext uri="{FF2B5EF4-FFF2-40B4-BE49-F238E27FC236}">
                  <a16:creationId xmlns:a16="http://schemas.microsoft.com/office/drawing/2014/main" id="{3A0BCF19-2ECC-588B-C00B-C321413A3229}"/>
                </a:ext>
              </a:extLst>
            </p:cNvPr>
            <p:cNvSpPr txBox="1"/>
            <p:nvPr/>
          </p:nvSpPr>
          <p:spPr>
            <a:xfrm>
              <a:off x="408776" y="4139900"/>
              <a:ext cx="2231689" cy="1354217"/>
            </a:xfrm>
            <a:prstGeom prst="rect">
              <a:avLst/>
            </a:prstGeom>
            <a:noFill/>
          </p:spPr>
          <p:txBody>
            <a:bodyPr wrap="square" lIns="0" tIns="0" rIns="0" bIns="0" rtlCol="0">
              <a:spAutoFit/>
            </a:bodyPr>
            <a:lstStyle/>
            <a:p>
              <a:pPr algn="ctr"/>
              <a:r>
                <a:rPr lang="sv-SE" sz="8800" dirty="0">
                  <a:solidFill>
                    <a:schemeClr val="bg1"/>
                  </a:solidFill>
                </a:rPr>
                <a:t>2</a:t>
              </a:r>
              <a:r>
                <a:rPr lang="sv-SE" sz="4400" dirty="0">
                  <a:solidFill>
                    <a:schemeClr val="bg1"/>
                  </a:solidFill>
                </a:rPr>
                <a:t> </a:t>
              </a:r>
              <a:r>
                <a:rPr lang="sv-SE" sz="8800" dirty="0">
                  <a:solidFill>
                    <a:schemeClr val="bg1"/>
                  </a:solidFill>
                </a:rPr>
                <a:t>°C</a:t>
              </a:r>
            </a:p>
          </p:txBody>
        </p:sp>
        <p:sp>
          <p:nvSpPr>
            <p:cNvPr id="89" name="TextBox 88">
              <a:extLst>
                <a:ext uri="{FF2B5EF4-FFF2-40B4-BE49-F238E27FC236}">
                  <a16:creationId xmlns:a16="http://schemas.microsoft.com/office/drawing/2014/main" id="{CE03918A-2A3C-0A59-F828-64E926B3E5B0}"/>
                </a:ext>
              </a:extLst>
            </p:cNvPr>
            <p:cNvSpPr txBox="1"/>
            <p:nvPr/>
          </p:nvSpPr>
          <p:spPr>
            <a:xfrm>
              <a:off x="578471" y="3975710"/>
              <a:ext cx="18923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sv-SE" sz="1400" b="0" i="0" u="none" strike="noStrike" kern="1200" cap="none" spc="50" normalizeH="0" baseline="0" noProof="0" dirty="0">
                  <a:ln>
                    <a:noFill/>
                  </a:ln>
                  <a:solidFill>
                    <a:schemeClr val="bg2"/>
                  </a:solidFill>
                  <a:effectLst/>
                  <a:uLnTx/>
                  <a:uFillTx/>
                  <a:latin typeface="Aptos" panose="02110004020202020204"/>
                  <a:ea typeface="+mn-ea"/>
                  <a:cs typeface="+mn-cs"/>
                </a:rPr>
                <a:t>UNDER</a:t>
              </a:r>
            </a:p>
          </p:txBody>
        </p:sp>
      </p:grpSp>
      <p:grpSp>
        <p:nvGrpSpPr>
          <p:cNvPr id="94" name="!!Nettonoll">
            <a:extLst>
              <a:ext uri="{FF2B5EF4-FFF2-40B4-BE49-F238E27FC236}">
                <a16:creationId xmlns:a16="http://schemas.microsoft.com/office/drawing/2014/main" id="{87923A17-F9D1-66E9-9F58-58B2A8FC16A8}"/>
              </a:ext>
            </a:extLst>
          </p:cNvPr>
          <p:cNvGrpSpPr/>
          <p:nvPr/>
        </p:nvGrpSpPr>
        <p:grpSpPr>
          <a:xfrm>
            <a:off x="2880010" y="3394773"/>
            <a:ext cx="2688892" cy="1518407"/>
            <a:chOff x="3249553" y="3975710"/>
            <a:chExt cx="2688892" cy="1518407"/>
          </a:xfrm>
        </p:grpSpPr>
        <p:sp>
          <p:nvSpPr>
            <p:cNvPr id="83" name="TextBox 82">
              <a:extLst>
                <a:ext uri="{FF2B5EF4-FFF2-40B4-BE49-F238E27FC236}">
                  <a16:creationId xmlns:a16="http://schemas.microsoft.com/office/drawing/2014/main" id="{21818255-B0FF-7AA2-EA71-BE9464E9960F}"/>
                </a:ext>
              </a:extLst>
            </p:cNvPr>
            <p:cNvSpPr txBox="1"/>
            <p:nvPr/>
          </p:nvSpPr>
          <p:spPr>
            <a:xfrm>
              <a:off x="3249553" y="4139900"/>
              <a:ext cx="2688892" cy="1354217"/>
            </a:xfrm>
            <a:prstGeom prst="rect">
              <a:avLst/>
            </a:prstGeom>
            <a:noFill/>
          </p:spPr>
          <p:txBody>
            <a:bodyPr wrap="square" lIns="0" tIns="0" rIns="0" bIns="0" rtlCol="0">
              <a:spAutoFit/>
            </a:bodyPr>
            <a:lstStyle/>
            <a:p>
              <a:pPr algn="ctr"/>
              <a:r>
                <a:rPr lang="sv-SE" sz="8800" dirty="0">
                  <a:solidFill>
                    <a:schemeClr val="bg1"/>
                  </a:solidFill>
                </a:rPr>
                <a:t>2045</a:t>
              </a:r>
            </a:p>
          </p:txBody>
        </p:sp>
        <p:sp>
          <p:nvSpPr>
            <p:cNvPr id="90" name="TextBox 89">
              <a:extLst>
                <a:ext uri="{FF2B5EF4-FFF2-40B4-BE49-F238E27FC236}">
                  <a16:creationId xmlns:a16="http://schemas.microsoft.com/office/drawing/2014/main" id="{DA2994B6-54B2-012C-83CC-C52AEECA5F95}"/>
                </a:ext>
              </a:extLst>
            </p:cNvPr>
            <p:cNvSpPr txBox="1"/>
            <p:nvPr/>
          </p:nvSpPr>
          <p:spPr>
            <a:xfrm>
              <a:off x="3647849" y="3975710"/>
              <a:ext cx="18923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sv-SE" sz="1400" b="0" i="0" u="none" strike="noStrike" kern="1200" cap="none" spc="50" normalizeH="0" baseline="0" noProof="0" dirty="0">
                  <a:ln>
                    <a:noFill/>
                  </a:ln>
                  <a:solidFill>
                    <a:schemeClr val="bg2"/>
                  </a:solidFill>
                  <a:effectLst/>
                  <a:uLnTx/>
                  <a:uFillTx/>
                  <a:latin typeface="Aptos" panose="02110004020202020204"/>
                  <a:ea typeface="+mn-ea"/>
                  <a:cs typeface="+mn-cs"/>
                </a:rPr>
                <a:t>NETTO NOLL</a:t>
              </a:r>
            </a:p>
          </p:txBody>
        </p:sp>
      </p:grpSp>
      <p:sp>
        <p:nvSpPr>
          <p:cNvPr id="91" name="!!TextBox 90">
            <a:extLst>
              <a:ext uri="{FF2B5EF4-FFF2-40B4-BE49-F238E27FC236}">
                <a16:creationId xmlns:a16="http://schemas.microsoft.com/office/drawing/2014/main" id="{CD396952-7AEC-1996-7C69-F60BA02134CF}"/>
              </a:ext>
            </a:extLst>
          </p:cNvPr>
          <p:cNvSpPr txBox="1"/>
          <p:nvPr/>
        </p:nvSpPr>
        <p:spPr>
          <a:xfrm>
            <a:off x="571858" y="2407809"/>
            <a:ext cx="5410199" cy="553998"/>
          </a:xfrm>
          <a:prstGeom prst="rect">
            <a:avLst/>
          </a:prstGeom>
          <a:noFill/>
        </p:spPr>
        <p:txBody>
          <a:bodyPr wrap="square" lIns="0" tIns="0" rIns="0" bIns="0" rtlCol="0">
            <a:spAutoFit/>
          </a:bodyPr>
          <a:lstStyle/>
          <a:p>
            <a:pPr lvl="0">
              <a:spcAft>
                <a:spcPts val="1200"/>
              </a:spcAft>
              <a:defRPr/>
            </a:pPr>
            <a:r>
              <a:rPr lang="sv-SE" dirty="0">
                <a:solidFill>
                  <a:srgbClr val="FFFFFF"/>
                </a:solidFill>
              </a:rPr>
              <a:t>Europas och Sveriges </a:t>
            </a:r>
            <a:br>
              <a:rPr lang="sv-SE" dirty="0">
                <a:solidFill>
                  <a:srgbClr val="FFFFFF"/>
                </a:solidFill>
              </a:rPr>
            </a:br>
            <a:r>
              <a:rPr lang="sv-SE" dirty="0">
                <a:solidFill>
                  <a:srgbClr val="FFFFFF"/>
                </a:solidFill>
              </a:rPr>
              <a:t>klimatmål stakar ut vägen </a:t>
            </a:r>
            <a:endParaRPr kumimoji="0" lang="sv-SE" sz="1400" i="0" u="none" strike="noStrike" kern="1200" cap="none" spc="0" normalizeH="0" baseline="0" noProof="0" dirty="0">
              <a:ln>
                <a:noFill/>
              </a:ln>
              <a:solidFill>
                <a:srgbClr val="FFFFFF"/>
              </a:solidFill>
              <a:effectLst/>
              <a:uLnTx/>
              <a:uFillTx/>
            </a:endParaRPr>
          </a:p>
        </p:txBody>
      </p:sp>
      <p:sp>
        <p:nvSpPr>
          <p:cNvPr id="3" name="!!Mask">
            <a:extLst>
              <a:ext uri="{FF2B5EF4-FFF2-40B4-BE49-F238E27FC236}">
                <a16:creationId xmlns:a16="http://schemas.microsoft.com/office/drawing/2014/main" id="{490E5237-C484-5CEB-7A74-0F52593B882E}"/>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
        <p:nvSpPr>
          <p:cNvPr id="92" name="!!TextBox 91">
            <a:extLst>
              <a:ext uri="{FF2B5EF4-FFF2-40B4-BE49-F238E27FC236}">
                <a16:creationId xmlns:a16="http://schemas.microsoft.com/office/drawing/2014/main" id="{5151BC15-6E15-08AC-27FC-AA4B968140E9}"/>
              </a:ext>
            </a:extLst>
          </p:cNvPr>
          <p:cNvSpPr txBox="1"/>
          <p:nvPr/>
        </p:nvSpPr>
        <p:spPr>
          <a:xfrm>
            <a:off x="7307575" y="2407809"/>
            <a:ext cx="4338325" cy="553998"/>
          </a:xfrm>
          <a:prstGeom prst="rect">
            <a:avLst/>
          </a:prstGeom>
          <a:noFill/>
        </p:spPr>
        <p:txBody>
          <a:bodyPr wrap="square" lIns="0" tIns="0" rIns="0" bIns="0" rtlCol="0">
            <a:spAutoFit/>
          </a:bodyPr>
          <a:lstStyle/>
          <a:p>
            <a:pPr lvl="0">
              <a:spcAft>
                <a:spcPts val="1200"/>
              </a:spcAft>
              <a:defRPr/>
            </a:pPr>
            <a:r>
              <a:rPr lang="sv-SE" dirty="0">
                <a:solidFill>
                  <a:srgbClr val="FFFFFF"/>
                </a:solidFill>
              </a:rPr>
              <a:t>Stålindustrin står för en stor </a:t>
            </a:r>
            <a:br>
              <a:rPr lang="sv-SE" dirty="0">
                <a:solidFill>
                  <a:srgbClr val="FFFFFF"/>
                </a:solidFill>
              </a:rPr>
            </a:br>
            <a:r>
              <a:rPr lang="sv-SE" dirty="0">
                <a:solidFill>
                  <a:srgbClr val="FFFFFF"/>
                </a:solidFill>
              </a:rPr>
              <a:t>andel av koldioxidutsläppen</a:t>
            </a:r>
            <a:endParaRPr kumimoji="0" lang="sv-SE" sz="1400" i="0" u="none" strike="noStrike" kern="1200" cap="none" spc="0" normalizeH="0" baseline="0" noProof="0" dirty="0">
              <a:ln>
                <a:noFill/>
              </a:ln>
              <a:solidFill>
                <a:srgbClr val="FFFFFF"/>
              </a:solidFill>
              <a:effectLst/>
              <a:uLnTx/>
              <a:uFillTx/>
            </a:endParaRPr>
          </a:p>
        </p:txBody>
      </p:sp>
      <p:grpSp>
        <p:nvGrpSpPr>
          <p:cNvPr id="95" name="!!Globalt">
            <a:extLst>
              <a:ext uri="{FF2B5EF4-FFF2-40B4-BE49-F238E27FC236}">
                <a16:creationId xmlns:a16="http://schemas.microsoft.com/office/drawing/2014/main" id="{4AFA3F5A-6592-CD47-9D46-E62AC73482AD}"/>
              </a:ext>
            </a:extLst>
          </p:cNvPr>
          <p:cNvGrpSpPr/>
          <p:nvPr/>
        </p:nvGrpSpPr>
        <p:grpSpPr>
          <a:xfrm>
            <a:off x="6977934" y="3394773"/>
            <a:ext cx="2231689" cy="1518407"/>
            <a:chOff x="408776" y="3975710"/>
            <a:chExt cx="2231689" cy="1518407"/>
          </a:xfrm>
        </p:grpSpPr>
        <p:sp>
          <p:nvSpPr>
            <p:cNvPr id="96" name="TextBox 95">
              <a:extLst>
                <a:ext uri="{FF2B5EF4-FFF2-40B4-BE49-F238E27FC236}">
                  <a16:creationId xmlns:a16="http://schemas.microsoft.com/office/drawing/2014/main" id="{F0104BDB-7101-CD33-C78B-D7FCE02DD75A}"/>
                </a:ext>
              </a:extLst>
            </p:cNvPr>
            <p:cNvSpPr txBox="1"/>
            <p:nvPr/>
          </p:nvSpPr>
          <p:spPr>
            <a:xfrm>
              <a:off x="408776" y="4139900"/>
              <a:ext cx="2231689" cy="1354217"/>
            </a:xfrm>
            <a:prstGeom prst="rect">
              <a:avLst/>
            </a:prstGeom>
            <a:noFill/>
          </p:spPr>
          <p:txBody>
            <a:bodyPr wrap="square" lIns="0" tIns="0" rIns="0" bIns="0" rtlCol="0">
              <a:spAutoFit/>
            </a:bodyPr>
            <a:lstStyle/>
            <a:p>
              <a:pPr algn="ctr"/>
              <a:r>
                <a:rPr lang="sv-SE" sz="8800" dirty="0">
                  <a:solidFill>
                    <a:schemeClr val="bg1"/>
                  </a:solidFill>
                </a:rPr>
                <a:t>7</a:t>
              </a:r>
              <a:r>
                <a:rPr lang="sv-SE" sz="4400" dirty="0">
                  <a:solidFill>
                    <a:schemeClr val="bg1"/>
                  </a:solidFill>
                </a:rPr>
                <a:t> </a:t>
              </a:r>
              <a:r>
                <a:rPr lang="sv-SE" sz="8800" dirty="0">
                  <a:solidFill>
                    <a:schemeClr val="bg1"/>
                  </a:solidFill>
                </a:rPr>
                <a:t>%</a:t>
              </a:r>
            </a:p>
          </p:txBody>
        </p:sp>
        <p:sp>
          <p:nvSpPr>
            <p:cNvPr id="97" name="TextBox 96">
              <a:extLst>
                <a:ext uri="{FF2B5EF4-FFF2-40B4-BE49-F238E27FC236}">
                  <a16:creationId xmlns:a16="http://schemas.microsoft.com/office/drawing/2014/main" id="{FC553695-172F-3026-0CC4-C6689C62720E}"/>
                </a:ext>
              </a:extLst>
            </p:cNvPr>
            <p:cNvSpPr txBox="1"/>
            <p:nvPr/>
          </p:nvSpPr>
          <p:spPr>
            <a:xfrm>
              <a:off x="578471" y="3975710"/>
              <a:ext cx="18923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sv-SE" sz="1400" b="0" i="0" u="none" strike="noStrike" kern="1200" cap="none" spc="50" normalizeH="0" baseline="0" noProof="0" dirty="0">
                  <a:ln>
                    <a:noFill/>
                  </a:ln>
                  <a:solidFill>
                    <a:schemeClr val="bg2"/>
                  </a:solidFill>
                  <a:effectLst/>
                  <a:uLnTx/>
                  <a:uFillTx/>
                  <a:latin typeface="Aptos" panose="02110004020202020204"/>
                  <a:ea typeface="+mn-ea"/>
                  <a:cs typeface="+mn-cs"/>
                </a:rPr>
                <a:t>GLOBALT</a:t>
              </a:r>
            </a:p>
          </p:txBody>
        </p:sp>
      </p:grpSp>
      <p:grpSp>
        <p:nvGrpSpPr>
          <p:cNvPr id="98" name="!!Sverige">
            <a:extLst>
              <a:ext uri="{FF2B5EF4-FFF2-40B4-BE49-F238E27FC236}">
                <a16:creationId xmlns:a16="http://schemas.microsoft.com/office/drawing/2014/main" id="{122B873B-93A8-3446-A036-0D7F2EDF1AF5}"/>
              </a:ext>
            </a:extLst>
          </p:cNvPr>
          <p:cNvGrpSpPr/>
          <p:nvPr/>
        </p:nvGrpSpPr>
        <p:grpSpPr>
          <a:xfrm>
            <a:off x="9125773" y="3394773"/>
            <a:ext cx="2833766" cy="1518407"/>
            <a:chOff x="107738" y="3975710"/>
            <a:chExt cx="2833766" cy="1518407"/>
          </a:xfrm>
        </p:grpSpPr>
        <p:sp>
          <p:nvSpPr>
            <p:cNvPr id="99" name="TextBox 98">
              <a:extLst>
                <a:ext uri="{FF2B5EF4-FFF2-40B4-BE49-F238E27FC236}">
                  <a16:creationId xmlns:a16="http://schemas.microsoft.com/office/drawing/2014/main" id="{7776E8B9-7AB9-BCE5-51C6-D2FB7DC7A79C}"/>
                </a:ext>
              </a:extLst>
            </p:cNvPr>
            <p:cNvSpPr txBox="1"/>
            <p:nvPr/>
          </p:nvSpPr>
          <p:spPr>
            <a:xfrm>
              <a:off x="107738" y="4139900"/>
              <a:ext cx="2833766" cy="1354217"/>
            </a:xfrm>
            <a:prstGeom prst="rect">
              <a:avLst/>
            </a:prstGeom>
            <a:noFill/>
          </p:spPr>
          <p:txBody>
            <a:bodyPr wrap="square" lIns="0" tIns="0" rIns="0" bIns="0" rtlCol="0">
              <a:spAutoFit/>
            </a:bodyPr>
            <a:lstStyle/>
            <a:p>
              <a:pPr algn="ctr"/>
              <a:r>
                <a:rPr lang="sv-SE" sz="8800" dirty="0">
                  <a:solidFill>
                    <a:schemeClr val="bg1"/>
                  </a:solidFill>
                </a:rPr>
                <a:t>10</a:t>
              </a:r>
              <a:r>
                <a:rPr lang="sv-SE" sz="4400" dirty="0">
                  <a:solidFill>
                    <a:schemeClr val="bg1"/>
                  </a:solidFill>
                </a:rPr>
                <a:t> </a:t>
              </a:r>
              <a:r>
                <a:rPr lang="sv-SE" sz="8800" dirty="0">
                  <a:solidFill>
                    <a:schemeClr val="bg1"/>
                  </a:solidFill>
                </a:rPr>
                <a:t>%</a:t>
              </a:r>
            </a:p>
          </p:txBody>
        </p:sp>
        <p:sp>
          <p:nvSpPr>
            <p:cNvPr id="100" name="TextBox 99">
              <a:extLst>
                <a:ext uri="{FF2B5EF4-FFF2-40B4-BE49-F238E27FC236}">
                  <a16:creationId xmlns:a16="http://schemas.microsoft.com/office/drawing/2014/main" id="{F20298D2-1F50-60FC-A55F-1C6418F35845}"/>
                </a:ext>
              </a:extLst>
            </p:cNvPr>
            <p:cNvSpPr txBox="1"/>
            <p:nvPr/>
          </p:nvSpPr>
          <p:spPr>
            <a:xfrm>
              <a:off x="578471" y="3975710"/>
              <a:ext cx="18923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sv-SE" sz="1400" b="0" i="0" u="none" strike="noStrike" kern="1200" cap="none" spc="50" normalizeH="0" baseline="0" noProof="0" dirty="0">
                  <a:ln>
                    <a:noFill/>
                  </a:ln>
                  <a:solidFill>
                    <a:schemeClr val="bg2"/>
                  </a:solidFill>
                  <a:effectLst/>
                  <a:uLnTx/>
                  <a:uFillTx/>
                  <a:latin typeface="Aptos" panose="02110004020202020204"/>
                  <a:ea typeface="+mn-ea"/>
                  <a:cs typeface="+mn-cs"/>
                </a:rPr>
                <a:t>SVERIGE</a:t>
              </a:r>
            </a:p>
          </p:txBody>
        </p:sp>
      </p:grpSp>
    </p:spTree>
    <p:extLst>
      <p:ext uri="{BB962C8B-B14F-4D97-AF65-F5344CB8AC3E}">
        <p14:creationId xmlns:p14="http://schemas.microsoft.com/office/powerpoint/2010/main" val="326020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fade">
                                      <p:cBhvr>
                                        <p:cTn id="11" dur="500"/>
                                        <p:tgtEl>
                                          <p:spTgt spid="91"/>
                                        </p:tgtEl>
                                      </p:cBhvr>
                                    </p:animEffect>
                                  </p:childTnLst>
                                </p:cTn>
                              </p:par>
                              <p:par>
                                <p:cTn id="12" presetID="42" presetClass="entr" presetSubtype="0" fill="hold" nodeType="withEffect">
                                  <p:stCondLst>
                                    <p:cond delay="0"/>
                                  </p:stCondLst>
                                  <p:childTnLst>
                                    <p:set>
                                      <p:cBhvr>
                                        <p:cTn id="13" dur="1" fill="hold">
                                          <p:stCondLst>
                                            <p:cond delay="0"/>
                                          </p:stCondLst>
                                        </p:cTn>
                                        <p:tgtEl>
                                          <p:spTgt spid="93"/>
                                        </p:tgtEl>
                                        <p:attrNameLst>
                                          <p:attrName>style.visibility</p:attrName>
                                        </p:attrNameLst>
                                      </p:cBhvr>
                                      <p:to>
                                        <p:strVal val="visible"/>
                                      </p:to>
                                    </p:set>
                                    <p:animEffect transition="in" filter="fade">
                                      <p:cBhvr>
                                        <p:cTn id="14" dur="400"/>
                                        <p:tgtEl>
                                          <p:spTgt spid="93"/>
                                        </p:tgtEl>
                                      </p:cBhvr>
                                    </p:animEffect>
                                    <p:anim calcmode="lin" valueType="num">
                                      <p:cBhvr>
                                        <p:cTn id="15" dur="400" fill="hold"/>
                                        <p:tgtEl>
                                          <p:spTgt spid="93"/>
                                        </p:tgtEl>
                                        <p:attrNameLst>
                                          <p:attrName>ppt_x</p:attrName>
                                        </p:attrNameLst>
                                      </p:cBhvr>
                                      <p:tavLst>
                                        <p:tav tm="0">
                                          <p:val>
                                            <p:strVal val="#ppt_x"/>
                                          </p:val>
                                        </p:tav>
                                        <p:tav tm="100000">
                                          <p:val>
                                            <p:strVal val="#ppt_x"/>
                                          </p:val>
                                        </p:tav>
                                      </p:tavLst>
                                    </p:anim>
                                    <p:anim calcmode="lin" valueType="num">
                                      <p:cBhvr>
                                        <p:cTn id="16" dur="400" fill="hold"/>
                                        <p:tgtEl>
                                          <p:spTgt spid="93"/>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400"/>
                                        <p:tgtEl>
                                          <p:spTgt spid="94"/>
                                        </p:tgtEl>
                                      </p:cBhvr>
                                    </p:animEffect>
                                    <p:anim calcmode="lin" valueType="num">
                                      <p:cBhvr>
                                        <p:cTn id="20" dur="400" fill="hold"/>
                                        <p:tgtEl>
                                          <p:spTgt spid="94"/>
                                        </p:tgtEl>
                                        <p:attrNameLst>
                                          <p:attrName>ppt_x</p:attrName>
                                        </p:attrNameLst>
                                      </p:cBhvr>
                                      <p:tavLst>
                                        <p:tav tm="0">
                                          <p:val>
                                            <p:strVal val="#ppt_x"/>
                                          </p:val>
                                        </p:tav>
                                        <p:tav tm="100000">
                                          <p:val>
                                            <p:strVal val="#ppt_x"/>
                                          </p:val>
                                        </p:tav>
                                      </p:tavLst>
                                    </p:anim>
                                    <p:anim calcmode="lin" valueType="num">
                                      <p:cBhvr>
                                        <p:cTn id="21" dur="400" fill="hold"/>
                                        <p:tgtEl>
                                          <p:spTgt spid="9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2" decel="50000" fill="hold" nodeType="clickEffect">
                                  <p:stCondLst>
                                    <p:cond delay="0"/>
                                  </p:stCondLst>
                                  <p:childTnLst>
                                    <p:set>
                                      <p:cBhvr>
                                        <p:cTn id="25" dur="1" fill="hold">
                                          <p:stCondLst>
                                            <p:cond delay="0"/>
                                          </p:stCondLst>
                                        </p:cTn>
                                        <p:tgtEl>
                                          <p:spTgt spid="102"/>
                                        </p:tgtEl>
                                        <p:attrNameLst>
                                          <p:attrName>style.visibility</p:attrName>
                                        </p:attrNameLst>
                                      </p:cBhvr>
                                      <p:to>
                                        <p:strVal val="visible"/>
                                      </p:to>
                                    </p:set>
                                    <p:anim calcmode="lin" valueType="num">
                                      <p:cBhvr additive="base">
                                        <p:cTn id="26" dur="500" fill="hold"/>
                                        <p:tgtEl>
                                          <p:spTgt spid="102"/>
                                        </p:tgtEl>
                                        <p:attrNameLst>
                                          <p:attrName>ppt_x</p:attrName>
                                        </p:attrNameLst>
                                      </p:cBhvr>
                                      <p:tavLst>
                                        <p:tav tm="0">
                                          <p:val>
                                            <p:strVal val="1+#ppt_w/2"/>
                                          </p:val>
                                        </p:tav>
                                        <p:tav tm="100000">
                                          <p:val>
                                            <p:strVal val="#ppt_x"/>
                                          </p:val>
                                        </p:tav>
                                      </p:tavLst>
                                    </p:anim>
                                    <p:anim calcmode="lin" valueType="num">
                                      <p:cBhvr additive="base">
                                        <p:cTn id="27" dur="500" fill="hold"/>
                                        <p:tgtEl>
                                          <p:spTgt spid="102"/>
                                        </p:tgtEl>
                                        <p:attrNameLst>
                                          <p:attrName>ppt_y</p:attrName>
                                        </p:attrNameLst>
                                      </p:cBhvr>
                                      <p:tavLst>
                                        <p:tav tm="0">
                                          <p:val>
                                            <p:strVal val="#ppt_y"/>
                                          </p:val>
                                        </p:tav>
                                        <p:tav tm="100000">
                                          <p:val>
                                            <p:strVal val="#ppt_y"/>
                                          </p:val>
                                        </p:tav>
                                      </p:tavLst>
                                    </p:anim>
                                  </p:childTnLst>
                                </p:cTn>
                              </p:par>
                              <p:par>
                                <p:cTn id="28" presetID="10" presetClass="entr" presetSubtype="0" fill="hold" grpId="0" nodeType="withEffect">
                                  <p:stCondLst>
                                    <p:cond delay="50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42" presetClass="entr" presetSubtype="0" fill="hold" nodeType="withEffect">
                                  <p:stCondLst>
                                    <p:cond delay="500"/>
                                  </p:stCondLst>
                                  <p:childTnLst>
                                    <p:set>
                                      <p:cBhvr>
                                        <p:cTn id="32" dur="1" fill="hold">
                                          <p:stCondLst>
                                            <p:cond delay="0"/>
                                          </p:stCondLst>
                                        </p:cTn>
                                        <p:tgtEl>
                                          <p:spTgt spid="95"/>
                                        </p:tgtEl>
                                        <p:attrNameLst>
                                          <p:attrName>style.visibility</p:attrName>
                                        </p:attrNameLst>
                                      </p:cBhvr>
                                      <p:to>
                                        <p:strVal val="visible"/>
                                      </p:to>
                                    </p:set>
                                    <p:animEffect transition="in" filter="fade">
                                      <p:cBhvr>
                                        <p:cTn id="33" dur="400"/>
                                        <p:tgtEl>
                                          <p:spTgt spid="95"/>
                                        </p:tgtEl>
                                      </p:cBhvr>
                                    </p:animEffect>
                                    <p:anim calcmode="lin" valueType="num">
                                      <p:cBhvr>
                                        <p:cTn id="34" dur="400" fill="hold"/>
                                        <p:tgtEl>
                                          <p:spTgt spid="95"/>
                                        </p:tgtEl>
                                        <p:attrNameLst>
                                          <p:attrName>ppt_x</p:attrName>
                                        </p:attrNameLst>
                                      </p:cBhvr>
                                      <p:tavLst>
                                        <p:tav tm="0">
                                          <p:val>
                                            <p:strVal val="#ppt_x"/>
                                          </p:val>
                                        </p:tav>
                                        <p:tav tm="100000">
                                          <p:val>
                                            <p:strVal val="#ppt_x"/>
                                          </p:val>
                                        </p:tav>
                                      </p:tavLst>
                                    </p:anim>
                                    <p:anim calcmode="lin" valueType="num">
                                      <p:cBhvr>
                                        <p:cTn id="35" dur="400" fill="hold"/>
                                        <p:tgtEl>
                                          <p:spTgt spid="95"/>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500"/>
                                  </p:stCondLst>
                                  <p:childTnLst>
                                    <p:set>
                                      <p:cBhvr>
                                        <p:cTn id="37" dur="1" fill="hold">
                                          <p:stCondLst>
                                            <p:cond delay="0"/>
                                          </p:stCondLst>
                                        </p:cTn>
                                        <p:tgtEl>
                                          <p:spTgt spid="98"/>
                                        </p:tgtEl>
                                        <p:attrNameLst>
                                          <p:attrName>style.visibility</p:attrName>
                                        </p:attrNameLst>
                                      </p:cBhvr>
                                      <p:to>
                                        <p:strVal val="visible"/>
                                      </p:to>
                                    </p:set>
                                    <p:animEffect transition="in" filter="fade">
                                      <p:cBhvr>
                                        <p:cTn id="38" dur="400"/>
                                        <p:tgtEl>
                                          <p:spTgt spid="98"/>
                                        </p:tgtEl>
                                      </p:cBhvr>
                                    </p:animEffect>
                                    <p:anim calcmode="lin" valueType="num">
                                      <p:cBhvr>
                                        <p:cTn id="39" dur="400" fill="hold"/>
                                        <p:tgtEl>
                                          <p:spTgt spid="98"/>
                                        </p:tgtEl>
                                        <p:attrNameLst>
                                          <p:attrName>ppt_x</p:attrName>
                                        </p:attrNameLst>
                                      </p:cBhvr>
                                      <p:tavLst>
                                        <p:tav tm="0">
                                          <p:val>
                                            <p:strVal val="#ppt_x"/>
                                          </p:val>
                                        </p:tav>
                                        <p:tav tm="100000">
                                          <p:val>
                                            <p:strVal val="#ppt_x"/>
                                          </p:val>
                                        </p:tav>
                                      </p:tavLst>
                                    </p:anim>
                                    <p:anim calcmode="lin" valueType="num">
                                      <p:cBhvr>
                                        <p:cTn id="40" dur="400" fill="hold"/>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91" grpId="0"/>
      <p:bldP spid="92"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6C0B2C44-AFD9-4E86-FDC3-86E989690FD3}"/>
            </a:ext>
          </a:extLst>
        </p:cNvPr>
        <p:cNvGrpSpPr/>
        <p:nvPr/>
      </p:nvGrpSpPr>
      <p:grpSpPr>
        <a:xfrm>
          <a:off x="0" y="0"/>
          <a:ext cx="0" cy="0"/>
          <a:chOff x="0" y="0"/>
          <a:chExt cx="0" cy="0"/>
        </a:xfrm>
      </p:grpSpPr>
      <p:pic>
        <p:nvPicPr>
          <p:cNvPr id="43" name="!!Redo_BG" descr="A snow covered ground with trees and buildings&#10;&#10;AI-generated content may be incorrect.">
            <a:extLst>
              <a:ext uri="{FF2B5EF4-FFF2-40B4-BE49-F238E27FC236}">
                <a16:creationId xmlns:a16="http://schemas.microsoft.com/office/drawing/2014/main" id="{A8E2E7B7-E47C-C8AF-3848-DEA18A30E64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91" y="-1620983"/>
            <a:ext cx="39235082" cy="22071529"/>
          </a:xfrm>
          <a:prstGeom prst="rect">
            <a:avLst/>
          </a:prstGeom>
        </p:spPr>
      </p:pic>
      <p:sp>
        <p:nvSpPr>
          <p:cNvPr id="31" name="!!Freeform 29">
            <a:extLst>
              <a:ext uri="{FF2B5EF4-FFF2-40B4-BE49-F238E27FC236}">
                <a16:creationId xmlns:a16="http://schemas.microsoft.com/office/drawing/2014/main" id="{7F851988-72C7-277A-1D53-964F987E8564}"/>
              </a:ext>
            </a:extLst>
          </p:cNvPr>
          <p:cNvSpPr/>
          <p:nvPr/>
        </p:nvSpPr>
        <p:spPr>
          <a:xfrm rot="10800000">
            <a:off x="0" y="0"/>
            <a:ext cx="18555069" cy="6858001"/>
          </a:xfrm>
          <a:custGeom>
            <a:avLst/>
            <a:gdLst>
              <a:gd name="connsiteX0" fmla="*/ 18555069 w 18555069"/>
              <a:gd name="connsiteY0" fmla="*/ 6858001 h 6858001"/>
              <a:gd name="connsiteX1" fmla="*/ 6279071 w 18555069"/>
              <a:gd name="connsiteY1" fmla="*/ 6858001 h 6858001"/>
              <a:gd name="connsiteX2" fmla="*/ 5928883 w 18555069"/>
              <a:gd name="connsiteY2" fmla="*/ 6858001 h 6858001"/>
              <a:gd name="connsiteX3" fmla="*/ 1274000 w 18555069"/>
              <a:gd name="connsiteY3" fmla="*/ 6858001 h 6858001"/>
              <a:gd name="connsiteX4" fmla="*/ 76009 w 18555069"/>
              <a:gd name="connsiteY4" fmla="*/ 3828035 h 6858001"/>
              <a:gd name="connsiteX5" fmla="*/ 76009 w 18555069"/>
              <a:gd name="connsiteY5" fmla="*/ 3029967 h 6858001"/>
              <a:gd name="connsiteX6" fmla="*/ 1273874 w 18555069"/>
              <a:gd name="connsiteY6" fmla="*/ 0 h 6858001"/>
              <a:gd name="connsiteX7" fmla="*/ 6279071 w 18555069"/>
              <a:gd name="connsiteY7" fmla="*/ 0 h 6858001"/>
              <a:gd name="connsiteX8" fmla="*/ 6279071 w 18555069"/>
              <a:gd name="connsiteY8" fmla="*/ 1 h 6858001"/>
              <a:gd name="connsiteX9" fmla="*/ 18555069 w 18555069"/>
              <a:gd name="connsiteY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5069" h="6858001">
                <a:moveTo>
                  <a:pt x="18555069" y="6858001"/>
                </a:moveTo>
                <a:lnTo>
                  <a:pt x="6279071" y="6858001"/>
                </a:lnTo>
                <a:lnTo>
                  <a:pt x="5928883" y="6858001"/>
                </a:lnTo>
                <a:lnTo>
                  <a:pt x="1274000" y="6858001"/>
                </a:lnTo>
                <a:lnTo>
                  <a:pt x="76009" y="3828035"/>
                </a:lnTo>
                <a:cubicBezTo>
                  <a:pt x="-25337" y="3571685"/>
                  <a:pt x="-25337" y="3286317"/>
                  <a:pt x="76009" y="3029967"/>
                </a:cubicBezTo>
                <a:lnTo>
                  <a:pt x="1273874" y="0"/>
                </a:lnTo>
                <a:lnTo>
                  <a:pt x="6279071" y="0"/>
                </a:lnTo>
                <a:lnTo>
                  <a:pt x="6279071" y="1"/>
                </a:lnTo>
                <a:lnTo>
                  <a:pt x="18555069" y="1"/>
                </a:lnTo>
                <a:close/>
              </a:path>
            </a:pathLst>
          </a:custGeom>
          <a:solidFill>
            <a:schemeClr val="accent4"/>
          </a:solidFill>
          <a:ln w="0" cap="flat">
            <a:noFill/>
            <a:prstDash val="solid"/>
            <a:miter/>
          </a:ln>
        </p:spPr>
        <p:txBody>
          <a:bodyPr rtlCol="0" anchor="ctr"/>
          <a:lstStyle/>
          <a:p>
            <a:endParaRPr lang="sv-SE" dirty="0"/>
          </a:p>
        </p:txBody>
      </p:sp>
      <p:pic>
        <p:nvPicPr>
          <p:cNvPr id="46" name="Picture 45" descr="A diagram of a capsule&#10;&#10;AI-generated content may be incorrect.">
            <a:extLst>
              <a:ext uri="{FF2B5EF4-FFF2-40B4-BE49-F238E27FC236}">
                <a16:creationId xmlns:a16="http://schemas.microsoft.com/office/drawing/2014/main" id="{DEBB7DDD-DEC2-D395-16C1-F4641DD0DFDE}"/>
              </a:ext>
            </a:extLst>
          </p:cNvPr>
          <p:cNvPicPr>
            <a:picLocks noChangeAspect="1"/>
          </p:cNvPicPr>
          <p:nvPr/>
        </p:nvPicPr>
        <p:blipFill>
          <a:blip r:embed="rId4"/>
          <a:stretch>
            <a:fillRect/>
          </a:stretch>
        </p:blipFill>
        <p:spPr>
          <a:xfrm>
            <a:off x="12667147" y="358675"/>
            <a:ext cx="6387341" cy="4500565"/>
          </a:xfrm>
          <a:prstGeom prst="rect">
            <a:avLst/>
          </a:prstGeom>
        </p:spPr>
      </p:pic>
      <p:grpSp>
        <p:nvGrpSpPr>
          <p:cNvPr id="9" name="!!Mogenförnästa">
            <a:extLst>
              <a:ext uri="{FF2B5EF4-FFF2-40B4-BE49-F238E27FC236}">
                <a16:creationId xmlns:a16="http://schemas.microsoft.com/office/drawing/2014/main" id="{BEF1D233-B72A-07C3-9F0E-804505B9C6E5}"/>
              </a:ext>
            </a:extLst>
          </p:cNvPr>
          <p:cNvGrpSpPr/>
          <p:nvPr/>
        </p:nvGrpSpPr>
        <p:grpSpPr>
          <a:xfrm>
            <a:off x="-10521294" y="2219223"/>
            <a:ext cx="3505200" cy="3600552"/>
            <a:chOff x="8140700" y="2219223"/>
            <a:chExt cx="3505200" cy="3600552"/>
          </a:xfrm>
        </p:grpSpPr>
        <p:sp>
          <p:nvSpPr>
            <p:cNvPr id="7" name="Rectangle 6">
              <a:extLst>
                <a:ext uri="{FF2B5EF4-FFF2-40B4-BE49-F238E27FC236}">
                  <a16:creationId xmlns:a16="http://schemas.microsoft.com/office/drawing/2014/main" id="{E56EE6ED-5F66-2E8F-87D1-5CD761C9D805}"/>
                </a:ext>
              </a:extLst>
            </p:cNvPr>
            <p:cNvSpPr/>
            <p:nvPr/>
          </p:nvSpPr>
          <p:spPr>
            <a:xfrm>
              <a:off x="81407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1D7A8161-33F6-6D1B-D360-0338004E16EB}"/>
                </a:ext>
              </a:extLst>
            </p:cNvPr>
            <p:cNvSpPr txBox="1"/>
            <p:nvPr/>
          </p:nvSpPr>
          <p:spPr>
            <a:xfrm>
              <a:off x="8275169" y="4833570"/>
              <a:ext cx="3236262" cy="592535"/>
            </a:xfrm>
            <a:prstGeom prst="rect">
              <a:avLst/>
            </a:prstGeom>
            <a:noFill/>
          </p:spPr>
          <p:txBody>
            <a:bodyPr wrap="square">
              <a:spAutoFit/>
            </a:bodyPr>
            <a:lstStyle/>
            <a:p>
              <a:pPr algn="ctr">
                <a:lnSpc>
                  <a:spcPct val="90000"/>
                </a:lnSpc>
              </a:pPr>
              <a:r>
                <a:rPr lang="sv-SE" dirty="0"/>
                <a:t>Är mogen </a:t>
              </a:r>
              <a:br>
                <a:rPr lang="sv-SE" dirty="0"/>
              </a:br>
              <a:r>
                <a:rPr lang="sv-SE" dirty="0"/>
                <a:t>för nästa steg</a:t>
              </a:r>
            </a:p>
          </p:txBody>
        </p:sp>
        <p:pic>
          <p:nvPicPr>
            <p:cNvPr id="26" name="Picture 25">
              <a:extLst>
                <a:ext uri="{FF2B5EF4-FFF2-40B4-BE49-F238E27FC236}">
                  <a16:creationId xmlns:a16="http://schemas.microsoft.com/office/drawing/2014/main" id="{BF40B27D-056F-A983-A4A8-3D8CFC6807B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82751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8" name="!!Ökaförnybar">
            <a:extLst>
              <a:ext uri="{FF2B5EF4-FFF2-40B4-BE49-F238E27FC236}">
                <a16:creationId xmlns:a16="http://schemas.microsoft.com/office/drawing/2014/main" id="{AC90CA9C-D1DE-5CD8-7632-81CCC669ADC0}"/>
              </a:ext>
            </a:extLst>
          </p:cNvPr>
          <p:cNvGrpSpPr/>
          <p:nvPr/>
        </p:nvGrpSpPr>
        <p:grpSpPr>
          <a:xfrm>
            <a:off x="-10521294" y="2219223"/>
            <a:ext cx="3505200" cy="3600552"/>
            <a:chOff x="4343400" y="2219223"/>
            <a:chExt cx="3505200" cy="3600552"/>
          </a:xfrm>
        </p:grpSpPr>
        <p:sp>
          <p:nvSpPr>
            <p:cNvPr id="6" name="Rectangle 5">
              <a:extLst>
                <a:ext uri="{FF2B5EF4-FFF2-40B4-BE49-F238E27FC236}">
                  <a16:creationId xmlns:a16="http://schemas.microsoft.com/office/drawing/2014/main" id="{9C18C309-DB52-8991-8944-2F9F0925281D}"/>
                </a:ext>
              </a:extLst>
            </p:cNvPr>
            <p:cNvSpPr/>
            <p:nvPr/>
          </p:nvSpPr>
          <p:spPr>
            <a:xfrm>
              <a:off x="43434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36E604C8-C1B0-8DA5-D855-4E7E83855049}"/>
                </a:ext>
              </a:extLst>
            </p:cNvPr>
            <p:cNvSpPr txBox="1"/>
            <p:nvPr/>
          </p:nvSpPr>
          <p:spPr>
            <a:xfrm>
              <a:off x="4477869" y="4833570"/>
              <a:ext cx="3236262" cy="590931"/>
            </a:xfrm>
            <a:prstGeom prst="rect">
              <a:avLst/>
            </a:prstGeom>
            <a:noFill/>
          </p:spPr>
          <p:txBody>
            <a:bodyPr wrap="square">
              <a:spAutoFit/>
            </a:bodyPr>
            <a:lstStyle/>
            <a:p>
              <a:pPr algn="ctr">
                <a:lnSpc>
                  <a:spcPct val="90000"/>
                </a:lnSpc>
              </a:pPr>
              <a:r>
                <a:rPr lang="sv-SE" dirty="0"/>
                <a:t>Kan öka mängden förnybara kraftslag i elsystemet  </a:t>
              </a:r>
            </a:p>
          </p:txBody>
        </p:sp>
        <p:pic>
          <p:nvPicPr>
            <p:cNvPr id="22" name="Picture 21">
              <a:extLst>
                <a:ext uri="{FF2B5EF4-FFF2-40B4-BE49-F238E27FC236}">
                  <a16:creationId xmlns:a16="http://schemas.microsoft.com/office/drawing/2014/main" id="{D91D5F89-3150-50B7-369C-38551CC6546F}"/>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477869" y="2357349"/>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grpSp>
        <p:nvGrpSpPr>
          <p:cNvPr id="5" name="!!Kanbidratill">
            <a:extLst>
              <a:ext uri="{FF2B5EF4-FFF2-40B4-BE49-F238E27FC236}">
                <a16:creationId xmlns:a16="http://schemas.microsoft.com/office/drawing/2014/main" id="{8E146E97-4F3F-4804-8681-7BA73E9E9316}"/>
              </a:ext>
            </a:extLst>
          </p:cNvPr>
          <p:cNvGrpSpPr/>
          <p:nvPr/>
        </p:nvGrpSpPr>
        <p:grpSpPr>
          <a:xfrm>
            <a:off x="-10521294" y="2219223"/>
            <a:ext cx="3505200" cy="3600552"/>
            <a:chOff x="546100" y="2219223"/>
            <a:chExt cx="3505200" cy="3600552"/>
          </a:xfrm>
        </p:grpSpPr>
        <p:sp>
          <p:nvSpPr>
            <p:cNvPr id="3" name="Rectangle 2">
              <a:extLst>
                <a:ext uri="{FF2B5EF4-FFF2-40B4-BE49-F238E27FC236}">
                  <a16:creationId xmlns:a16="http://schemas.microsoft.com/office/drawing/2014/main" id="{5FE2250F-0C84-FB2E-4617-7E1540B31952}"/>
                </a:ext>
              </a:extLst>
            </p:cNvPr>
            <p:cNvSpPr/>
            <p:nvPr/>
          </p:nvSpPr>
          <p:spPr>
            <a:xfrm>
              <a:off x="546100" y="2219223"/>
              <a:ext cx="3505200" cy="3600552"/>
            </a:xfrm>
            <a:prstGeom prst="rect">
              <a:avLst/>
            </a:prstGeom>
            <a:solidFill>
              <a:schemeClr val="bg1"/>
            </a:solidFill>
            <a:ln>
              <a:noFill/>
            </a:ln>
            <a:effectLst>
              <a:outerShdw blurRad="108836" dist="381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E583339-E74E-B020-9477-F22D70E913C7}"/>
                </a:ext>
              </a:extLst>
            </p:cNvPr>
            <p:cNvSpPr txBox="1"/>
            <p:nvPr/>
          </p:nvSpPr>
          <p:spPr>
            <a:xfrm>
              <a:off x="680570" y="4833570"/>
              <a:ext cx="3236262" cy="590931"/>
            </a:xfrm>
            <a:prstGeom prst="rect">
              <a:avLst/>
            </a:prstGeom>
            <a:noFill/>
          </p:spPr>
          <p:txBody>
            <a:bodyPr wrap="square">
              <a:spAutoFit/>
            </a:bodyPr>
            <a:lstStyle/>
            <a:p>
              <a:pPr algn="ctr">
                <a:lnSpc>
                  <a:spcPct val="90000"/>
                </a:lnSpc>
              </a:pPr>
              <a:r>
                <a:rPr lang="sv-SE" dirty="0"/>
                <a:t>Kan bidra till ett</a:t>
              </a:r>
              <a:br>
                <a:rPr lang="sv-SE" dirty="0"/>
              </a:br>
              <a:r>
                <a:rPr lang="sv-SE" dirty="0"/>
                <a:t>mer robust elsystem  </a:t>
              </a:r>
            </a:p>
          </p:txBody>
        </p:sp>
        <p:pic>
          <p:nvPicPr>
            <p:cNvPr id="20" name="Picture 19">
              <a:extLst>
                <a:ext uri="{FF2B5EF4-FFF2-40B4-BE49-F238E27FC236}">
                  <a16:creationId xmlns:a16="http://schemas.microsoft.com/office/drawing/2014/main" id="{E149C1BE-128A-CE96-E9DD-02D24423A3B9}"/>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80569" y="2357350"/>
              <a:ext cx="3236262" cy="2343239"/>
            </a:xfrm>
            <a:custGeom>
              <a:avLst/>
              <a:gdLst>
                <a:gd name="connsiteX0" fmla="*/ 0 w 3236262"/>
                <a:gd name="connsiteY0" fmla="*/ 0 h 2343239"/>
                <a:gd name="connsiteX1" fmla="*/ 3236262 w 3236262"/>
                <a:gd name="connsiteY1" fmla="*/ 0 h 2343239"/>
                <a:gd name="connsiteX2" fmla="*/ 3236262 w 3236262"/>
                <a:gd name="connsiteY2" fmla="*/ 2343239 h 2343239"/>
                <a:gd name="connsiteX3" fmla="*/ 0 w 3236262"/>
                <a:gd name="connsiteY3" fmla="*/ 2343239 h 2343239"/>
              </a:gdLst>
              <a:ahLst/>
              <a:cxnLst>
                <a:cxn ang="0">
                  <a:pos x="connsiteX0" y="connsiteY0"/>
                </a:cxn>
                <a:cxn ang="0">
                  <a:pos x="connsiteX1" y="connsiteY1"/>
                </a:cxn>
                <a:cxn ang="0">
                  <a:pos x="connsiteX2" y="connsiteY2"/>
                </a:cxn>
                <a:cxn ang="0">
                  <a:pos x="connsiteX3" y="connsiteY3"/>
                </a:cxn>
              </a:cxnLst>
              <a:rect l="l" t="t" r="r" b="b"/>
              <a:pathLst>
                <a:path w="3236262" h="2343239">
                  <a:moveTo>
                    <a:pt x="0" y="0"/>
                  </a:moveTo>
                  <a:lnTo>
                    <a:pt x="3236262" y="0"/>
                  </a:lnTo>
                  <a:lnTo>
                    <a:pt x="3236262" y="2343239"/>
                  </a:lnTo>
                  <a:lnTo>
                    <a:pt x="0" y="2343239"/>
                  </a:lnTo>
                  <a:close/>
                </a:path>
              </a:pathLst>
            </a:custGeom>
          </p:spPr>
        </p:pic>
      </p:grpSp>
      <p:sp>
        <p:nvSpPr>
          <p:cNvPr id="4" name="!!Title 33">
            <a:extLst>
              <a:ext uri="{FF2B5EF4-FFF2-40B4-BE49-F238E27FC236}">
                <a16:creationId xmlns:a16="http://schemas.microsoft.com/office/drawing/2014/main" id="{937D4AFB-0942-62A9-5CB7-CF20A1E5EF18}"/>
              </a:ext>
            </a:extLst>
          </p:cNvPr>
          <p:cNvSpPr>
            <a:spLocks noGrp="1"/>
          </p:cNvSpPr>
          <p:nvPr>
            <p:ph type="title"/>
          </p:nvPr>
        </p:nvSpPr>
        <p:spPr>
          <a:xfrm>
            <a:off x="546101" y="752475"/>
            <a:ext cx="5549900" cy="1357313"/>
          </a:xfrm>
        </p:spPr>
        <p:txBody>
          <a:bodyPr/>
          <a:lstStyle/>
          <a:p>
            <a:r>
              <a:rPr lang="sv-SE" noProof="0" dirty="0">
                <a:solidFill>
                  <a:schemeClr val="bg1"/>
                </a:solidFill>
              </a:rPr>
              <a:t>Storskalig kommersiell vätgaslagring</a:t>
            </a:r>
          </a:p>
        </p:txBody>
      </p:sp>
      <p:grpSp>
        <p:nvGrpSpPr>
          <p:cNvPr id="256" name="!!HYBRIT_Pilot">
            <a:extLst>
              <a:ext uri="{FF2B5EF4-FFF2-40B4-BE49-F238E27FC236}">
                <a16:creationId xmlns:a16="http://schemas.microsoft.com/office/drawing/2014/main" id="{A5C9C4AA-5BEA-7062-E689-880EC34FD5E1}"/>
              </a:ext>
            </a:extLst>
          </p:cNvPr>
          <p:cNvGrpSpPr/>
          <p:nvPr/>
        </p:nvGrpSpPr>
        <p:grpSpPr>
          <a:xfrm>
            <a:off x="5473664" y="3410025"/>
            <a:ext cx="199595" cy="445572"/>
            <a:chOff x="4630151" y="4833569"/>
            <a:chExt cx="323577" cy="722345"/>
          </a:xfrm>
        </p:grpSpPr>
        <p:pic>
          <p:nvPicPr>
            <p:cNvPr id="207" name="Picture 206" descr="A close-up of a white surface&#10;&#10;AI-generated content may be incorrect.">
              <a:extLst>
                <a:ext uri="{FF2B5EF4-FFF2-40B4-BE49-F238E27FC236}">
                  <a16:creationId xmlns:a16="http://schemas.microsoft.com/office/drawing/2014/main" id="{74201000-74D2-15B7-49D1-FD9AC20DC5DA}"/>
                </a:ext>
              </a:extLst>
            </p:cNvPr>
            <p:cNvPicPr>
              <a:picLocks noChangeAspect="1"/>
            </p:cNvPicPr>
            <p:nvPr/>
          </p:nvPicPr>
          <p:blipFill>
            <a:blip r:embed="rId8" cstate="print">
              <a:alphaModFix amt="50000"/>
              <a:extLst>
                <a:ext uri="{28A0092B-C50C-407E-A947-70E740481C1C}">
                  <a14:useLocalDpi xmlns:a14="http://schemas.microsoft.com/office/drawing/2010/main"/>
                </a:ext>
              </a:extLst>
            </a:blip>
            <a:srcRect r="-1"/>
            <a:stretch/>
          </p:blipFill>
          <p:spPr>
            <a:xfrm rot="16200000">
              <a:off x="4430768" y="5032953"/>
              <a:ext cx="722344" cy="323577"/>
            </a:xfrm>
            <a:custGeom>
              <a:avLst/>
              <a:gdLst>
                <a:gd name="connsiteX0" fmla="*/ 4556308 w 4556308"/>
                <a:gd name="connsiteY0" fmla="*/ 1020510 h 2041019"/>
                <a:gd name="connsiteX1" fmla="*/ 3535799 w 4556308"/>
                <a:gd name="connsiteY1" fmla="*/ 2041019 h 2041019"/>
                <a:gd name="connsiteX2" fmla="*/ 1020509 w 4556308"/>
                <a:gd name="connsiteY2" fmla="*/ 2041019 h 2041019"/>
                <a:gd name="connsiteX3" fmla="*/ 0 w 4556308"/>
                <a:gd name="connsiteY3" fmla="*/ 1020509 h 2041019"/>
                <a:gd name="connsiteX4" fmla="*/ 1020510 w 4556308"/>
                <a:gd name="connsiteY4" fmla="*/ 0 h 2041019"/>
                <a:gd name="connsiteX5" fmla="*/ 3535799 w 4556308"/>
                <a:gd name="connsiteY5" fmla="*/ 1 h 2041019"/>
                <a:gd name="connsiteX6" fmla="*/ 4556308 w 4556308"/>
                <a:gd name="connsiteY6" fmla="*/ 1020510 h 20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6308" h="2041019">
                  <a:moveTo>
                    <a:pt x="4556308" y="1020510"/>
                  </a:moveTo>
                  <a:cubicBezTo>
                    <a:pt x="4556308" y="1584122"/>
                    <a:pt x="4099411" y="2041019"/>
                    <a:pt x="3535799" y="2041019"/>
                  </a:cubicBezTo>
                  <a:lnTo>
                    <a:pt x="1020509" y="2041019"/>
                  </a:lnTo>
                  <a:cubicBezTo>
                    <a:pt x="456897" y="2041018"/>
                    <a:pt x="0" y="1584121"/>
                    <a:pt x="0" y="1020509"/>
                  </a:cubicBezTo>
                  <a:cubicBezTo>
                    <a:pt x="1" y="456898"/>
                    <a:pt x="456897" y="0"/>
                    <a:pt x="1020510" y="0"/>
                  </a:cubicBezTo>
                  <a:lnTo>
                    <a:pt x="3535799" y="1"/>
                  </a:lnTo>
                  <a:cubicBezTo>
                    <a:pt x="4099411" y="1"/>
                    <a:pt x="4556308" y="456898"/>
                    <a:pt x="4556308" y="1020510"/>
                  </a:cubicBezTo>
                  <a:close/>
                </a:path>
              </a:pathLst>
            </a:custGeom>
            <a:ln w="9525">
              <a:solidFill>
                <a:schemeClr val="accent5"/>
              </a:solidFill>
            </a:ln>
          </p:spPr>
        </p:pic>
        <p:sp>
          <p:nvSpPr>
            <p:cNvPr id="208" name="Freeform 207">
              <a:extLst>
                <a:ext uri="{FF2B5EF4-FFF2-40B4-BE49-F238E27FC236}">
                  <a16:creationId xmlns:a16="http://schemas.microsoft.com/office/drawing/2014/main" id="{437D505E-F3E2-C1C3-1C0E-00BD1C9A4A2E}"/>
                </a:ext>
              </a:extLst>
            </p:cNvPr>
            <p:cNvSpPr/>
            <p:nvPr/>
          </p:nvSpPr>
          <p:spPr>
            <a:xfrm>
              <a:off x="4644455" y="4847447"/>
              <a:ext cx="294968" cy="694590"/>
            </a:xfrm>
            <a:custGeom>
              <a:avLst/>
              <a:gdLst>
                <a:gd name="connsiteX0" fmla="*/ 1016801 w 2030606"/>
                <a:gd name="connsiteY0" fmla="*/ 0 h 4781665"/>
                <a:gd name="connsiteX1" fmla="*/ 2030607 w 2030606"/>
                <a:gd name="connsiteY1" fmla="*/ 1013806 h 4781665"/>
                <a:gd name="connsiteX2" fmla="*/ 2030607 w 2030606"/>
                <a:gd name="connsiteY2" fmla="*/ 3767859 h 4781665"/>
                <a:gd name="connsiteX3" fmla="*/ 1016801 w 2030606"/>
                <a:gd name="connsiteY3" fmla="*/ 4781665 h 4781665"/>
                <a:gd name="connsiteX4" fmla="*/ 1013805 w 2030606"/>
                <a:gd name="connsiteY4" fmla="*/ 4781665 h 4781665"/>
                <a:gd name="connsiteX5" fmla="*/ -1 w 2030606"/>
                <a:gd name="connsiteY5" fmla="*/ 3767859 h 4781665"/>
                <a:gd name="connsiteX6" fmla="*/ -1 w 2030606"/>
                <a:gd name="connsiteY6" fmla="*/ 1013806 h 4781665"/>
                <a:gd name="connsiteX7" fmla="*/ 1013805 w 2030606"/>
                <a:gd name="connsiteY7" fmla="*/ 0 h 478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606" h="4781665">
                  <a:moveTo>
                    <a:pt x="1016801" y="0"/>
                  </a:moveTo>
                  <a:cubicBezTo>
                    <a:pt x="1576710" y="0"/>
                    <a:pt x="2030607" y="453896"/>
                    <a:pt x="2030607" y="1013806"/>
                  </a:cubicBezTo>
                  <a:lnTo>
                    <a:pt x="2030607" y="3767859"/>
                  </a:lnTo>
                  <a:cubicBezTo>
                    <a:pt x="2030607" y="4327769"/>
                    <a:pt x="1576710" y="4781665"/>
                    <a:pt x="1016801" y="4781665"/>
                  </a:cubicBezTo>
                  <a:lnTo>
                    <a:pt x="1013805" y="4781665"/>
                  </a:lnTo>
                  <a:cubicBezTo>
                    <a:pt x="453896" y="4781665"/>
                    <a:pt x="-1" y="4327769"/>
                    <a:pt x="-1" y="3767859"/>
                  </a:cubicBezTo>
                  <a:lnTo>
                    <a:pt x="-1" y="1013806"/>
                  </a:lnTo>
                  <a:cubicBezTo>
                    <a:pt x="-1" y="453896"/>
                    <a:pt x="453896" y="0"/>
                    <a:pt x="1013805" y="0"/>
                  </a:cubicBezTo>
                  <a:close/>
                </a:path>
              </a:pathLst>
            </a:custGeom>
            <a:solidFill>
              <a:schemeClr val="bg1"/>
            </a:solidFill>
            <a:ln w="3175" cap="flat">
              <a:solidFill>
                <a:schemeClr val="accent5"/>
              </a:solidFill>
              <a:prstDash val="solid"/>
              <a:miter/>
            </a:ln>
          </p:spPr>
          <p:txBody>
            <a:bodyPr rtlCol="0" anchor="ctr"/>
            <a:lstStyle/>
            <a:p>
              <a:endParaRPr lang="sv-SE"/>
            </a:p>
          </p:txBody>
        </p:sp>
        <p:pic>
          <p:nvPicPr>
            <p:cNvPr id="209" name="Picture 208" descr="A close-up of a white surface&#10;&#10;AI-generated content may be incorrect.">
              <a:extLst>
                <a:ext uri="{FF2B5EF4-FFF2-40B4-BE49-F238E27FC236}">
                  <a16:creationId xmlns:a16="http://schemas.microsoft.com/office/drawing/2014/main" id="{6767E5C2-6EFA-9DD0-1C13-A9CC1714BD4A}"/>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rot="5400000">
              <a:off x="4511669" y="5113840"/>
              <a:ext cx="722329" cy="161788"/>
            </a:xfrm>
            <a:custGeom>
              <a:avLst/>
              <a:gdLst>
                <a:gd name="connsiteX0" fmla="*/ 0 w 4556214"/>
                <a:gd name="connsiteY0" fmla="*/ 1020509 h 1020509"/>
                <a:gd name="connsiteX1" fmla="*/ 1020509 w 4556214"/>
                <a:gd name="connsiteY1" fmla="*/ 0 h 1020509"/>
                <a:gd name="connsiteX2" fmla="*/ 3535799 w 4556214"/>
                <a:gd name="connsiteY2" fmla="*/ 0 h 1020509"/>
                <a:gd name="connsiteX3" fmla="*/ 4556214 w 4556214"/>
                <a:gd name="connsiteY3" fmla="*/ 1013318 h 1020509"/>
                <a:gd name="connsiteX4" fmla="*/ 4536579 w 4556214"/>
                <a:gd name="connsiteY4" fmla="*/ 994392 h 1020509"/>
                <a:gd name="connsiteX5" fmla="*/ 4503176 w 4556214"/>
                <a:gd name="connsiteY5" fmla="*/ 977028 h 1020509"/>
                <a:gd name="connsiteX6" fmla="*/ 4427048 w 4556214"/>
                <a:gd name="connsiteY6" fmla="*/ 951668 h 1020509"/>
                <a:gd name="connsiteX7" fmla="*/ 4326838 w 4556214"/>
                <a:gd name="connsiteY7" fmla="*/ 928957 h 1020509"/>
                <a:gd name="connsiteX8" fmla="*/ 4226627 w 4556214"/>
                <a:gd name="connsiteY8" fmla="*/ 910269 h 1020509"/>
                <a:gd name="connsiteX9" fmla="*/ 4090364 w 4556214"/>
                <a:gd name="connsiteY9" fmla="*/ 890207 h 1020509"/>
                <a:gd name="connsiteX10" fmla="*/ 3922021 w 4556214"/>
                <a:gd name="connsiteY10" fmla="*/ 868822 h 1020509"/>
                <a:gd name="connsiteX11" fmla="*/ 3796450 w 4556214"/>
                <a:gd name="connsiteY11" fmla="*/ 854107 h 1020509"/>
                <a:gd name="connsiteX12" fmla="*/ 3646845 w 4556214"/>
                <a:gd name="connsiteY12" fmla="*/ 842090 h 1020509"/>
                <a:gd name="connsiteX13" fmla="*/ 3549332 w 4556214"/>
                <a:gd name="connsiteY13" fmla="*/ 835417 h 1020509"/>
                <a:gd name="connsiteX14" fmla="*/ 1446616 w 4556214"/>
                <a:gd name="connsiteY14" fmla="*/ 835417 h 1020509"/>
                <a:gd name="connsiteX15" fmla="*/ 1011094 w 4556214"/>
                <a:gd name="connsiteY15" fmla="*/ 834093 h 1020509"/>
                <a:gd name="connsiteX16" fmla="*/ 910883 w 4556214"/>
                <a:gd name="connsiteY16" fmla="*/ 840765 h 1020509"/>
                <a:gd name="connsiteX17" fmla="*/ 783988 w 4556214"/>
                <a:gd name="connsiteY17" fmla="*/ 852782 h 1020509"/>
                <a:gd name="connsiteX18" fmla="*/ 658417 w 4556214"/>
                <a:gd name="connsiteY18" fmla="*/ 866125 h 1020509"/>
                <a:gd name="connsiteX19" fmla="*/ 527500 w 4556214"/>
                <a:gd name="connsiteY19" fmla="*/ 882164 h 1020509"/>
                <a:gd name="connsiteX20" fmla="*/ 395259 w 4556214"/>
                <a:gd name="connsiteY20" fmla="*/ 900853 h 1020509"/>
                <a:gd name="connsiteX21" fmla="*/ 265667 w 4556214"/>
                <a:gd name="connsiteY21" fmla="*/ 922239 h 1020509"/>
                <a:gd name="connsiteX22" fmla="*/ 134750 w 4556214"/>
                <a:gd name="connsiteY22" fmla="*/ 950295 h 1020509"/>
                <a:gd name="connsiteX23" fmla="*/ 42582 w 4556214"/>
                <a:gd name="connsiteY23" fmla="*/ 979678 h 1020509"/>
                <a:gd name="connsiteX24" fmla="*/ 2508 w 4556214"/>
                <a:gd name="connsiteY24" fmla="*/ 1009060 h 1020509"/>
                <a:gd name="connsiteX25" fmla="*/ 1231 w 4556214"/>
                <a:gd name="connsiteY25" fmla="*/ 1020509 h 102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56214" h="1020509">
                  <a:moveTo>
                    <a:pt x="0" y="1020509"/>
                  </a:moveTo>
                  <a:cubicBezTo>
                    <a:pt x="0" y="456909"/>
                    <a:pt x="456909" y="0"/>
                    <a:pt x="1020509" y="0"/>
                  </a:cubicBezTo>
                  <a:lnTo>
                    <a:pt x="3535799" y="0"/>
                  </a:lnTo>
                  <a:cubicBezTo>
                    <a:pt x="4096987" y="0"/>
                    <a:pt x="4552335" y="453029"/>
                    <a:pt x="4556214" y="1013318"/>
                  </a:cubicBezTo>
                  <a:lnTo>
                    <a:pt x="4536579" y="994392"/>
                  </a:lnTo>
                  <a:lnTo>
                    <a:pt x="4503176" y="977028"/>
                  </a:lnTo>
                  <a:lnTo>
                    <a:pt x="4427048" y="951668"/>
                  </a:lnTo>
                  <a:lnTo>
                    <a:pt x="4326838" y="928957"/>
                  </a:lnTo>
                  <a:lnTo>
                    <a:pt x="4226627" y="910269"/>
                  </a:lnTo>
                  <a:lnTo>
                    <a:pt x="4090364" y="890207"/>
                  </a:lnTo>
                  <a:lnTo>
                    <a:pt x="3922021" y="868822"/>
                  </a:lnTo>
                  <a:lnTo>
                    <a:pt x="3796450" y="854107"/>
                  </a:lnTo>
                  <a:lnTo>
                    <a:pt x="3646845" y="842090"/>
                  </a:lnTo>
                  <a:lnTo>
                    <a:pt x="3549332" y="835417"/>
                  </a:lnTo>
                  <a:lnTo>
                    <a:pt x="1446616" y="835417"/>
                  </a:lnTo>
                  <a:lnTo>
                    <a:pt x="1011094" y="834093"/>
                  </a:lnTo>
                  <a:lnTo>
                    <a:pt x="910883" y="840765"/>
                  </a:lnTo>
                  <a:lnTo>
                    <a:pt x="783988" y="852782"/>
                  </a:lnTo>
                  <a:lnTo>
                    <a:pt x="658417" y="866125"/>
                  </a:lnTo>
                  <a:lnTo>
                    <a:pt x="527500" y="882164"/>
                  </a:lnTo>
                  <a:lnTo>
                    <a:pt x="395259" y="900853"/>
                  </a:lnTo>
                  <a:lnTo>
                    <a:pt x="265667" y="922239"/>
                  </a:lnTo>
                  <a:lnTo>
                    <a:pt x="134750" y="950295"/>
                  </a:lnTo>
                  <a:lnTo>
                    <a:pt x="42582" y="979678"/>
                  </a:lnTo>
                  <a:lnTo>
                    <a:pt x="2508" y="1009060"/>
                  </a:lnTo>
                  <a:lnTo>
                    <a:pt x="1231" y="1020509"/>
                  </a:lnTo>
                  <a:close/>
                </a:path>
              </a:pathLst>
            </a:custGeom>
          </p:spPr>
        </p:pic>
      </p:grpSp>
      <p:grpSp>
        <p:nvGrpSpPr>
          <p:cNvPr id="146" name="!!Storskalig">
            <a:extLst>
              <a:ext uri="{FF2B5EF4-FFF2-40B4-BE49-F238E27FC236}">
                <a16:creationId xmlns:a16="http://schemas.microsoft.com/office/drawing/2014/main" id="{80328EE3-4D03-BA67-A9CD-A8600887FB6A}"/>
              </a:ext>
            </a:extLst>
          </p:cNvPr>
          <p:cNvGrpSpPr/>
          <p:nvPr/>
        </p:nvGrpSpPr>
        <p:grpSpPr>
          <a:xfrm>
            <a:off x="9725722" y="561955"/>
            <a:ext cx="1474577" cy="3284190"/>
            <a:chOff x="7077930" y="1042989"/>
            <a:chExt cx="2045750" cy="4556310"/>
          </a:xfrm>
        </p:grpSpPr>
        <p:pic>
          <p:nvPicPr>
            <p:cNvPr id="144" name="Picture 143" descr="A close-up of a white surface&#10;&#10;AI-generated content may be incorrect.">
              <a:extLst>
                <a:ext uri="{FF2B5EF4-FFF2-40B4-BE49-F238E27FC236}">
                  <a16:creationId xmlns:a16="http://schemas.microsoft.com/office/drawing/2014/main" id="{2A022C86-7284-D45E-CB2E-33A12A4CDC1E}"/>
                </a:ext>
              </a:extLst>
            </p:cNvPr>
            <p:cNvPicPr>
              <a:picLocks noChangeAspect="1"/>
            </p:cNvPicPr>
            <p:nvPr/>
          </p:nvPicPr>
          <p:blipFill>
            <a:blip r:embed="rId8" cstate="print">
              <a:alphaModFix amt="75000"/>
              <a:extLst>
                <a:ext uri="{28A0092B-C50C-407E-A947-70E740481C1C}">
                  <a14:useLocalDpi xmlns:a14="http://schemas.microsoft.com/office/drawing/2010/main"/>
                </a:ext>
              </a:extLst>
            </a:blip>
            <a:srcRect r="-1"/>
            <a:stretch/>
          </p:blipFill>
          <p:spPr>
            <a:xfrm rot="16200000">
              <a:off x="5820286" y="2300634"/>
              <a:ext cx="4556308" cy="2041019"/>
            </a:xfrm>
            <a:custGeom>
              <a:avLst/>
              <a:gdLst>
                <a:gd name="connsiteX0" fmla="*/ 4556308 w 4556308"/>
                <a:gd name="connsiteY0" fmla="*/ 1020510 h 2041019"/>
                <a:gd name="connsiteX1" fmla="*/ 3535799 w 4556308"/>
                <a:gd name="connsiteY1" fmla="*/ 2041019 h 2041019"/>
                <a:gd name="connsiteX2" fmla="*/ 1020509 w 4556308"/>
                <a:gd name="connsiteY2" fmla="*/ 2041019 h 2041019"/>
                <a:gd name="connsiteX3" fmla="*/ 0 w 4556308"/>
                <a:gd name="connsiteY3" fmla="*/ 1020509 h 2041019"/>
                <a:gd name="connsiteX4" fmla="*/ 1020510 w 4556308"/>
                <a:gd name="connsiteY4" fmla="*/ 0 h 2041019"/>
                <a:gd name="connsiteX5" fmla="*/ 3535799 w 4556308"/>
                <a:gd name="connsiteY5" fmla="*/ 1 h 2041019"/>
                <a:gd name="connsiteX6" fmla="*/ 4556308 w 4556308"/>
                <a:gd name="connsiteY6" fmla="*/ 1020510 h 20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6308" h="2041019">
                  <a:moveTo>
                    <a:pt x="4556308" y="1020510"/>
                  </a:moveTo>
                  <a:cubicBezTo>
                    <a:pt x="4556308" y="1584122"/>
                    <a:pt x="4099411" y="2041019"/>
                    <a:pt x="3535799" y="2041019"/>
                  </a:cubicBezTo>
                  <a:lnTo>
                    <a:pt x="1020509" y="2041019"/>
                  </a:lnTo>
                  <a:cubicBezTo>
                    <a:pt x="456897" y="2041018"/>
                    <a:pt x="0" y="1584121"/>
                    <a:pt x="0" y="1020509"/>
                  </a:cubicBezTo>
                  <a:cubicBezTo>
                    <a:pt x="1" y="456898"/>
                    <a:pt x="456897" y="0"/>
                    <a:pt x="1020510" y="0"/>
                  </a:cubicBezTo>
                  <a:lnTo>
                    <a:pt x="3535799" y="1"/>
                  </a:lnTo>
                  <a:cubicBezTo>
                    <a:pt x="4099411" y="1"/>
                    <a:pt x="4556308" y="456898"/>
                    <a:pt x="4556308" y="1020510"/>
                  </a:cubicBezTo>
                  <a:close/>
                </a:path>
              </a:pathLst>
            </a:custGeom>
            <a:ln w="19050">
              <a:solidFill>
                <a:schemeClr val="accent5"/>
              </a:solidFill>
            </a:ln>
          </p:spPr>
        </p:pic>
        <p:sp>
          <p:nvSpPr>
            <p:cNvPr id="88" name="Freeform 87">
              <a:extLst>
                <a:ext uri="{FF2B5EF4-FFF2-40B4-BE49-F238E27FC236}">
                  <a16:creationId xmlns:a16="http://schemas.microsoft.com/office/drawing/2014/main" id="{A5D9C72D-B236-B677-320D-F47E3A666244}"/>
                </a:ext>
              </a:extLst>
            </p:cNvPr>
            <p:cNvSpPr/>
            <p:nvPr/>
          </p:nvSpPr>
          <p:spPr>
            <a:xfrm>
              <a:off x="7168158" y="1130519"/>
              <a:ext cx="1860563" cy="4381247"/>
            </a:xfrm>
            <a:custGeom>
              <a:avLst/>
              <a:gdLst>
                <a:gd name="connsiteX0" fmla="*/ 1016801 w 2030606"/>
                <a:gd name="connsiteY0" fmla="*/ 0 h 4781665"/>
                <a:gd name="connsiteX1" fmla="*/ 2030607 w 2030606"/>
                <a:gd name="connsiteY1" fmla="*/ 1013806 h 4781665"/>
                <a:gd name="connsiteX2" fmla="*/ 2030607 w 2030606"/>
                <a:gd name="connsiteY2" fmla="*/ 3767859 h 4781665"/>
                <a:gd name="connsiteX3" fmla="*/ 1016801 w 2030606"/>
                <a:gd name="connsiteY3" fmla="*/ 4781665 h 4781665"/>
                <a:gd name="connsiteX4" fmla="*/ 1013805 w 2030606"/>
                <a:gd name="connsiteY4" fmla="*/ 4781665 h 4781665"/>
                <a:gd name="connsiteX5" fmla="*/ -1 w 2030606"/>
                <a:gd name="connsiteY5" fmla="*/ 3767859 h 4781665"/>
                <a:gd name="connsiteX6" fmla="*/ -1 w 2030606"/>
                <a:gd name="connsiteY6" fmla="*/ 1013806 h 4781665"/>
                <a:gd name="connsiteX7" fmla="*/ 1013805 w 2030606"/>
                <a:gd name="connsiteY7" fmla="*/ 0 h 478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0606" h="4781665">
                  <a:moveTo>
                    <a:pt x="1016801" y="0"/>
                  </a:moveTo>
                  <a:cubicBezTo>
                    <a:pt x="1576710" y="0"/>
                    <a:pt x="2030607" y="453896"/>
                    <a:pt x="2030607" y="1013806"/>
                  </a:cubicBezTo>
                  <a:lnTo>
                    <a:pt x="2030607" y="3767859"/>
                  </a:lnTo>
                  <a:cubicBezTo>
                    <a:pt x="2030607" y="4327769"/>
                    <a:pt x="1576710" y="4781665"/>
                    <a:pt x="1016801" y="4781665"/>
                  </a:cubicBezTo>
                  <a:lnTo>
                    <a:pt x="1013805" y="4781665"/>
                  </a:lnTo>
                  <a:cubicBezTo>
                    <a:pt x="453896" y="4781665"/>
                    <a:pt x="-1" y="4327769"/>
                    <a:pt x="-1" y="3767859"/>
                  </a:cubicBezTo>
                  <a:lnTo>
                    <a:pt x="-1" y="1013806"/>
                  </a:lnTo>
                  <a:cubicBezTo>
                    <a:pt x="-1" y="453896"/>
                    <a:pt x="453896" y="0"/>
                    <a:pt x="1013805" y="0"/>
                  </a:cubicBezTo>
                  <a:close/>
                </a:path>
              </a:pathLst>
            </a:custGeom>
            <a:solidFill>
              <a:schemeClr val="bg1"/>
            </a:solidFill>
            <a:ln w="12700" cap="flat">
              <a:solidFill>
                <a:schemeClr val="accent5"/>
              </a:solidFill>
              <a:prstDash val="solid"/>
              <a:miter/>
            </a:ln>
          </p:spPr>
          <p:txBody>
            <a:bodyPr rtlCol="0" anchor="ctr"/>
            <a:lstStyle/>
            <a:p>
              <a:endParaRPr lang="sv-SE"/>
            </a:p>
          </p:txBody>
        </p:sp>
        <p:pic>
          <p:nvPicPr>
            <p:cNvPr id="141" name="Picture 140" descr="A close-up of a white surface&#10;&#10;AI-generated content may be incorrect.">
              <a:extLst>
                <a:ext uri="{FF2B5EF4-FFF2-40B4-BE49-F238E27FC236}">
                  <a16:creationId xmlns:a16="http://schemas.microsoft.com/office/drawing/2014/main" id="{A1A62230-EA73-EF27-EDB2-658EA4655A15}"/>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rot="5400000">
              <a:off x="6330587" y="2810842"/>
              <a:ext cx="4556214" cy="1020509"/>
            </a:xfrm>
            <a:custGeom>
              <a:avLst/>
              <a:gdLst>
                <a:gd name="connsiteX0" fmla="*/ 0 w 4556214"/>
                <a:gd name="connsiteY0" fmla="*/ 1020509 h 1020509"/>
                <a:gd name="connsiteX1" fmla="*/ 1020509 w 4556214"/>
                <a:gd name="connsiteY1" fmla="*/ 0 h 1020509"/>
                <a:gd name="connsiteX2" fmla="*/ 3535799 w 4556214"/>
                <a:gd name="connsiteY2" fmla="*/ 0 h 1020509"/>
                <a:gd name="connsiteX3" fmla="*/ 4556214 w 4556214"/>
                <a:gd name="connsiteY3" fmla="*/ 1013318 h 1020509"/>
                <a:gd name="connsiteX4" fmla="*/ 4536579 w 4556214"/>
                <a:gd name="connsiteY4" fmla="*/ 994392 h 1020509"/>
                <a:gd name="connsiteX5" fmla="*/ 4503176 w 4556214"/>
                <a:gd name="connsiteY5" fmla="*/ 977028 h 1020509"/>
                <a:gd name="connsiteX6" fmla="*/ 4427048 w 4556214"/>
                <a:gd name="connsiteY6" fmla="*/ 951668 h 1020509"/>
                <a:gd name="connsiteX7" fmla="*/ 4326838 w 4556214"/>
                <a:gd name="connsiteY7" fmla="*/ 928957 h 1020509"/>
                <a:gd name="connsiteX8" fmla="*/ 4226627 w 4556214"/>
                <a:gd name="connsiteY8" fmla="*/ 910269 h 1020509"/>
                <a:gd name="connsiteX9" fmla="*/ 4090364 w 4556214"/>
                <a:gd name="connsiteY9" fmla="*/ 890207 h 1020509"/>
                <a:gd name="connsiteX10" fmla="*/ 3922021 w 4556214"/>
                <a:gd name="connsiteY10" fmla="*/ 868822 h 1020509"/>
                <a:gd name="connsiteX11" fmla="*/ 3796450 w 4556214"/>
                <a:gd name="connsiteY11" fmla="*/ 854107 h 1020509"/>
                <a:gd name="connsiteX12" fmla="*/ 3646845 w 4556214"/>
                <a:gd name="connsiteY12" fmla="*/ 842090 h 1020509"/>
                <a:gd name="connsiteX13" fmla="*/ 3549332 w 4556214"/>
                <a:gd name="connsiteY13" fmla="*/ 835417 h 1020509"/>
                <a:gd name="connsiteX14" fmla="*/ 1446616 w 4556214"/>
                <a:gd name="connsiteY14" fmla="*/ 835417 h 1020509"/>
                <a:gd name="connsiteX15" fmla="*/ 1011094 w 4556214"/>
                <a:gd name="connsiteY15" fmla="*/ 834093 h 1020509"/>
                <a:gd name="connsiteX16" fmla="*/ 910883 w 4556214"/>
                <a:gd name="connsiteY16" fmla="*/ 840765 h 1020509"/>
                <a:gd name="connsiteX17" fmla="*/ 783988 w 4556214"/>
                <a:gd name="connsiteY17" fmla="*/ 852782 h 1020509"/>
                <a:gd name="connsiteX18" fmla="*/ 658417 w 4556214"/>
                <a:gd name="connsiteY18" fmla="*/ 866125 h 1020509"/>
                <a:gd name="connsiteX19" fmla="*/ 527500 w 4556214"/>
                <a:gd name="connsiteY19" fmla="*/ 882164 h 1020509"/>
                <a:gd name="connsiteX20" fmla="*/ 395259 w 4556214"/>
                <a:gd name="connsiteY20" fmla="*/ 900853 h 1020509"/>
                <a:gd name="connsiteX21" fmla="*/ 265667 w 4556214"/>
                <a:gd name="connsiteY21" fmla="*/ 922239 h 1020509"/>
                <a:gd name="connsiteX22" fmla="*/ 134750 w 4556214"/>
                <a:gd name="connsiteY22" fmla="*/ 950295 h 1020509"/>
                <a:gd name="connsiteX23" fmla="*/ 42582 w 4556214"/>
                <a:gd name="connsiteY23" fmla="*/ 979678 h 1020509"/>
                <a:gd name="connsiteX24" fmla="*/ 2508 w 4556214"/>
                <a:gd name="connsiteY24" fmla="*/ 1009060 h 1020509"/>
                <a:gd name="connsiteX25" fmla="*/ 1231 w 4556214"/>
                <a:gd name="connsiteY25" fmla="*/ 1020509 h 102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56214" h="1020509">
                  <a:moveTo>
                    <a:pt x="0" y="1020509"/>
                  </a:moveTo>
                  <a:cubicBezTo>
                    <a:pt x="0" y="456909"/>
                    <a:pt x="456909" y="0"/>
                    <a:pt x="1020509" y="0"/>
                  </a:cubicBezTo>
                  <a:lnTo>
                    <a:pt x="3535799" y="0"/>
                  </a:lnTo>
                  <a:cubicBezTo>
                    <a:pt x="4096987" y="0"/>
                    <a:pt x="4552335" y="453029"/>
                    <a:pt x="4556214" y="1013318"/>
                  </a:cubicBezTo>
                  <a:lnTo>
                    <a:pt x="4536579" y="994392"/>
                  </a:lnTo>
                  <a:lnTo>
                    <a:pt x="4503176" y="977028"/>
                  </a:lnTo>
                  <a:lnTo>
                    <a:pt x="4427048" y="951668"/>
                  </a:lnTo>
                  <a:lnTo>
                    <a:pt x="4326838" y="928957"/>
                  </a:lnTo>
                  <a:lnTo>
                    <a:pt x="4226627" y="910269"/>
                  </a:lnTo>
                  <a:lnTo>
                    <a:pt x="4090364" y="890207"/>
                  </a:lnTo>
                  <a:lnTo>
                    <a:pt x="3922021" y="868822"/>
                  </a:lnTo>
                  <a:lnTo>
                    <a:pt x="3796450" y="854107"/>
                  </a:lnTo>
                  <a:lnTo>
                    <a:pt x="3646845" y="842090"/>
                  </a:lnTo>
                  <a:lnTo>
                    <a:pt x="3549332" y="835417"/>
                  </a:lnTo>
                  <a:lnTo>
                    <a:pt x="1446616" y="835417"/>
                  </a:lnTo>
                  <a:lnTo>
                    <a:pt x="1011094" y="834093"/>
                  </a:lnTo>
                  <a:lnTo>
                    <a:pt x="910883" y="840765"/>
                  </a:lnTo>
                  <a:lnTo>
                    <a:pt x="783988" y="852782"/>
                  </a:lnTo>
                  <a:lnTo>
                    <a:pt x="658417" y="866125"/>
                  </a:lnTo>
                  <a:lnTo>
                    <a:pt x="527500" y="882164"/>
                  </a:lnTo>
                  <a:lnTo>
                    <a:pt x="395259" y="900853"/>
                  </a:lnTo>
                  <a:lnTo>
                    <a:pt x="265667" y="922239"/>
                  </a:lnTo>
                  <a:lnTo>
                    <a:pt x="134750" y="950295"/>
                  </a:lnTo>
                  <a:lnTo>
                    <a:pt x="42582" y="979678"/>
                  </a:lnTo>
                  <a:lnTo>
                    <a:pt x="2508" y="1009060"/>
                  </a:lnTo>
                  <a:lnTo>
                    <a:pt x="1231" y="1020509"/>
                  </a:lnTo>
                  <a:close/>
                </a:path>
              </a:pathLst>
            </a:custGeom>
          </p:spPr>
        </p:pic>
        <p:grpSp>
          <p:nvGrpSpPr>
            <p:cNvPr id="136" name="!!Armeringsjärn">
              <a:extLst>
                <a:ext uri="{FF2B5EF4-FFF2-40B4-BE49-F238E27FC236}">
                  <a16:creationId xmlns:a16="http://schemas.microsoft.com/office/drawing/2014/main" id="{D73AD5EF-B7DE-26B7-6FAC-6B459E60C1DE}"/>
                </a:ext>
              </a:extLst>
            </p:cNvPr>
            <p:cNvGrpSpPr/>
            <p:nvPr/>
          </p:nvGrpSpPr>
          <p:grpSpPr>
            <a:xfrm>
              <a:off x="8098440" y="1042989"/>
              <a:ext cx="1025240" cy="4556310"/>
              <a:chOff x="-3801906" y="7860917"/>
              <a:chExt cx="1118940" cy="4972727"/>
            </a:xfrm>
          </p:grpSpPr>
          <p:sp>
            <p:nvSpPr>
              <p:cNvPr id="91" name="Freeform 90">
                <a:extLst>
                  <a:ext uri="{FF2B5EF4-FFF2-40B4-BE49-F238E27FC236}">
                    <a16:creationId xmlns:a16="http://schemas.microsoft.com/office/drawing/2014/main" id="{1B0A88BF-DAD1-C067-C2A8-3382611E1137}"/>
                  </a:ext>
                </a:extLst>
              </p:cNvPr>
              <p:cNvSpPr/>
              <p:nvPr/>
            </p:nvSpPr>
            <p:spPr>
              <a:xfrm>
                <a:off x="-3801906" y="11719866"/>
                <a:ext cx="1012515" cy="1113776"/>
              </a:xfrm>
              <a:custGeom>
                <a:avLst/>
                <a:gdLst>
                  <a:gd name="connsiteX0" fmla="*/ 1012515 w 1012515"/>
                  <a:gd name="connsiteY0" fmla="*/ 0 h 1113776"/>
                  <a:gd name="connsiteX1" fmla="*/ 0 w 1012515"/>
                  <a:gd name="connsiteY1" fmla="*/ 1113777 h 1113776"/>
                </a:gdLst>
                <a:ahLst/>
                <a:cxnLst>
                  <a:cxn ang="0">
                    <a:pos x="connsiteX0" y="connsiteY0"/>
                  </a:cxn>
                  <a:cxn ang="0">
                    <a:pos x="connsiteX1" y="connsiteY1"/>
                  </a:cxn>
                </a:cxnLst>
                <a:rect l="l" t="t" r="r" b="b"/>
                <a:pathLst>
                  <a:path w="1012515" h="1113776">
                    <a:moveTo>
                      <a:pt x="1012515" y="0"/>
                    </a:moveTo>
                    <a:cubicBezTo>
                      <a:pt x="1012515" y="559186"/>
                      <a:pt x="559186" y="1113777"/>
                      <a:pt x="0" y="1113777"/>
                    </a:cubicBezTo>
                  </a:path>
                </a:pathLst>
              </a:custGeom>
              <a:noFill/>
              <a:ln w="9525" cap="flat">
                <a:solidFill>
                  <a:schemeClr val="accent5"/>
                </a:solidFill>
                <a:prstDash val="solid"/>
                <a:miter/>
              </a:ln>
            </p:spPr>
            <p:txBody>
              <a:bodyPr rtlCol="0" anchor="ctr"/>
              <a:lstStyle/>
              <a:p>
                <a:endParaRPr lang="sv-SE"/>
              </a:p>
            </p:txBody>
          </p:sp>
          <p:sp>
            <p:nvSpPr>
              <p:cNvPr id="92" name="Freeform 91">
                <a:extLst>
                  <a:ext uri="{FF2B5EF4-FFF2-40B4-BE49-F238E27FC236}">
                    <a16:creationId xmlns:a16="http://schemas.microsoft.com/office/drawing/2014/main" id="{180B2CB7-4A76-7324-D473-982BDB45C952}"/>
                  </a:ext>
                </a:extLst>
              </p:cNvPr>
              <p:cNvSpPr/>
              <p:nvPr/>
            </p:nvSpPr>
            <p:spPr>
              <a:xfrm>
                <a:off x="-3801854" y="11719866"/>
                <a:ext cx="809991" cy="1113776"/>
              </a:xfrm>
              <a:custGeom>
                <a:avLst/>
                <a:gdLst>
                  <a:gd name="connsiteX0" fmla="*/ 809992 w 809991"/>
                  <a:gd name="connsiteY0" fmla="*/ 0 h 1113776"/>
                  <a:gd name="connsiteX1" fmla="*/ 0 w 809991"/>
                  <a:gd name="connsiteY1" fmla="*/ 1113777 h 1113776"/>
                </a:gdLst>
                <a:ahLst/>
                <a:cxnLst>
                  <a:cxn ang="0">
                    <a:pos x="connsiteX0" y="connsiteY0"/>
                  </a:cxn>
                  <a:cxn ang="0">
                    <a:pos x="connsiteX1" y="connsiteY1"/>
                  </a:cxn>
                </a:cxnLst>
                <a:rect l="l" t="t" r="r" b="b"/>
                <a:pathLst>
                  <a:path w="809991" h="1113776">
                    <a:moveTo>
                      <a:pt x="809992" y="0"/>
                    </a:moveTo>
                    <a:cubicBezTo>
                      <a:pt x="809992" y="447339"/>
                      <a:pt x="447338" y="1113777"/>
                      <a:pt x="0" y="1113777"/>
                    </a:cubicBezTo>
                  </a:path>
                </a:pathLst>
              </a:custGeom>
              <a:noFill/>
              <a:ln w="9525" cap="flat">
                <a:solidFill>
                  <a:schemeClr val="accent5"/>
                </a:solidFill>
                <a:prstDash val="solid"/>
                <a:miter/>
              </a:ln>
            </p:spPr>
            <p:txBody>
              <a:bodyPr rtlCol="0" anchor="ctr"/>
              <a:lstStyle/>
              <a:p>
                <a:endParaRPr lang="sv-SE"/>
              </a:p>
            </p:txBody>
          </p:sp>
          <p:sp>
            <p:nvSpPr>
              <p:cNvPr id="93" name="Freeform 92">
                <a:extLst>
                  <a:ext uri="{FF2B5EF4-FFF2-40B4-BE49-F238E27FC236}">
                    <a16:creationId xmlns:a16="http://schemas.microsoft.com/office/drawing/2014/main" id="{7B508F4C-7413-DA49-04C8-FC078F3E3141}"/>
                  </a:ext>
                </a:extLst>
              </p:cNvPr>
              <p:cNvSpPr/>
              <p:nvPr/>
            </p:nvSpPr>
            <p:spPr>
              <a:xfrm>
                <a:off x="-3801906" y="11719866"/>
                <a:ext cx="607519" cy="1113776"/>
              </a:xfrm>
              <a:custGeom>
                <a:avLst/>
                <a:gdLst>
                  <a:gd name="connsiteX0" fmla="*/ 607519 w 607519"/>
                  <a:gd name="connsiteY0" fmla="*/ 0 h 1113776"/>
                  <a:gd name="connsiteX1" fmla="*/ 0 w 607519"/>
                  <a:gd name="connsiteY1" fmla="*/ 1113777 h 1113776"/>
                </a:gdLst>
                <a:ahLst/>
                <a:cxnLst>
                  <a:cxn ang="0">
                    <a:pos x="connsiteX0" y="connsiteY0"/>
                  </a:cxn>
                  <a:cxn ang="0">
                    <a:pos x="connsiteX1" y="connsiteY1"/>
                  </a:cxn>
                </a:cxnLst>
                <a:rect l="l" t="t" r="r" b="b"/>
                <a:pathLst>
                  <a:path w="607519" h="1113776">
                    <a:moveTo>
                      <a:pt x="607519" y="0"/>
                    </a:moveTo>
                    <a:cubicBezTo>
                      <a:pt x="607519" y="335543"/>
                      <a:pt x="335543" y="1113777"/>
                      <a:pt x="0" y="1113777"/>
                    </a:cubicBezTo>
                  </a:path>
                </a:pathLst>
              </a:custGeom>
              <a:noFill/>
              <a:ln w="9525" cap="flat">
                <a:solidFill>
                  <a:schemeClr val="accent5"/>
                </a:solidFill>
                <a:prstDash val="solid"/>
                <a:miter/>
              </a:ln>
            </p:spPr>
            <p:txBody>
              <a:bodyPr rtlCol="0" anchor="ctr"/>
              <a:lstStyle/>
              <a:p>
                <a:endParaRPr lang="sv-SE"/>
              </a:p>
            </p:txBody>
          </p:sp>
          <p:sp>
            <p:nvSpPr>
              <p:cNvPr id="94" name="Freeform 93">
                <a:extLst>
                  <a:ext uri="{FF2B5EF4-FFF2-40B4-BE49-F238E27FC236}">
                    <a16:creationId xmlns:a16="http://schemas.microsoft.com/office/drawing/2014/main" id="{BE3F447C-D61E-14B2-B735-6974E6FC0C0A}"/>
                  </a:ext>
                </a:extLst>
              </p:cNvPr>
              <p:cNvSpPr/>
              <p:nvPr/>
            </p:nvSpPr>
            <p:spPr>
              <a:xfrm>
                <a:off x="-3801906" y="11719866"/>
                <a:ext cx="404995" cy="1113776"/>
              </a:xfrm>
              <a:custGeom>
                <a:avLst/>
                <a:gdLst>
                  <a:gd name="connsiteX0" fmla="*/ 404996 w 404995"/>
                  <a:gd name="connsiteY0" fmla="*/ 0 h 1113776"/>
                  <a:gd name="connsiteX1" fmla="*/ 0 w 404995"/>
                  <a:gd name="connsiteY1" fmla="*/ 1113777 h 1113776"/>
                </a:gdLst>
                <a:ahLst/>
                <a:cxnLst>
                  <a:cxn ang="0">
                    <a:pos x="connsiteX0" y="connsiteY0"/>
                  </a:cxn>
                  <a:cxn ang="0">
                    <a:pos x="connsiteX1" y="connsiteY1"/>
                  </a:cxn>
                </a:cxnLst>
                <a:rect l="l" t="t" r="r" b="b"/>
                <a:pathLst>
                  <a:path w="404995" h="1113776">
                    <a:moveTo>
                      <a:pt x="404996" y="0"/>
                    </a:moveTo>
                    <a:cubicBezTo>
                      <a:pt x="404996" y="223695"/>
                      <a:pt x="223644" y="1113777"/>
                      <a:pt x="0" y="1113777"/>
                    </a:cubicBezTo>
                  </a:path>
                </a:pathLst>
              </a:custGeom>
              <a:noFill/>
              <a:ln w="9525" cap="flat">
                <a:solidFill>
                  <a:schemeClr val="accent5"/>
                </a:solidFill>
                <a:prstDash val="solid"/>
                <a:miter/>
              </a:ln>
            </p:spPr>
            <p:txBody>
              <a:bodyPr rtlCol="0" anchor="ctr"/>
              <a:lstStyle/>
              <a:p>
                <a:endParaRPr lang="sv-SE"/>
              </a:p>
            </p:txBody>
          </p:sp>
          <p:sp>
            <p:nvSpPr>
              <p:cNvPr id="95" name="Freeform 94">
                <a:extLst>
                  <a:ext uri="{FF2B5EF4-FFF2-40B4-BE49-F238E27FC236}">
                    <a16:creationId xmlns:a16="http://schemas.microsoft.com/office/drawing/2014/main" id="{69944395-DB84-72B4-CEB8-076D5D57BE5F}"/>
                  </a:ext>
                </a:extLst>
              </p:cNvPr>
              <p:cNvSpPr/>
              <p:nvPr/>
            </p:nvSpPr>
            <p:spPr>
              <a:xfrm>
                <a:off x="-3801906" y="11719866"/>
                <a:ext cx="202523" cy="1113776"/>
              </a:xfrm>
              <a:custGeom>
                <a:avLst/>
                <a:gdLst>
                  <a:gd name="connsiteX0" fmla="*/ 202524 w 202523"/>
                  <a:gd name="connsiteY0" fmla="*/ 0 h 1113776"/>
                  <a:gd name="connsiteX1" fmla="*/ 0 w 202523"/>
                  <a:gd name="connsiteY1" fmla="*/ 1113777 h 1113776"/>
                </a:gdLst>
                <a:ahLst/>
                <a:cxnLst>
                  <a:cxn ang="0">
                    <a:pos x="connsiteX0" y="connsiteY0"/>
                  </a:cxn>
                  <a:cxn ang="0">
                    <a:pos x="connsiteX1" y="connsiteY1"/>
                  </a:cxn>
                </a:cxnLst>
                <a:rect l="l" t="t" r="r" b="b"/>
                <a:pathLst>
                  <a:path w="202523" h="1113776">
                    <a:moveTo>
                      <a:pt x="202524" y="0"/>
                    </a:moveTo>
                    <a:cubicBezTo>
                      <a:pt x="202524" y="111847"/>
                      <a:pt x="111847" y="1113777"/>
                      <a:pt x="0" y="1113777"/>
                    </a:cubicBezTo>
                  </a:path>
                </a:pathLst>
              </a:custGeom>
              <a:noFill/>
              <a:ln w="9525" cap="flat">
                <a:solidFill>
                  <a:schemeClr val="accent5"/>
                </a:solidFill>
                <a:prstDash val="solid"/>
                <a:miter/>
              </a:ln>
            </p:spPr>
            <p:txBody>
              <a:bodyPr rtlCol="0" anchor="ctr"/>
              <a:lstStyle/>
              <a:p>
                <a:endParaRPr lang="sv-SE"/>
              </a:p>
            </p:txBody>
          </p:sp>
          <p:sp>
            <p:nvSpPr>
              <p:cNvPr id="96" name="Freeform 95">
                <a:extLst>
                  <a:ext uri="{FF2B5EF4-FFF2-40B4-BE49-F238E27FC236}">
                    <a16:creationId xmlns:a16="http://schemas.microsoft.com/office/drawing/2014/main" id="{71187D65-3831-4EED-EB96-F0E5AC4B1455}"/>
                  </a:ext>
                </a:extLst>
              </p:cNvPr>
              <p:cNvSpPr/>
              <p:nvPr/>
            </p:nvSpPr>
            <p:spPr>
              <a:xfrm>
                <a:off x="-2688129"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noFill/>
              <a:ln w="9525" cap="flat">
                <a:solidFill>
                  <a:schemeClr val="accent5"/>
                </a:solidFill>
                <a:prstDash val="solid"/>
                <a:miter/>
              </a:ln>
            </p:spPr>
            <p:txBody>
              <a:bodyPr rtlCol="0" anchor="ctr"/>
              <a:lstStyle/>
              <a:p>
                <a:endParaRPr lang="sv-SE"/>
              </a:p>
            </p:txBody>
          </p:sp>
          <p:sp>
            <p:nvSpPr>
              <p:cNvPr id="97" name="Freeform 96">
                <a:extLst>
                  <a:ext uri="{FF2B5EF4-FFF2-40B4-BE49-F238E27FC236}">
                    <a16:creationId xmlns:a16="http://schemas.microsoft.com/office/drawing/2014/main" id="{B899BB7A-B5D4-31E1-99AA-0767FD5979C4}"/>
                  </a:ext>
                </a:extLst>
              </p:cNvPr>
              <p:cNvSpPr/>
              <p:nvPr/>
            </p:nvSpPr>
            <p:spPr>
              <a:xfrm>
                <a:off x="-2789391"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98" name="Freeform 97">
                <a:extLst>
                  <a:ext uri="{FF2B5EF4-FFF2-40B4-BE49-F238E27FC236}">
                    <a16:creationId xmlns:a16="http://schemas.microsoft.com/office/drawing/2014/main" id="{7C30AF8D-7C27-6D5C-692F-65E7DBC18213}"/>
                  </a:ext>
                </a:extLst>
              </p:cNvPr>
              <p:cNvSpPr/>
              <p:nvPr/>
            </p:nvSpPr>
            <p:spPr>
              <a:xfrm>
                <a:off x="-2991863"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99" name="Freeform 98">
                <a:extLst>
                  <a:ext uri="{FF2B5EF4-FFF2-40B4-BE49-F238E27FC236}">
                    <a16:creationId xmlns:a16="http://schemas.microsoft.com/office/drawing/2014/main" id="{DABFF4F4-EAFA-6980-545E-30CDFEC98676}"/>
                  </a:ext>
                </a:extLst>
              </p:cNvPr>
              <p:cNvSpPr/>
              <p:nvPr/>
            </p:nvSpPr>
            <p:spPr>
              <a:xfrm>
                <a:off x="-3194387" y="8974695"/>
                <a:ext cx="5163" cy="2745171"/>
              </a:xfrm>
              <a:custGeom>
                <a:avLst/>
                <a:gdLst>
                  <a:gd name="connsiteX0" fmla="*/ 0 w 5163"/>
                  <a:gd name="connsiteY0" fmla="*/ 0 h 2745171"/>
                  <a:gd name="connsiteX1" fmla="*/ 0 w 5163"/>
                  <a:gd name="connsiteY1" fmla="*/ 2745172 h 2745171"/>
                </a:gdLst>
                <a:ahLst/>
                <a:cxnLst>
                  <a:cxn ang="0">
                    <a:pos x="connsiteX0" y="connsiteY0"/>
                  </a:cxn>
                  <a:cxn ang="0">
                    <a:pos x="connsiteX1" y="connsiteY1"/>
                  </a:cxn>
                </a:cxnLst>
                <a:rect l="l" t="t" r="r" b="b"/>
                <a:pathLst>
                  <a:path w="5163" h="2745171">
                    <a:moveTo>
                      <a:pt x="0" y="0"/>
                    </a:moveTo>
                    <a:lnTo>
                      <a:pt x="0" y="2745172"/>
                    </a:lnTo>
                  </a:path>
                </a:pathLst>
              </a:custGeom>
              <a:ln w="9525" cap="flat">
                <a:solidFill>
                  <a:schemeClr val="accent5"/>
                </a:solidFill>
                <a:prstDash val="solid"/>
                <a:miter/>
              </a:ln>
            </p:spPr>
            <p:txBody>
              <a:bodyPr rtlCol="0" anchor="ctr"/>
              <a:lstStyle/>
              <a:p>
                <a:endParaRPr lang="sv-SE"/>
              </a:p>
            </p:txBody>
          </p:sp>
          <p:sp>
            <p:nvSpPr>
              <p:cNvPr id="100" name="Freeform 99">
                <a:extLst>
                  <a:ext uri="{FF2B5EF4-FFF2-40B4-BE49-F238E27FC236}">
                    <a16:creationId xmlns:a16="http://schemas.microsoft.com/office/drawing/2014/main" id="{E3D01A3D-76C0-CAB7-DD8E-FFECE2C16A0D}"/>
                  </a:ext>
                </a:extLst>
              </p:cNvPr>
              <p:cNvSpPr/>
              <p:nvPr/>
            </p:nvSpPr>
            <p:spPr>
              <a:xfrm>
                <a:off x="-3396910" y="8974695"/>
                <a:ext cx="5163" cy="2745171"/>
              </a:xfrm>
              <a:custGeom>
                <a:avLst/>
                <a:gdLst>
                  <a:gd name="connsiteX0" fmla="*/ 0 w 5163"/>
                  <a:gd name="connsiteY0" fmla="*/ 2745172 h 2745171"/>
                  <a:gd name="connsiteX1" fmla="*/ 0 w 5163"/>
                  <a:gd name="connsiteY1" fmla="*/ 0 h 2745171"/>
                </a:gdLst>
                <a:ahLst/>
                <a:cxnLst>
                  <a:cxn ang="0">
                    <a:pos x="connsiteX0" y="connsiteY0"/>
                  </a:cxn>
                  <a:cxn ang="0">
                    <a:pos x="connsiteX1" y="connsiteY1"/>
                  </a:cxn>
                </a:cxnLst>
                <a:rect l="l" t="t" r="r" b="b"/>
                <a:pathLst>
                  <a:path w="5163" h="2745171">
                    <a:moveTo>
                      <a:pt x="0" y="2745172"/>
                    </a:moveTo>
                    <a:lnTo>
                      <a:pt x="0" y="0"/>
                    </a:lnTo>
                  </a:path>
                </a:pathLst>
              </a:custGeom>
              <a:ln w="9525" cap="flat">
                <a:solidFill>
                  <a:schemeClr val="accent5"/>
                </a:solidFill>
                <a:prstDash val="solid"/>
                <a:miter/>
              </a:ln>
            </p:spPr>
            <p:txBody>
              <a:bodyPr rtlCol="0" anchor="ctr"/>
              <a:lstStyle/>
              <a:p>
                <a:endParaRPr lang="sv-SE"/>
              </a:p>
            </p:txBody>
          </p:sp>
          <p:sp>
            <p:nvSpPr>
              <p:cNvPr id="101" name="Freeform 100">
                <a:extLst>
                  <a:ext uri="{FF2B5EF4-FFF2-40B4-BE49-F238E27FC236}">
                    <a16:creationId xmlns:a16="http://schemas.microsoft.com/office/drawing/2014/main" id="{7324266C-35F5-8C52-A598-A1F376E3A2E9}"/>
                  </a:ext>
                </a:extLst>
              </p:cNvPr>
              <p:cNvSpPr/>
              <p:nvPr/>
            </p:nvSpPr>
            <p:spPr>
              <a:xfrm>
                <a:off x="-3599382" y="8974695"/>
                <a:ext cx="5163" cy="2745171"/>
              </a:xfrm>
              <a:custGeom>
                <a:avLst/>
                <a:gdLst>
                  <a:gd name="connsiteX0" fmla="*/ 0 w 5163"/>
                  <a:gd name="connsiteY0" fmla="*/ 2745172 h 2745171"/>
                  <a:gd name="connsiteX1" fmla="*/ 0 w 5163"/>
                  <a:gd name="connsiteY1" fmla="*/ 0 h 2745171"/>
                </a:gdLst>
                <a:ahLst/>
                <a:cxnLst>
                  <a:cxn ang="0">
                    <a:pos x="connsiteX0" y="connsiteY0"/>
                  </a:cxn>
                  <a:cxn ang="0">
                    <a:pos x="connsiteX1" y="connsiteY1"/>
                  </a:cxn>
                </a:cxnLst>
                <a:rect l="l" t="t" r="r" b="b"/>
                <a:pathLst>
                  <a:path w="5163" h="2745171">
                    <a:moveTo>
                      <a:pt x="0" y="2745172"/>
                    </a:moveTo>
                    <a:lnTo>
                      <a:pt x="0" y="0"/>
                    </a:lnTo>
                  </a:path>
                </a:pathLst>
              </a:custGeom>
              <a:ln w="9525" cap="flat">
                <a:solidFill>
                  <a:schemeClr val="accent5"/>
                </a:solidFill>
                <a:prstDash val="solid"/>
                <a:miter/>
              </a:ln>
            </p:spPr>
            <p:txBody>
              <a:bodyPr rtlCol="0" anchor="ctr"/>
              <a:lstStyle/>
              <a:p>
                <a:endParaRPr lang="sv-SE"/>
              </a:p>
            </p:txBody>
          </p:sp>
          <p:sp>
            <p:nvSpPr>
              <p:cNvPr id="102" name="Freeform 101">
                <a:extLst>
                  <a:ext uri="{FF2B5EF4-FFF2-40B4-BE49-F238E27FC236}">
                    <a16:creationId xmlns:a16="http://schemas.microsoft.com/office/drawing/2014/main" id="{FCF0A5F7-0FF5-6A44-EBFA-54D1B1978712}"/>
                  </a:ext>
                </a:extLst>
              </p:cNvPr>
              <p:cNvSpPr/>
              <p:nvPr/>
            </p:nvSpPr>
            <p:spPr>
              <a:xfrm>
                <a:off x="-3801906" y="7860918"/>
                <a:ext cx="1012515" cy="1113776"/>
              </a:xfrm>
              <a:custGeom>
                <a:avLst/>
                <a:gdLst>
                  <a:gd name="connsiteX0" fmla="*/ 0 w 1012515"/>
                  <a:gd name="connsiteY0" fmla="*/ 0 h 1113776"/>
                  <a:gd name="connsiteX1" fmla="*/ 1012515 w 1012515"/>
                  <a:gd name="connsiteY1" fmla="*/ 1113777 h 1113776"/>
                </a:gdLst>
                <a:ahLst/>
                <a:cxnLst>
                  <a:cxn ang="0">
                    <a:pos x="connsiteX0" y="connsiteY0"/>
                  </a:cxn>
                  <a:cxn ang="0">
                    <a:pos x="connsiteX1" y="connsiteY1"/>
                  </a:cxn>
                </a:cxnLst>
                <a:rect l="l" t="t" r="r" b="b"/>
                <a:pathLst>
                  <a:path w="1012515" h="1113776">
                    <a:moveTo>
                      <a:pt x="0" y="0"/>
                    </a:moveTo>
                    <a:cubicBezTo>
                      <a:pt x="559186" y="0"/>
                      <a:pt x="1012515" y="554591"/>
                      <a:pt x="1012515" y="1113777"/>
                    </a:cubicBezTo>
                  </a:path>
                </a:pathLst>
              </a:custGeom>
              <a:noFill/>
              <a:ln w="9525" cap="flat">
                <a:solidFill>
                  <a:schemeClr val="accent5"/>
                </a:solidFill>
                <a:prstDash val="solid"/>
                <a:miter/>
              </a:ln>
            </p:spPr>
            <p:txBody>
              <a:bodyPr rtlCol="0" anchor="ctr"/>
              <a:lstStyle/>
              <a:p>
                <a:endParaRPr lang="sv-SE"/>
              </a:p>
            </p:txBody>
          </p:sp>
          <p:sp>
            <p:nvSpPr>
              <p:cNvPr id="103" name="Freeform 102">
                <a:extLst>
                  <a:ext uri="{FF2B5EF4-FFF2-40B4-BE49-F238E27FC236}">
                    <a16:creationId xmlns:a16="http://schemas.microsoft.com/office/drawing/2014/main" id="{9AC706D0-8435-195C-9B43-11CA675C3171}"/>
                  </a:ext>
                </a:extLst>
              </p:cNvPr>
              <p:cNvSpPr/>
              <p:nvPr/>
            </p:nvSpPr>
            <p:spPr>
              <a:xfrm>
                <a:off x="-3801906" y="7860918"/>
                <a:ext cx="809991" cy="1113776"/>
              </a:xfrm>
              <a:custGeom>
                <a:avLst/>
                <a:gdLst>
                  <a:gd name="connsiteX0" fmla="*/ 0 w 809991"/>
                  <a:gd name="connsiteY0" fmla="*/ 0 h 1113776"/>
                  <a:gd name="connsiteX1" fmla="*/ 809992 w 809991"/>
                  <a:gd name="connsiteY1" fmla="*/ 1113777 h 1113776"/>
                </a:gdLst>
                <a:ahLst/>
                <a:cxnLst>
                  <a:cxn ang="0">
                    <a:pos x="connsiteX0" y="connsiteY0"/>
                  </a:cxn>
                  <a:cxn ang="0">
                    <a:pos x="connsiteX1" y="connsiteY1"/>
                  </a:cxn>
                </a:cxnLst>
                <a:rect l="l" t="t" r="r" b="b"/>
                <a:pathLst>
                  <a:path w="809991" h="1113776">
                    <a:moveTo>
                      <a:pt x="0" y="0"/>
                    </a:moveTo>
                    <a:cubicBezTo>
                      <a:pt x="447338" y="0"/>
                      <a:pt x="809992" y="666387"/>
                      <a:pt x="809992" y="1113777"/>
                    </a:cubicBezTo>
                  </a:path>
                </a:pathLst>
              </a:custGeom>
              <a:noFill/>
              <a:ln w="9525" cap="flat">
                <a:solidFill>
                  <a:schemeClr val="accent5"/>
                </a:solidFill>
                <a:prstDash val="solid"/>
                <a:miter/>
              </a:ln>
            </p:spPr>
            <p:txBody>
              <a:bodyPr rtlCol="0" anchor="ctr"/>
              <a:lstStyle/>
              <a:p>
                <a:endParaRPr lang="sv-SE"/>
              </a:p>
            </p:txBody>
          </p:sp>
          <p:sp>
            <p:nvSpPr>
              <p:cNvPr id="104" name="Freeform 103">
                <a:extLst>
                  <a:ext uri="{FF2B5EF4-FFF2-40B4-BE49-F238E27FC236}">
                    <a16:creationId xmlns:a16="http://schemas.microsoft.com/office/drawing/2014/main" id="{E0DC9DB7-3C37-2545-1295-B4B35680B90D}"/>
                  </a:ext>
                </a:extLst>
              </p:cNvPr>
              <p:cNvSpPr/>
              <p:nvPr/>
            </p:nvSpPr>
            <p:spPr>
              <a:xfrm>
                <a:off x="-3801906" y="7860918"/>
                <a:ext cx="607519" cy="1113776"/>
              </a:xfrm>
              <a:custGeom>
                <a:avLst/>
                <a:gdLst>
                  <a:gd name="connsiteX0" fmla="*/ 0 w 607519"/>
                  <a:gd name="connsiteY0" fmla="*/ 0 h 1113776"/>
                  <a:gd name="connsiteX1" fmla="*/ 607519 w 607519"/>
                  <a:gd name="connsiteY1" fmla="*/ 1113777 h 1113776"/>
                </a:gdLst>
                <a:ahLst/>
                <a:cxnLst>
                  <a:cxn ang="0">
                    <a:pos x="connsiteX0" y="connsiteY0"/>
                  </a:cxn>
                  <a:cxn ang="0">
                    <a:pos x="connsiteX1" y="connsiteY1"/>
                  </a:cxn>
                </a:cxnLst>
                <a:rect l="l" t="t" r="r" b="b"/>
                <a:pathLst>
                  <a:path w="607519" h="1113776">
                    <a:moveTo>
                      <a:pt x="0" y="0"/>
                    </a:moveTo>
                    <a:cubicBezTo>
                      <a:pt x="335543" y="0"/>
                      <a:pt x="607519" y="778234"/>
                      <a:pt x="607519" y="1113777"/>
                    </a:cubicBezTo>
                  </a:path>
                </a:pathLst>
              </a:custGeom>
              <a:noFill/>
              <a:ln w="9525" cap="flat">
                <a:solidFill>
                  <a:schemeClr val="accent5"/>
                </a:solidFill>
                <a:prstDash val="solid"/>
                <a:miter/>
              </a:ln>
            </p:spPr>
            <p:txBody>
              <a:bodyPr rtlCol="0" anchor="ctr"/>
              <a:lstStyle/>
              <a:p>
                <a:endParaRPr lang="sv-SE"/>
              </a:p>
            </p:txBody>
          </p:sp>
          <p:sp>
            <p:nvSpPr>
              <p:cNvPr id="105" name="Freeform 104">
                <a:extLst>
                  <a:ext uri="{FF2B5EF4-FFF2-40B4-BE49-F238E27FC236}">
                    <a16:creationId xmlns:a16="http://schemas.microsoft.com/office/drawing/2014/main" id="{276571D8-930A-0439-E9CB-901BABDA5A9F}"/>
                  </a:ext>
                </a:extLst>
              </p:cNvPr>
              <p:cNvSpPr/>
              <p:nvPr/>
            </p:nvSpPr>
            <p:spPr>
              <a:xfrm>
                <a:off x="-3801906" y="7860918"/>
                <a:ext cx="404995" cy="1113776"/>
              </a:xfrm>
              <a:custGeom>
                <a:avLst/>
                <a:gdLst>
                  <a:gd name="connsiteX0" fmla="*/ 0 w 404995"/>
                  <a:gd name="connsiteY0" fmla="*/ 0 h 1113776"/>
                  <a:gd name="connsiteX1" fmla="*/ 404996 w 404995"/>
                  <a:gd name="connsiteY1" fmla="*/ 1113777 h 1113776"/>
                </a:gdLst>
                <a:ahLst/>
                <a:cxnLst>
                  <a:cxn ang="0">
                    <a:pos x="connsiteX0" y="connsiteY0"/>
                  </a:cxn>
                  <a:cxn ang="0">
                    <a:pos x="connsiteX1" y="connsiteY1"/>
                  </a:cxn>
                </a:cxnLst>
                <a:rect l="l" t="t" r="r" b="b"/>
                <a:pathLst>
                  <a:path w="404995" h="1113776">
                    <a:moveTo>
                      <a:pt x="0" y="0"/>
                    </a:moveTo>
                    <a:cubicBezTo>
                      <a:pt x="223695" y="0"/>
                      <a:pt x="404996" y="890082"/>
                      <a:pt x="404996" y="1113777"/>
                    </a:cubicBezTo>
                  </a:path>
                </a:pathLst>
              </a:custGeom>
              <a:noFill/>
              <a:ln w="9525" cap="flat">
                <a:solidFill>
                  <a:schemeClr val="accent5"/>
                </a:solidFill>
                <a:prstDash val="solid"/>
                <a:miter/>
              </a:ln>
            </p:spPr>
            <p:txBody>
              <a:bodyPr rtlCol="0" anchor="ctr"/>
              <a:lstStyle/>
              <a:p>
                <a:endParaRPr lang="sv-SE"/>
              </a:p>
            </p:txBody>
          </p:sp>
          <p:sp>
            <p:nvSpPr>
              <p:cNvPr id="106" name="Freeform 105">
                <a:extLst>
                  <a:ext uri="{FF2B5EF4-FFF2-40B4-BE49-F238E27FC236}">
                    <a16:creationId xmlns:a16="http://schemas.microsoft.com/office/drawing/2014/main" id="{BC3EA666-5CF3-88CC-30E4-E04FA4622C69}"/>
                  </a:ext>
                </a:extLst>
              </p:cNvPr>
              <p:cNvSpPr/>
              <p:nvPr/>
            </p:nvSpPr>
            <p:spPr>
              <a:xfrm>
                <a:off x="-3801906" y="7860918"/>
                <a:ext cx="202523" cy="1113776"/>
              </a:xfrm>
              <a:custGeom>
                <a:avLst/>
                <a:gdLst>
                  <a:gd name="connsiteX0" fmla="*/ 0 w 202523"/>
                  <a:gd name="connsiteY0" fmla="*/ 0 h 1113776"/>
                  <a:gd name="connsiteX1" fmla="*/ 202524 w 202523"/>
                  <a:gd name="connsiteY1" fmla="*/ 1113777 h 1113776"/>
                </a:gdLst>
                <a:ahLst/>
                <a:cxnLst>
                  <a:cxn ang="0">
                    <a:pos x="connsiteX0" y="connsiteY0"/>
                  </a:cxn>
                  <a:cxn ang="0">
                    <a:pos x="connsiteX1" y="connsiteY1"/>
                  </a:cxn>
                </a:cxnLst>
                <a:rect l="l" t="t" r="r" b="b"/>
                <a:pathLst>
                  <a:path w="202523" h="1113776">
                    <a:moveTo>
                      <a:pt x="0" y="0"/>
                    </a:moveTo>
                    <a:cubicBezTo>
                      <a:pt x="111847" y="0"/>
                      <a:pt x="202524" y="1001929"/>
                      <a:pt x="202524" y="1113777"/>
                    </a:cubicBezTo>
                  </a:path>
                </a:pathLst>
              </a:custGeom>
              <a:noFill/>
              <a:ln w="9525" cap="flat">
                <a:solidFill>
                  <a:schemeClr val="accent5"/>
                </a:solidFill>
                <a:prstDash val="solid"/>
                <a:miter/>
              </a:ln>
            </p:spPr>
            <p:txBody>
              <a:bodyPr rtlCol="0" anchor="ctr"/>
              <a:lstStyle/>
              <a:p>
                <a:endParaRPr lang="sv-SE"/>
              </a:p>
            </p:txBody>
          </p:sp>
          <p:sp>
            <p:nvSpPr>
              <p:cNvPr id="107" name="Freeform 106">
                <a:extLst>
                  <a:ext uri="{FF2B5EF4-FFF2-40B4-BE49-F238E27FC236}">
                    <a16:creationId xmlns:a16="http://schemas.microsoft.com/office/drawing/2014/main" id="{C42B9438-808C-BE2C-298C-1BF7B5236A8B}"/>
                  </a:ext>
                </a:extLst>
              </p:cNvPr>
              <p:cNvSpPr/>
              <p:nvPr/>
            </p:nvSpPr>
            <p:spPr>
              <a:xfrm>
                <a:off x="-3801596" y="8001270"/>
                <a:ext cx="1113467" cy="974561"/>
              </a:xfrm>
              <a:custGeom>
                <a:avLst/>
                <a:gdLst>
                  <a:gd name="connsiteX0" fmla="*/ 0 w 1113467"/>
                  <a:gd name="connsiteY0" fmla="*/ 0 h 974561"/>
                  <a:gd name="connsiteX1" fmla="*/ 1113467 w 1113467"/>
                  <a:gd name="connsiteY1" fmla="*/ 974561 h 974561"/>
                </a:gdLst>
                <a:ahLst/>
                <a:cxnLst>
                  <a:cxn ang="0">
                    <a:pos x="connsiteX0" y="connsiteY0"/>
                  </a:cxn>
                  <a:cxn ang="0">
                    <a:pos x="connsiteX1" y="connsiteY1"/>
                  </a:cxn>
                </a:cxnLst>
                <a:rect l="l" t="t" r="r" b="b"/>
                <a:pathLst>
                  <a:path w="1113467" h="974561">
                    <a:moveTo>
                      <a:pt x="0" y="0"/>
                    </a:moveTo>
                    <a:cubicBezTo>
                      <a:pt x="538221" y="0"/>
                      <a:pt x="1113467" y="436340"/>
                      <a:pt x="1113467" y="974561"/>
                    </a:cubicBezTo>
                  </a:path>
                </a:pathLst>
              </a:custGeom>
              <a:noFill/>
              <a:ln w="9525" cap="flat">
                <a:solidFill>
                  <a:schemeClr val="accent5"/>
                </a:solidFill>
                <a:prstDash val="solid"/>
                <a:miter/>
              </a:ln>
            </p:spPr>
            <p:txBody>
              <a:bodyPr rtlCol="0" anchor="ctr"/>
              <a:lstStyle/>
              <a:p>
                <a:endParaRPr lang="sv-SE"/>
              </a:p>
            </p:txBody>
          </p:sp>
          <p:sp>
            <p:nvSpPr>
              <p:cNvPr id="108" name="Freeform 107">
                <a:extLst>
                  <a:ext uri="{FF2B5EF4-FFF2-40B4-BE49-F238E27FC236}">
                    <a16:creationId xmlns:a16="http://schemas.microsoft.com/office/drawing/2014/main" id="{A2BAC48D-23BE-9642-710C-8CDC541D7278}"/>
                  </a:ext>
                </a:extLst>
              </p:cNvPr>
              <p:cNvSpPr/>
              <p:nvPr/>
            </p:nvSpPr>
            <p:spPr>
              <a:xfrm>
                <a:off x="-3801235" y="8141570"/>
                <a:ext cx="1113105" cy="835345"/>
              </a:xfrm>
              <a:custGeom>
                <a:avLst/>
                <a:gdLst>
                  <a:gd name="connsiteX0" fmla="*/ 0 w 1113105"/>
                  <a:gd name="connsiteY0" fmla="*/ 0 h 835345"/>
                  <a:gd name="connsiteX1" fmla="*/ 1113106 w 1113105"/>
                  <a:gd name="connsiteY1" fmla="*/ 835346 h 835345"/>
                </a:gdLst>
                <a:ahLst/>
                <a:cxnLst>
                  <a:cxn ang="0">
                    <a:pos x="connsiteX0" y="connsiteY0"/>
                  </a:cxn>
                  <a:cxn ang="0">
                    <a:pos x="connsiteX1" y="connsiteY1"/>
                  </a:cxn>
                </a:cxnLst>
                <a:rect l="l" t="t" r="r" b="b"/>
                <a:pathLst>
                  <a:path w="1113105" h="835345">
                    <a:moveTo>
                      <a:pt x="0" y="0"/>
                    </a:moveTo>
                    <a:cubicBezTo>
                      <a:pt x="461333" y="0"/>
                      <a:pt x="1113106" y="374013"/>
                      <a:pt x="1113106" y="835346"/>
                    </a:cubicBezTo>
                  </a:path>
                </a:pathLst>
              </a:custGeom>
              <a:noFill/>
              <a:ln w="9525" cap="flat">
                <a:solidFill>
                  <a:schemeClr val="accent5"/>
                </a:solidFill>
                <a:prstDash val="solid"/>
                <a:miter/>
              </a:ln>
            </p:spPr>
            <p:txBody>
              <a:bodyPr rtlCol="0" anchor="ctr"/>
              <a:lstStyle/>
              <a:p>
                <a:endParaRPr lang="sv-SE"/>
              </a:p>
            </p:txBody>
          </p:sp>
          <p:sp>
            <p:nvSpPr>
              <p:cNvPr id="109" name="Freeform 108">
                <a:extLst>
                  <a:ext uri="{FF2B5EF4-FFF2-40B4-BE49-F238E27FC236}">
                    <a16:creationId xmlns:a16="http://schemas.microsoft.com/office/drawing/2014/main" id="{2BE73E25-7588-F987-AADE-97277F9F4449}"/>
                  </a:ext>
                </a:extLst>
              </p:cNvPr>
              <p:cNvSpPr/>
              <p:nvPr/>
            </p:nvSpPr>
            <p:spPr>
              <a:xfrm>
                <a:off x="-3800925" y="8281921"/>
                <a:ext cx="1112795" cy="696129"/>
              </a:xfrm>
              <a:custGeom>
                <a:avLst/>
                <a:gdLst>
                  <a:gd name="connsiteX0" fmla="*/ 0 w 1112795"/>
                  <a:gd name="connsiteY0" fmla="*/ 0 h 696129"/>
                  <a:gd name="connsiteX1" fmla="*/ 1112796 w 1112795"/>
                  <a:gd name="connsiteY1" fmla="*/ 696130 h 696129"/>
                </a:gdLst>
                <a:ahLst/>
                <a:cxnLst>
                  <a:cxn ang="0">
                    <a:pos x="connsiteX0" y="connsiteY0"/>
                  </a:cxn>
                  <a:cxn ang="0">
                    <a:pos x="connsiteX1" y="connsiteY1"/>
                  </a:cxn>
                </a:cxnLst>
                <a:rect l="l" t="t" r="r" b="b"/>
                <a:pathLst>
                  <a:path w="1112795" h="696129">
                    <a:moveTo>
                      <a:pt x="0" y="0"/>
                    </a:moveTo>
                    <a:cubicBezTo>
                      <a:pt x="384444" y="0"/>
                      <a:pt x="1112796" y="311634"/>
                      <a:pt x="1112796" y="696130"/>
                    </a:cubicBezTo>
                  </a:path>
                </a:pathLst>
              </a:custGeom>
              <a:noFill/>
              <a:ln w="9525" cap="flat">
                <a:solidFill>
                  <a:schemeClr val="accent5"/>
                </a:solidFill>
                <a:prstDash val="solid"/>
                <a:miter/>
              </a:ln>
            </p:spPr>
            <p:txBody>
              <a:bodyPr rtlCol="0" anchor="ctr"/>
              <a:lstStyle/>
              <a:p>
                <a:endParaRPr lang="sv-SE"/>
              </a:p>
            </p:txBody>
          </p:sp>
          <p:sp>
            <p:nvSpPr>
              <p:cNvPr id="110" name="Freeform 109">
                <a:extLst>
                  <a:ext uri="{FF2B5EF4-FFF2-40B4-BE49-F238E27FC236}">
                    <a16:creationId xmlns:a16="http://schemas.microsoft.com/office/drawing/2014/main" id="{0D8AE07A-E042-90D4-83D4-603D31169398}"/>
                  </a:ext>
                </a:extLst>
              </p:cNvPr>
              <p:cNvSpPr/>
              <p:nvPr/>
            </p:nvSpPr>
            <p:spPr>
              <a:xfrm>
                <a:off x="-3800615" y="8422273"/>
                <a:ext cx="1112485" cy="556862"/>
              </a:xfrm>
              <a:custGeom>
                <a:avLst/>
                <a:gdLst>
                  <a:gd name="connsiteX0" fmla="*/ 0 w 1112485"/>
                  <a:gd name="connsiteY0" fmla="*/ 0 h 556862"/>
                  <a:gd name="connsiteX1" fmla="*/ 1112486 w 1112485"/>
                  <a:gd name="connsiteY1" fmla="*/ 556863 h 556862"/>
                </a:gdLst>
                <a:ahLst/>
                <a:cxnLst>
                  <a:cxn ang="0">
                    <a:pos x="connsiteX0" y="connsiteY0"/>
                  </a:cxn>
                  <a:cxn ang="0">
                    <a:pos x="connsiteX1" y="connsiteY1"/>
                  </a:cxn>
                </a:cxnLst>
                <a:rect l="l" t="t" r="r" b="b"/>
                <a:pathLst>
                  <a:path w="1112485" h="556862">
                    <a:moveTo>
                      <a:pt x="0" y="0"/>
                    </a:moveTo>
                    <a:cubicBezTo>
                      <a:pt x="307555" y="0"/>
                      <a:pt x="1112486" y="249308"/>
                      <a:pt x="1112486" y="556863"/>
                    </a:cubicBezTo>
                  </a:path>
                </a:pathLst>
              </a:custGeom>
              <a:noFill/>
              <a:ln w="9525" cap="flat">
                <a:solidFill>
                  <a:schemeClr val="accent5"/>
                </a:solidFill>
                <a:prstDash val="solid"/>
                <a:miter/>
              </a:ln>
            </p:spPr>
            <p:txBody>
              <a:bodyPr rtlCol="0" anchor="ctr"/>
              <a:lstStyle/>
              <a:p>
                <a:endParaRPr lang="sv-SE"/>
              </a:p>
            </p:txBody>
          </p:sp>
          <p:sp>
            <p:nvSpPr>
              <p:cNvPr id="111" name="Freeform 110">
                <a:extLst>
                  <a:ext uri="{FF2B5EF4-FFF2-40B4-BE49-F238E27FC236}">
                    <a16:creationId xmlns:a16="http://schemas.microsoft.com/office/drawing/2014/main" id="{C4D50C7F-C356-CA10-0846-2D3F4F8D1DC1}"/>
                  </a:ext>
                </a:extLst>
              </p:cNvPr>
              <p:cNvSpPr/>
              <p:nvPr/>
            </p:nvSpPr>
            <p:spPr>
              <a:xfrm>
                <a:off x="-3800305" y="8562625"/>
                <a:ext cx="1112176" cy="417646"/>
              </a:xfrm>
              <a:custGeom>
                <a:avLst/>
                <a:gdLst>
                  <a:gd name="connsiteX0" fmla="*/ 0 w 1112176"/>
                  <a:gd name="connsiteY0" fmla="*/ 0 h 417646"/>
                  <a:gd name="connsiteX1" fmla="*/ 1112176 w 1112176"/>
                  <a:gd name="connsiteY1" fmla="*/ 417647 h 417646"/>
                </a:gdLst>
                <a:ahLst/>
                <a:cxnLst>
                  <a:cxn ang="0">
                    <a:pos x="connsiteX0" y="connsiteY0"/>
                  </a:cxn>
                  <a:cxn ang="0">
                    <a:pos x="connsiteX1" y="connsiteY1"/>
                  </a:cxn>
                </a:cxnLst>
                <a:rect l="l" t="t" r="r" b="b"/>
                <a:pathLst>
                  <a:path w="1112176" h="417646">
                    <a:moveTo>
                      <a:pt x="0" y="0"/>
                    </a:moveTo>
                    <a:cubicBezTo>
                      <a:pt x="230667" y="0"/>
                      <a:pt x="1112176" y="186981"/>
                      <a:pt x="1112176" y="417647"/>
                    </a:cubicBezTo>
                  </a:path>
                </a:pathLst>
              </a:custGeom>
              <a:noFill/>
              <a:ln w="9525" cap="flat">
                <a:solidFill>
                  <a:schemeClr val="accent5"/>
                </a:solidFill>
                <a:prstDash val="solid"/>
                <a:miter/>
              </a:ln>
            </p:spPr>
            <p:txBody>
              <a:bodyPr rtlCol="0" anchor="ctr"/>
              <a:lstStyle/>
              <a:p>
                <a:endParaRPr lang="sv-SE"/>
              </a:p>
            </p:txBody>
          </p:sp>
          <p:sp>
            <p:nvSpPr>
              <p:cNvPr id="112" name="Freeform 111">
                <a:extLst>
                  <a:ext uri="{FF2B5EF4-FFF2-40B4-BE49-F238E27FC236}">
                    <a16:creationId xmlns:a16="http://schemas.microsoft.com/office/drawing/2014/main" id="{2013B688-5BE5-5D31-D199-9CD283F598A7}"/>
                  </a:ext>
                </a:extLst>
              </p:cNvPr>
              <p:cNvSpPr/>
              <p:nvPr/>
            </p:nvSpPr>
            <p:spPr>
              <a:xfrm>
                <a:off x="-3799944" y="8702925"/>
                <a:ext cx="1111814" cy="278431"/>
              </a:xfrm>
              <a:custGeom>
                <a:avLst/>
                <a:gdLst>
                  <a:gd name="connsiteX0" fmla="*/ 0 w 1111814"/>
                  <a:gd name="connsiteY0" fmla="*/ 0 h 278431"/>
                  <a:gd name="connsiteX1" fmla="*/ 1111815 w 1111814"/>
                  <a:gd name="connsiteY1" fmla="*/ 278431 h 278431"/>
                </a:gdLst>
                <a:ahLst/>
                <a:cxnLst>
                  <a:cxn ang="0">
                    <a:pos x="connsiteX0" y="connsiteY0"/>
                  </a:cxn>
                  <a:cxn ang="0">
                    <a:pos x="connsiteX1" y="connsiteY1"/>
                  </a:cxn>
                </a:cxnLst>
                <a:rect l="l" t="t" r="r" b="b"/>
                <a:pathLst>
                  <a:path w="1111814" h="278431">
                    <a:moveTo>
                      <a:pt x="0" y="0"/>
                    </a:moveTo>
                    <a:cubicBezTo>
                      <a:pt x="153777" y="0"/>
                      <a:pt x="1111815" y="124654"/>
                      <a:pt x="1111815" y="278431"/>
                    </a:cubicBezTo>
                  </a:path>
                </a:pathLst>
              </a:custGeom>
              <a:noFill/>
              <a:ln w="9525" cap="flat">
                <a:solidFill>
                  <a:schemeClr val="accent5"/>
                </a:solidFill>
                <a:prstDash val="solid"/>
                <a:miter/>
              </a:ln>
            </p:spPr>
            <p:txBody>
              <a:bodyPr rtlCol="0" anchor="ctr"/>
              <a:lstStyle/>
              <a:p>
                <a:endParaRPr lang="sv-SE"/>
              </a:p>
            </p:txBody>
          </p:sp>
          <p:sp>
            <p:nvSpPr>
              <p:cNvPr id="113" name="Freeform 112">
                <a:extLst>
                  <a:ext uri="{FF2B5EF4-FFF2-40B4-BE49-F238E27FC236}">
                    <a16:creationId xmlns:a16="http://schemas.microsoft.com/office/drawing/2014/main" id="{91F6570D-37D7-AD63-FCA4-546F74CACC8D}"/>
                  </a:ext>
                </a:extLst>
              </p:cNvPr>
              <p:cNvSpPr/>
              <p:nvPr/>
            </p:nvSpPr>
            <p:spPr>
              <a:xfrm>
                <a:off x="-3799634" y="8843277"/>
                <a:ext cx="1111504" cy="139215"/>
              </a:xfrm>
              <a:custGeom>
                <a:avLst/>
                <a:gdLst>
                  <a:gd name="connsiteX0" fmla="*/ 0 w 1111504"/>
                  <a:gd name="connsiteY0" fmla="*/ 0 h 139215"/>
                  <a:gd name="connsiteX1" fmla="*/ 1111505 w 1111504"/>
                  <a:gd name="connsiteY1" fmla="*/ 139216 h 139215"/>
                </a:gdLst>
                <a:ahLst/>
                <a:cxnLst>
                  <a:cxn ang="0">
                    <a:pos x="connsiteX0" y="connsiteY0"/>
                  </a:cxn>
                  <a:cxn ang="0">
                    <a:pos x="connsiteX1" y="connsiteY1"/>
                  </a:cxn>
                </a:cxnLst>
                <a:rect l="l" t="t" r="r" b="b"/>
                <a:pathLst>
                  <a:path w="1111504" h="139215">
                    <a:moveTo>
                      <a:pt x="0" y="0"/>
                    </a:moveTo>
                    <a:cubicBezTo>
                      <a:pt x="76889" y="0"/>
                      <a:pt x="1111505" y="62327"/>
                      <a:pt x="1111505" y="139216"/>
                    </a:cubicBezTo>
                  </a:path>
                </a:pathLst>
              </a:custGeom>
              <a:noFill/>
              <a:ln w="9525" cap="flat">
                <a:solidFill>
                  <a:schemeClr val="accent5"/>
                </a:solidFill>
                <a:prstDash val="solid"/>
                <a:miter/>
              </a:ln>
            </p:spPr>
            <p:txBody>
              <a:bodyPr rtlCol="0" anchor="ctr"/>
              <a:lstStyle/>
              <a:p>
                <a:endParaRPr lang="sv-SE"/>
              </a:p>
            </p:txBody>
          </p:sp>
          <p:sp>
            <p:nvSpPr>
              <p:cNvPr id="114" name="Freeform 113">
                <a:extLst>
                  <a:ext uri="{FF2B5EF4-FFF2-40B4-BE49-F238E27FC236}">
                    <a16:creationId xmlns:a16="http://schemas.microsoft.com/office/drawing/2014/main" id="{36E0B79C-1C3E-171F-8644-50DDBC2A9BC8}"/>
                  </a:ext>
                </a:extLst>
              </p:cNvPr>
              <p:cNvSpPr/>
              <p:nvPr/>
            </p:nvSpPr>
            <p:spPr>
              <a:xfrm>
                <a:off x="-3799789" y="9031342"/>
                <a:ext cx="1111504" cy="121813"/>
              </a:xfrm>
              <a:custGeom>
                <a:avLst/>
                <a:gdLst>
                  <a:gd name="connsiteX0" fmla="*/ 0 w 1111504"/>
                  <a:gd name="connsiteY0" fmla="*/ 0 h 121813"/>
                  <a:gd name="connsiteX1" fmla="*/ 1111505 w 1111504"/>
                  <a:gd name="connsiteY1" fmla="*/ 121814 h 121813"/>
                </a:gdLst>
                <a:ahLst/>
                <a:cxnLst>
                  <a:cxn ang="0">
                    <a:pos x="connsiteX0" y="connsiteY0"/>
                  </a:cxn>
                  <a:cxn ang="0">
                    <a:pos x="connsiteX1" y="connsiteY1"/>
                  </a:cxn>
                </a:cxnLst>
                <a:rect l="l" t="t" r="r" b="b"/>
                <a:pathLst>
                  <a:path w="1111504" h="121813">
                    <a:moveTo>
                      <a:pt x="0" y="0"/>
                    </a:moveTo>
                    <a:cubicBezTo>
                      <a:pt x="76889" y="0"/>
                      <a:pt x="1111505" y="54530"/>
                      <a:pt x="1111505" y="121814"/>
                    </a:cubicBezTo>
                  </a:path>
                </a:pathLst>
              </a:custGeom>
              <a:noFill/>
              <a:ln w="9525" cap="flat">
                <a:solidFill>
                  <a:schemeClr val="accent5"/>
                </a:solidFill>
                <a:prstDash val="solid"/>
                <a:miter/>
              </a:ln>
            </p:spPr>
            <p:txBody>
              <a:bodyPr rtlCol="0" anchor="ctr"/>
              <a:lstStyle/>
              <a:p>
                <a:endParaRPr lang="sv-SE"/>
              </a:p>
            </p:txBody>
          </p:sp>
          <p:sp>
            <p:nvSpPr>
              <p:cNvPr id="115" name="Freeform 114">
                <a:extLst>
                  <a:ext uri="{FF2B5EF4-FFF2-40B4-BE49-F238E27FC236}">
                    <a16:creationId xmlns:a16="http://schemas.microsoft.com/office/drawing/2014/main" id="{D5303A11-4880-2598-8D8C-92EBB24C9A27}"/>
                  </a:ext>
                </a:extLst>
              </p:cNvPr>
              <p:cNvSpPr/>
              <p:nvPr/>
            </p:nvSpPr>
            <p:spPr>
              <a:xfrm>
                <a:off x="-3799944" y="9219407"/>
                <a:ext cx="1111504" cy="104411"/>
              </a:xfrm>
              <a:custGeom>
                <a:avLst/>
                <a:gdLst>
                  <a:gd name="connsiteX0" fmla="*/ 0 w 1111504"/>
                  <a:gd name="connsiteY0" fmla="*/ 0 h 104411"/>
                  <a:gd name="connsiteX1" fmla="*/ 1111505 w 1111504"/>
                  <a:gd name="connsiteY1" fmla="*/ 104412 h 104411"/>
                </a:gdLst>
                <a:ahLst/>
                <a:cxnLst>
                  <a:cxn ang="0">
                    <a:pos x="connsiteX0" y="connsiteY0"/>
                  </a:cxn>
                  <a:cxn ang="0">
                    <a:pos x="connsiteX1" y="connsiteY1"/>
                  </a:cxn>
                </a:cxnLst>
                <a:rect l="l" t="t" r="r" b="b"/>
                <a:pathLst>
                  <a:path w="1111504" h="104411">
                    <a:moveTo>
                      <a:pt x="0" y="0"/>
                    </a:moveTo>
                    <a:cubicBezTo>
                      <a:pt x="76889" y="0"/>
                      <a:pt x="1111505" y="46732"/>
                      <a:pt x="1111505" y="104412"/>
                    </a:cubicBezTo>
                  </a:path>
                </a:pathLst>
              </a:custGeom>
              <a:noFill/>
              <a:ln w="9525" cap="flat">
                <a:solidFill>
                  <a:schemeClr val="accent5"/>
                </a:solidFill>
                <a:prstDash val="solid"/>
                <a:miter/>
              </a:ln>
            </p:spPr>
            <p:txBody>
              <a:bodyPr rtlCol="0" anchor="ctr"/>
              <a:lstStyle/>
              <a:p>
                <a:endParaRPr lang="sv-SE"/>
              </a:p>
            </p:txBody>
          </p:sp>
          <p:sp>
            <p:nvSpPr>
              <p:cNvPr id="116" name="Freeform 115">
                <a:extLst>
                  <a:ext uri="{FF2B5EF4-FFF2-40B4-BE49-F238E27FC236}">
                    <a16:creationId xmlns:a16="http://schemas.microsoft.com/office/drawing/2014/main" id="{10DEF56E-1BAE-C515-FBBB-EAC4C54094A4}"/>
                  </a:ext>
                </a:extLst>
              </p:cNvPr>
              <p:cNvSpPr/>
              <p:nvPr/>
            </p:nvSpPr>
            <p:spPr>
              <a:xfrm>
                <a:off x="-3800047" y="9407472"/>
                <a:ext cx="1111505" cy="87009"/>
              </a:xfrm>
              <a:custGeom>
                <a:avLst/>
                <a:gdLst>
                  <a:gd name="connsiteX0" fmla="*/ 0 w 1111505"/>
                  <a:gd name="connsiteY0" fmla="*/ 0 h 87009"/>
                  <a:gd name="connsiteX1" fmla="*/ 1111505 w 1111505"/>
                  <a:gd name="connsiteY1" fmla="*/ 87010 h 87009"/>
                </a:gdLst>
                <a:ahLst/>
                <a:cxnLst>
                  <a:cxn ang="0">
                    <a:pos x="connsiteX0" y="connsiteY0"/>
                  </a:cxn>
                  <a:cxn ang="0">
                    <a:pos x="connsiteX1" y="connsiteY1"/>
                  </a:cxn>
                </a:cxnLst>
                <a:rect l="l" t="t" r="r" b="b"/>
                <a:pathLst>
                  <a:path w="1111505" h="87009">
                    <a:moveTo>
                      <a:pt x="0" y="0"/>
                    </a:moveTo>
                    <a:cubicBezTo>
                      <a:pt x="76889" y="0"/>
                      <a:pt x="1111505" y="38935"/>
                      <a:pt x="1111505" y="87010"/>
                    </a:cubicBezTo>
                  </a:path>
                </a:pathLst>
              </a:custGeom>
              <a:noFill/>
              <a:ln w="9525" cap="flat">
                <a:solidFill>
                  <a:schemeClr val="accent5"/>
                </a:solidFill>
                <a:prstDash val="solid"/>
                <a:miter/>
              </a:ln>
            </p:spPr>
            <p:txBody>
              <a:bodyPr rtlCol="0" anchor="ctr"/>
              <a:lstStyle/>
              <a:p>
                <a:endParaRPr lang="sv-SE"/>
              </a:p>
            </p:txBody>
          </p:sp>
          <p:sp>
            <p:nvSpPr>
              <p:cNvPr id="117" name="Freeform 116">
                <a:extLst>
                  <a:ext uri="{FF2B5EF4-FFF2-40B4-BE49-F238E27FC236}">
                    <a16:creationId xmlns:a16="http://schemas.microsoft.com/office/drawing/2014/main" id="{75F17FB1-A05C-8A10-83ED-1B794D67FF42}"/>
                  </a:ext>
                </a:extLst>
              </p:cNvPr>
              <p:cNvSpPr/>
              <p:nvPr/>
            </p:nvSpPr>
            <p:spPr>
              <a:xfrm>
                <a:off x="-3800202" y="9595537"/>
                <a:ext cx="1111504" cy="69607"/>
              </a:xfrm>
              <a:custGeom>
                <a:avLst/>
                <a:gdLst>
                  <a:gd name="connsiteX0" fmla="*/ 0 w 1111504"/>
                  <a:gd name="connsiteY0" fmla="*/ 0 h 69607"/>
                  <a:gd name="connsiteX1" fmla="*/ 1111505 w 1111504"/>
                  <a:gd name="connsiteY1" fmla="*/ 69608 h 69607"/>
                </a:gdLst>
                <a:ahLst/>
                <a:cxnLst>
                  <a:cxn ang="0">
                    <a:pos x="connsiteX0" y="connsiteY0"/>
                  </a:cxn>
                  <a:cxn ang="0">
                    <a:pos x="connsiteX1" y="connsiteY1"/>
                  </a:cxn>
                </a:cxnLst>
                <a:rect l="l" t="t" r="r" b="b"/>
                <a:pathLst>
                  <a:path w="1111504" h="69607">
                    <a:moveTo>
                      <a:pt x="0" y="0"/>
                    </a:moveTo>
                    <a:cubicBezTo>
                      <a:pt x="76889" y="0"/>
                      <a:pt x="1111505" y="31189"/>
                      <a:pt x="1111505" y="69608"/>
                    </a:cubicBezTo>
                  </a:path>
                </a:pathLst>
              </a:custGeom>
              <a:noFill/>
              <a:ln w="9525" cap="flat">
                <a:solidFill>
                  <a:schemeClr val="accent5"/>
                </a:solidFill>
                <a:prstDash val="solid"/>
                <a:miter/>
              </a:ln>
            </p:spPr>
            <p:txBody>
              <a:bodyPr rtlCol="0" anchor="ctr"/>
              <a:lstStyle/>
              <a:p>
                <a:endParaRPr lang="sv-SE"/>
              </a:p>
            </p:txBody>
          </p:sp>
          <p:sp>
            <p:nvSpPr>
              <p:cNvPr id="118" name="Freeform 117">
                <a:extLst>
                  <a:ext uri="{FF2B5EF4-FFF2-40B4-BE49-F238E27FC236}">
                    <a16:creationId xmlns:a16="http://schemas.microsoft.com/office/drawing/2014/main" id="{64AA383D-3E9E-75C7-B3E0-F329F6365480}"/>
                  </a:ext>
                </a:extLst>
              </p:cNvPr>
              <p:cNvSpPr/>
              <p:nvPr/>
            </p:nvSpPr>
            <p:spPr>
              <a:xfrm>
                <a:off x="-3800357" y="9783602"/>
                <a:ext cx="1111504" cy="52205"/>
              </a:xfrm>
              <a:custGeom>
                <a:avLst/>
                <a:gdLst>
                  <a:gd name="connsiteX0" fmla="*/ 0 w 1111504"/>
                  <a:gd name="connsiteY0" fmla="*/ 0 h 52205"/>
                  <a:gd name="connsiteX1" fmla="*/ 1111505 w 1111504"/>
                  <a:gd name="connsiteY1" fmla="*/ 52206 h 52205"/>
                </a:gdLst>
                <a:ahLst/>
                <a:cxnLst>
                  <a:cxn ang="0">
                    <a:pos x="connsiteX0" y="connsiteY0"/>
                  </a:cxn>
                  <a:cxn ang="0">
                    <a:pos x="connsiteX1" y="connsiteY1"/>
                  </a:cxn>
                </a:cxnLst>
                <a:rect l="l" t="t" r="r" b="b"/>
                <a:pathLst>
                  <a:path w="1111504" h="52205">
                    <a:moveTo>
                      <a:pt x="0" y="0"/>
                    </a:moveTo>
                    <a:cubicBezTo>
                      <a:pt x="76889" y="0"/>
                      <a:pt x="1111505" y="23392"/>
                      <a:pt x="1111505" y="52206"/>
                    </a:cubicBezTo>
                  </a:path>
                </a:pathLst>
              </a:custGeom>
              <a:noFill/>
              <a:ln w="9525" cap="flat">
                <a:solidFill>
                  <a:schemeClr val="accent5"/>
                </a:solidFill>
                <a:prstDash val="solid"/>
                <a:miter/>
              </a:ln>
            </p:spPr>
            <p:txBody>
              <a:bodyPr rtlCol="0" anchor="ctr"/>
              <a:lstStyle/>
              <a:p>
                <a:endParaRPr lang="sv-SE"/>
              </a:p>
            </p:txBody>
          </p:sp>
          <p:sp>
            <p:nvSpPr>
              <p:cNvPr id="119" name="Freeform 118">
                <a:extLst>
                  <a:ext uri="{FF2B5EF4-FFF2-40B4-BE49-F238E27FC236}">
                    <a16:creationId xmlns:a16="http://schemas.microsoft.com/office/drawing/2014/main" id="{4669C62F-6979-0E02-26E3-8E3EA01EB348}"/>
                  </a:ext>
                </a:extLst>
              </p:cNvPr>
              <p:cNvSpPr/>
              <p:nvPr/>
            </p:nvSpPr>
            <p:spPr>
              <a:xfrm>
                <a:off x="-3800512" y="9971667"/>
                <a:ext cx="1111504" cy="34803"/>
              </a:xfrm>
              <a:custGeom>
                <a:avLst/>
                <a:gdLst>
                  <a:gd name="connsiteX0" fmla="*/ 0 w 1111504"/>
                  <a:gd name="connsiteY0" fmla="*/ 0 h 34803"/>
                  <a:gd name="connsiteX1" fmla="*/ 1111505 w 1111504"/>
                  <a:gd name="connsiteY1" fmla="*/ 34804 h 34803"/>
                </a:gdLst>
                <a:ahLst/>
                <a:cxnLst>
                  <a:cxn ang="0">
                    <a:pos x="connsiteX0" y="connsiteY0"/>
                  </a:cxn>
                  <a:cxn ang="0">
                    <a:pos x="connsiteX1" y="connsiteY1"/>
                  </a:cxn>
                </a:cxnLst>
                <a:rect l="l" t="t" r="r" b="b"/>
                <a:pathLst>
                  <a:path w="1111504" h="34803">
                    <a:moveTo>
                      <a:pt x="0" y="0"/>
                    </a:moveTo>
                    <a:cubicBezTo>
                      <a:pt x="76889" y="0"/>
                      <a:pt x="1111505" y="15595"/>
                      <a:pt x="1111505" y="34804"/>
                    </a:cubicBezTo>
                  </a:path>
                </a:pathLst>
              </a:custGeom>
              <a:noFill/>
              <a:ln w="9525" cap="flat">
                <a:solidFill>
                  <a:schemeClr val="accent5"/>
                </a:solidFill>
                <a:prstDash val="solid"/>
                <a:miter/>
              </a:ln>
            </p:spPr>
            <p:txBody>
              <a:bodyPr rtlCol="0" anchor="ctr"/>
              <a:lstStyle/>
              <a:p>
                <a:endParaRPr lang="sv-SE"/>
              </a:p>
            </p:txBody>
          </p:sp>
          <p:sp>
            <p:nvSpPr>
              <p:cNvPr id="120" name="Freeform 119">
                <a:extLst>
                  <a:ext uri="{FF2B5EF4-FFF2-40B4-BE49-F238E27FC236}">
                    <a16:creationId xmlns:a16="http://schemas.microsoft.com/office/drawing/2014/main" id="{CB1EDFB5-D9EA-AC12-B0E3-846533D654EA}"/>
                  </a:ext>
                </a:extLst>
              </p:cNvPr>
              <p:cNvSpPr/>
              <p:nvPr/>
            </p:nvSpPr>
            <p:spPr>
              <a:xfrm>
                <a:off x="-3800615" y="10159732"/>
                <a:ext cx="1111505" cy="17401"/>
              </a:xfrm>
              <a:custGeom>
                <a:avLst/>
                <a:gdLst>
                  <a:gd name="connsiteX0" fmla="*/ 0 w 1111505"/>
                  <a:gd name="connsiteY0" fmla="*/ 0 h 17401"/>
                  <a:gd name="connsiteX1" fmla="*/ 1111505 w 1111505"/>
                  <a:gd name="connsiteY1" fmla="*/ 17402 h 17401"/>
                </a:gdLst>
                <a:ahLst/>
                <a:cxnLst>
                  <a:cxn ang="0">
                    <a:pos x="connsiteX0" y="connsiteY0"/>
                  </a:cxn>
                  <a:cxn ang="0">
                    <a:pos x="connsiteX1" y="connsiteY1"/>
                  </a:cxn>
                </a:cxnLst>
                <a:rect l="l" t="t" r="r" b="b"/>
                <a:pathLst>
                  <a:path w="1111505" h="17401">
                    <a:moveTo>
                      <a:pt x="0" y="0"/>
                    </a:moveTo>
                    <a:cubicBezTo>
                      <a:pt x="76889" y="0"/>
                      <a:pt x="1111505" y="7797"/>
                      <a:pt x="1111505" y="17402"/>
                    </a:cubicBezTo>
                  </a:path>
                </a:pathLst>
              </a:custGeom>
              <a:noFill/>
              <a:ln w="9525" cap="flat">
                <a:solidFill>
                  <a:schemeClr val="accent5"/>
                </a:solidFill>
                <a:prstDash val="solid"/>
                <a:miter/>
              </a:ln>
            </p:spPr>
            <p:txBody>
              <a:bodyPr rtlCol="0" anchor="ctr"/>
              <a:lstStyle/>
              <a:p>
                <a:endParaRPr lang="sv-SE"/>
              </a:p>
            </p:txBody>
          </p:sp>
          <p:sp>
            <p:nvSpPr>
              <p:cNvPr id="121" name="Freeform 120">
                <a:extLst>
                  <a:ext uri="{FF2B5EF4-FFF2-40B4-BE49-F238E27FC236}">
                    <a16:creationId xmlns:a16="http://schemas.microsoft.com/office/drawing/2014/main" id="{DE1599FD-0AC7-A80A-E5AA-6462433BC224}"/>
                  </a:ext>
                </a:extLst>
              </p:cNvPr>
              <p:cNvSpPr/>
              <p:nvPr/>
            </p:nvSpPr>
            <p:spPr>
              <a:xfrm>
                <a:off x="-3800770" y="10347746"/>
                <a:ext cx="1111504" cy="5163"/>
              </a:xfrm>
              <a:custGeom>
                <a:avLst/>
                <a:gdLst>
                  <a:gd name="connsiteX0" fmla="*/ 0 w 1111504"/>
                  <a:gd name="connsiteY0" fmla="*/ 0 h 5163"/>
                  <a:gd name="connsiteX1" fmla="*/ 1111505 w 1111504"/>
                  <a:gd name="connsiteY1" fmla="*/ 0 h 5163"/>
                </a:gdLst>
                <a:ahLst/>
                <a:cxnLst>
                  <a:cxn ang="0">
                    <a:pos x="connsiteX0" y="connsiteY0"/>
                  </a:cxn>
                  <a:cxn ang="0">
                    <a:pos x="connsiteX1" y="connsiteY1"/>
                  </a:cxn>
                </a:cxnLst>
                <a:rect l="l" t="t" r="r" b="b"/>
                <a:pathLst>
                  <a:path w="1111504" h="5163">
                    <a:moveTo>
                      <a:pt x="0" y="0"/>
                    </a:moveTo>
                    <a:lnTo>
                      <a:pt x="1111505" y="0"/>
                    </a:lnTo>
                  </a:path>
                </a:pathLst>
              </a:custGeom>
              <a:noFill/>
              <a:ln w="9525" cap="flat">
                <a:solidFill>
                  <a:schemeClr val="accent5"/>
                </a:solidFill>
                <a:prstDash val="solid"/>
                <a:miter/>
              </a:ln>
            </p:spPr>
            <p:txBody>
              <a:bodyPr rtlCol="0" anchor="ctr"/>
              <a:lstStyle/>
              <a:p>
                <a:endParaRPr lang="sv-SE"/>
              </a:p>
            </p:txBody>
          </p:sp>
          <p:sp>
            <p:nvSpPr>
              <p:cNvPr id="122" name="Freeform 121">
                <a:extLst>
                  <a:ext uri="{FF2B5EF4-FFF2-40B4-BE49-F238E27FC236}">
                    <a16:creationId xmlns:a16="http://schemas.microsoft.com/office/drawing/2014/main" id="{22668A46-8416-7289-9F72-3213DB4FC1A1}"/>
                  </a:ext>
                </a:extLst>
              </p:cNvPr>
              <p:cNvSpPr/>
              <p:nvPr/>
            </p:nvSpPr>
            <p:spPr>
              <a:xfrm>
                <a:off x="-3800925" y="10518409"/>
                <a:ext cx="1111504" cy="17401"/>
              </a:xfrm>
              <a:custGeom>
                <a:avLst/>
                <a:gdLst>
                  <a:gd name="connsiteX0" fmla="*/ 0 w 1111504"/>
                  <a:gd name="connsiteY0" fmla="*/ 17402 h 17401"/>
                  <a:gd name="connsiteX1" fmla="*/ 1111505 w 1111504"/>
                  <a:gd name="connsiteY1" fmla="*/ 0 h 17401"/>
                </a:gdLst>
                <a:ahLst/>
                <a:cxnLst>
                  <a:cxn ang="0">
                    <a:pos x="connsiteX0" y="connsiteY0"/>
                  </a:cxn>
                  <a:cxn ang="0">
                    <a:pos x="connsiteX1" y="connsiteY1"/>
                  </a:cxn>
                </a:cxnLst>
                <a:rect l="l" t="t" r="r" b="b"/>
                <a:pathLst>
                  <a:path w="1111504" h="17401">
                    <a:moveTo>
                      <a:pt x="0" y="17402"/>
                    </a:moveTo>
                    <a:cubicBezTo>
                      <a:pt x="76889" y="17402"/>
                      <a:pt x="1111505" y="9605"/>
                      <a:pt x="1111505" y="0"/>
                    </a:cubicBezTo>
                  </a:path>
                </a:pathLst>
              </a:custGeom>
              <a:noFill/>
              <a:ln w="9525" cap="flat">
                <a:solidFill>
                  <a:schemeClr val="accent5"/>
                </a:solidFill>
                <a:prstDash val="solid"/>
                <a:miter/>
              </a:ln>
            </p:spPr>
            <p:txBody>
              <a:bodyPr rtlCol="0" anchor="ctr"/>
              <a:lstStyle/>
              <a:p>
                <a:endParaRPr lang="sv-SE"/>
              </a:p>
            </p:txBody>
          </p:sp>
          <p:sp>
            <p:nvSpPr>
              <p:cNvPr id="123" name="Freeform 122">
                <a:extLst>
                  <a:ext uri="{FF2B5EF4-FFF2-40B4-BE49-F238E27FC236}">
                    <a16:creationId xmlns:a16="http://schemas.microsoft.com/office/drawing/2014/main" id="{0627BC2B-C4DF-ED94-94B0-CEDA659FFF57}"/>
                  </a:ext>
                </a:extLst>
              </p:cNvPr>
              <p:cNvSpPr/>
              <p:nvPr/>
            </p:nvSpPr>
            <p:spPr>
              <a:xfrm>
                <a:off x="-3801028" y="10689072"/>
                <a:ext cx="1111504" cy="34803"/>
              </a:xfrm>
              <a:custGeom>
                <a:avLst/>
                <a:gdLst>
                  <a:gd name="connsiteX0" fmla="*/ 0 w 1111504"/>
                  <a:gd name="connsiteY0" fmla="*/ 34804 h 34803"/>
                  <a:gd name="connsiteX1" fmla="*/ 1111505 w 1111504"/>
                  <a:gd name="connsiteY1" fmla="*/ 0 h 34803"/>
                </a:gdLst>
                <a:ahLst/>
                <a:cxnLst>
                  <a:cxn ang="0">
                    <a:pos x="connsiteX0" y="connsiteY0"/>
                  </a:cxn>
                  <a:cxn ang="0">
                    <a:pos x="connsiteX1" y="connsiteY1"/>
                  </a:cxn>
                </a:cxnLst>
                <a:rect l="l" t="t" r="r" b="b"/>
                <a:pathLst>
                  <a:path w="1111504" h="34803">
                    <a:moveTo>
                      <a:pt x="0" y="34804"/>
                    </a:moveTo>
                    <a:cubicBezTo>
                      <a:pt x="76889" y="34804"/>
                      <a:pt x="1111505" y="19209"/>
                      <a:pt x="1111505" y="0"/>
                    </a:cubicBezTo>
                  </a:path>
                </a:pathLst>
              </a:custGeom>
              <a:noFill/>
              <a:ln w="9525" cap="flat">
                <a:solidFill>
                  <a:schemeClr val="accent5"/>
                </a:solidFill>
                <a:prstDash val="solid"/>
                <a:miter/>
              </a:ln>
            </p:spPr>
            <p:txBody>
              <a:bodyPr rtlCol="0" anchor="ctr"/>
              <a:lstStyle/>
              <a:p>
                <a:endParaRPr lang="sv-SE"/>
              </a:p>
            </p:txBody>
          </p:sp>
          <p:sp>
            <p:nvSpPr>
              <p:cNvPr id="124" name="Freeform 123">
                <a:extLst>
                  <a:ext uri="{FF2B5EF4-FFF2-40B4-BE49-F238E27FC236}">
                    <a16:creationId xmlns:a16="http://schemas.microsoft.com/office/drawing/2014/main" id="{05D83B91-A88E-22B0-1B69-187CD26E82E7}"/>
                  </a:ext>
                </a:extLst>
              </p:cNvPr>
              <p:cNvSpPr/>
              <p:nvPr/>
            </p:nvSpPr>
            <p:spPr>
              <a:xfrm>
                <a:off x="-3801183" y="10859735"/>
                <a:ext cx="1111504" cy="52205"/>
              </a:xfrm>
              <a:custGeom>
                <a:avLst/>
                <a:gdLst>
                  <a:gd name="connsiteX0" fmla="*/ 0 w 1111504"/>
                  <a:gd name="connsiteY0" fmla="*/ 52206 h 52205"/>
                  <a:gd name="connsiteX1" fmla="*/ 1111505 w 1111504"/>
                  <a:gd name="connsiteY1" fmla="*/ 0 h 52205"/>
                </a:gdLst>
                <a:ahLst/>
                <a:cxnLst>
                  <a:cxn ang="0">
                    <a:pos x="connsiteX0" y="connsiteY0"/>
                  </a:cxn>
                  <a:cxn ang="0">
                    <a:pos x="connsiteX1" y="connsiteY1"/>
                  </a:cxn>
                </a:cxnLst>
                <a:rect l="l" t="t" r="r" b="b"/>
                <a:pathLst>
                  <a:path w="1111504" h="52205">
                    <a:moveTo>
                      <a:pt x="0" y="52206"/>
                    </a:moveTo>
                    <a:cubicBezTo>
                      <a:pt x="76889" y="52206"/>
                      <a:pt x="1111505" y="28814"/>
                      <a:pt x="1111505" y="0"/>
                    </a:cubicBezTo>
                  </a:path>
                </a:pathLst>
              </a:custGeom>
              <a:noFill/>
              <a:ln w="9525" cap="flat">
                <a:solidFill>
                  <a:schemeClr val="accent5"/>
                </a:solidFill>
                <a:prstDash val="solid"/>
                <a:miter/>
              </a:ln>
            </p:spPr>
            <p:txBody>
              <a:bodyPr rtlCol="0" anchor="ctr"/>
              <a:lstStyle/>
              <a:p>
                <a:endParaRPr lang="sv-SE"/>
              </a:p>
            </p:txBody>
          </p:sp>
          <p:sp>
            <p:nvSpPr>
              <p:cNvPr id="125" name="Freeform 124">
                <a:extLst>
                  <a:ext uri="{FF2B5EF4-FFF2-40B4-BE49-F238E27FC236}">
                    <a16:creationId xmlns:a16="http://schemas.microsoft.com/office/drawing/2014/main" id="{B72DC4D3-2B83-8FFB-CE75-FB9632134C54}"/>
                  </a:ext>
                </a:extLst>
              </p:cNvPr>
              <p:cNvSpPr/>
              <p:nvPr/>
            </p:nvSpPr>
            <p:spPr>
              <a:xfrm>
                <a:off x="-3801338" y="11030398"/>
                <a:ext cx="1111505" cy="69608"/>
              </a:xfrm>
              <a:custGeom>
                <a:avLst/>
                <a:gdLst>
                  <a:gd name="connsiteX0" fmla="*/ 0 w 1111505"/>
                  <a:gd name="connsiteY0" fmla="*/ 69608 h 69608"/>
                  <a:gd name="connsiteX1" fmla="*/ 1111505 w 1111505"/>
                  <a:gd name="connsiteY1" fmla="*/ 0 h 69608"/>
                </a:gdLst>
                <a:ahLst/>
                <a:cxnLst>
                  <a:cxn ang="0">
                    <a:pos x="connsiteX0" y="connsiteY0"/>
                  </a:cxn>
                  <a:cxn ang="0">
                    <a:pos x="connsiteX1" y="connsiteY1"/>
                  </a:cxn>
                </a:cxnLst>
                <a:rect l="l" t="t" r="r" b="b"/>
                <a:pathLst>
                  <a:path w="1111505" h="69608">
                    <a:moveTo>
                      <a:pt x="0" y="69608"/>
                    </a:moveTo>
                    <a:cubicBezTo>
                      <a:pt x="76889" y="69608"/>
                      <a:pt x="1111505" y="38419"/>
                      <a:pt x="1111505" y="0"/>
                    </a:cubicBezTo>
                  </a:path>
                </a:pathLst>
              </a:custGeom>
              <a:noFill/>
              <a:ln w="9525" cap="flat">
                <a:solidFill>
                  <a:schemeClr val="accent5"/>
                </a:solidFill>
                <a:prstDash val="solid"/>
                <a:miter/>
              </a:ln>
            </p:spPr>
            <p:txBody>
              <a:bodyPr rtlCol="0" anchor="ctr"/>
              <a:lstStyle/>
              <a:p>
                <a:endParaRPr lang="sv-SE"/>
              </a:p>
            </p:txBody>
          </p:sp>
          <p:sp>
            <p:nvSpPr>
              <p:cNvPr id="126" name="Freeform 125">
                <a:extLst>
                  <a:ext uri="{FF2B5EF4-FFF2-40B4-BE49-F238E27FC236}">
                    <a16:creationId xmlns:a16="http://schemas.microsoft.com/office/drawing/2014/main" id="{6AC7CCD8-95B6-903B-C4EA-37482C1CCE2F}"/>
                  </a:ext>
                </a:extLst>
              </p:cNvPr>
              <p:cNvSpPr/>
              <p:nvPr/>
            </p:nvSpPr>
            <p:spPr>
              <a:xfrm>
                <a:off x="-3801493" y="11201061"/>
                <a:ext cx="1111504" cy="87009"/>
              </a:xfrm>
              <a:custGeom>
                <a:avLst/>
                <a:gdLst>
                  <a:gd name="connsiteX0" fmla="*/ 0 w 1111504"/>
                  <a:gd name="connsiteY0" fmla="*/ 87010 h 87009"/>
                  <a:gd name="connsiteX1" fmla="*/ 1111505 w 1111504"/>
                  <a:gd name="connsiteY1" fmla="*/ 0 h 87009"/>
                </a:gdLst>
                <a:ahLst/>
                <a:cxnLst>
                  <a:cxn ang="0">
                    <a:pos x="connsiteX0" y="connsiteY0"/>
                  </a:cxn>
                  <a:cxn ang="0">
                    <a:pos x="connsiteX1" y="connsiteY1"/>
                  </a:cxn>
                </a:cxnLst>
                <a:rect l="l" t="t" r="r" b="b"/>
                <a:pathLst>
                  <a:path w="1111504" h="87009">
                    <a:moveTo>
                      <a:pt x="0" y="87010"/>
                    </a:moveTo>
                    <a:cubicBezTo>
                      <a:pt x="76889" y="87010"/>
                      <a:pt x="1111505" y="48075"/>
                      <a:pt x="1111505" y="0"/>
                    </a:cubicBezTo>
                  </a:path>
                </a:pathLst>
              </a:custGeom>
              <a:noFill/>
              <a:ln w="9525" cap="flat">
                <a:solidFill>
                  <a:schemeClr val="accent5"/>
                </a:solidFill>
                <a:prstDash val="solid"/>
                <a:miter/>
              </a:ln>
            </p:spPr>
            <p:txBody>
              <a:bodyPr rtlCol="0" anchor="ctr"/>
              <a:lstStyle/>
              <a:p>
                <a:endParaRPr lang="sv-SE"/>
              </a:p>
            </p:txBody>
          </p:sp>
          <p:sp>
            <p:nvSpPr>
              <p:cNvPr id="127" name="Freeform 126">
                <a:extLst>
                  <a:ext uri="{FF2B5EF4-FFF2-40B4-BE49-F238E27FC236}">
                    <a16:creationId xmlns:a16="http://schemas.microsoft.com/office/drawing/2014/main" id="{990258CB-A026-EA92-5FF8-C95534003FA2}"/>
                  </a:ext>
                </a:extLst>
              </p:cNvPr>
              <p:cNvSpPr/>
              <p:nvPr/>
            </p:nvSpPr>
            <p:spPr>
              <a:xfrm>
                <a:off x="-3801596" y="11371724"/>
                <a:ext cx="1111504" cy="104411"/>
              </a:xfrm>
              <a:custGeom>
                <a:avLst/>
                <a:gdLst>
                  <a:gd name="connsiteX0" fmla="*/ 0 w 1111504"/>
                  <a:gd name="connsiteY0" fmla="*/ 104412 h 104411"/>
                  <a:gd name="connsiteX1" fmla="*/ 1111505 w 1111504"/>
                  <a:gd name="connsiteY1" fmla="*/ 0 h 104411"/>
                </a:gdLst>
                <a:ahLst/>
                <a:cxnLst>
                  <a:cxn ang="0">
                    <a:pos x="connsiteX0" y="connsiteY0"/>
                  </a:cxn>
                  <a:cxn ang="0">
                    <a:pos x="connsiteX1" y="connsiteY1"/>
                  </a:cxn>
                </a:cxnLst>
                <a:rect l="l" t="t" r="r" b="b"/>
                <a:pathLst>
                  <a:path w="1111504" h="104411">
                    <a:moveTo>
                      <a:pt x="0" y="104412"/>
                    </a:moveTo>
                    <a:cubicBezTo>
                      <a:pt x="76889" y="104412"/>
                      <a:pt x="1111505" y="57679"/>
                      <a:pt x="1111505" y="0"/>
                    </a:cubicBezTo>
                  </a:path>
                </a:pathLst>
              </a:custGeom>
              <a:noFill/>
              <a:ln w="9525" cap="flat">
                <a:solidFill>
                  <a:schemeClr val="accent5"/>
                </a:solidFill>
                <a:prstDash val="solid"/>
                <a:miter/>
              </a:ln>
            </p:spPr>
            <p:txBody>
              <a:bodyPr rtlCol="0" anchor="ctr"/>
              <a:lstStyle/>
              <a:p>
                <a:endParaRPr lang="sv-SE"/>
              </a:p>
            </p:txBody>
          </p:sp>
          <p:sp>
            <p:nvSpPr>
              <p:cNvPr id="128" name="Freeform 127">
                <a:extLst>
                  <a:ext uri="{FF2B5EF4-FFF2-40B4-BE49-F238E27FC236}">
                    <a16:creationId xmlns:a16="http://schemas.microsoft.com/office/drawing/2014/main" id="{8571A31C-B883-69ED-288C-26FD7BCC36E9}"/>
                  </a:ext>
                </a:extLst>
              </p:cNvPr>
              <p:cNvSpPr/>
              <p:nvPr/>
            </p:nvSpPr>
            <p:spPr>
              <a:xfrm>
                <a:off x="-3801751" y="11542387"/>
                <a:ext cx="1111504" cy="121813"/>
              </a:xfrm>
              <a:custGeom>
                <a:avLst/>
                <a:gdLst>
                  <a:gd name="connsiteX0" fmla="*/ 0 w 1111504"/>
                  <a:gd name="connsiteY0" fmla="*/ 121814 h 121813"/>
                  <a:gd name="connsiteX1" fmla="*/ 1111505 w 1111504"/>
                  <a:gd name="connsiteY1" fmla="*/ 0 h 121813"/>
                </a:gdLst>
                <a:ahLst/>
                <a:cxnLst>
                  <a:cxn ang="0">
                    <a:pos x="connsiteX0" y="connsiteY0"/>
                  </a:cxn>
                  <a:cxn ang="0">
                    <a:pos x="connsiteX1" y="connsiteY1"/>
                  </a:cxn>
                </a:cxnLst>
                <a:rect l="l" t="t" r="r" b="b"/>
                <a:pathLst>
                  <a:path w="1111504" h="121813">
                    <a:moveTo>
                      <a:pt x="0" y="121814"/>
                    </a:moveTo>
                    <a:cubicBezTo>
                      <a:pt x="76889" y="121814"/>
                      <a:pt x="1111505" y="67284"/>
                      <a:pt x="1111505" y="0"/>
                    </a:cubicBezTo>
                  </a:path>
                </a:pathLst>
              </a:custGeom>
              <a:noFill/>
              <a:ln w="9525" cap="flat">
                <a:solidFill>
                  <a:schemeClr val="accent5"/>
                </a:solidFill>
                <a:prstDash val="solid"/>
                <a:miter/>
              </a:ln>
            </p:spPr>
            <p:txBody>
              <a:bodyPr rtlCol="0" anchor="ctr"/>
              <a:lstStyle/>
              <a:p>
                <a:endParaRPr lang="sv-SE"/>
              </a:p>
            </p:txBody>
          </p:sp>
          <p:sp>
            <p:nvSpPr>
              <p:cNvPr id="129" name="Freeform 128">
                <a:extLst>
                  <a:ext uri="{FF2B5EF4-FFF2-40B4-BE49-F238E27FC236}">
                    <a16:creationId xmlns:a16="http://schemas.microsoft.com/office/drawing/2014/main" id="{2C5CD424-F98D-2D65-A20B-78966A87F267}"/>
                  </a:ext>
                </a:extLst>
              </p:cNvPr>
              <p:cNvSpPr/>
              <p:nvPr/>
            </p:nvSpPr>
            <p:spPr>
              <a:xfrm>
                <a:off x="-3801906" y="11718885"/>
                <a:ext cx="1113466" cy="974561"/>
              </a:xfrm>
              <a:custGeom>
                <a:avLst/>
                <a:gdLst>
                  <a:gd name="connsiteX0" fmla="*/ 0 w 1113466"/>
                  <a:gd name="connsiteY0" fmla="*/ 974561 h 974561"/>
                  <a:gd name="connsiteX1" fmla="*/ 1113467 w 1113466"/>
                  <a:gd name="connsiteY1" fmla="*/ 0 h 974561"/>
                </a:gdLst>
                <a:ahLst/>
                <a:cxnLst>
                  <a:cxn ang="0">
                    <a:pos x="connsiteX0" y="connsiteY0"/>
                  </a:cxn>
                  <a:cxn ang="0">
                    <a:pos x="connsiteX1" y="connsiteY1"/>
                  </a:cxn>
                </a:cxnLst>
                <a:rect l="l" t="t" r="r" b="b"/>
                <a:pathLst>
                  <a:path w="1113466" h="974561">
                    <a:moveTo>
                      <a:pt x="0" y="974561"/>
                    </a:moveTo>
                    <a:cubicBezTo>
                      <a:pt x="538222" y="974561"/>
                      <a:pt x="1113467" y="538221"/>
                      <a:pt x="1113467" y="0"/>
                    </a:cubicBezTo>
                  </a:path>
                </a:pathLst>
              </a:custGeom>
              <a:noFill/>
              <a:ln w="9525" cap="flat">
                <a:solidFill>
                  <a:schemeClr val="accent5"/>
                </a:solidFill>
                <a:prstDash val="solid"/>
                <a:miter/>
              </a:ln>
            </p:spPr>
            <p:txBody>
              <a:bodyPr rtlCol="0" anchor="ctr"/>
              <a:lstStyle/>
              <a:p>
                <a:endParaRPr lang="sv-SE"/>
              </a:p>
            </p:txBody>
          </p:sp>
          <p:sp>
            <p:nvSpPr>
              <p:cNvPr id="130" name="Freeform 129">
                <a:extLst>
                  <a:ext uri="{FF2B5EF4-FFF2-40B4-BE49-F238E27FC236}">
                    <a16:creationId xmlns:a16="http://schemas.microsoft.com/office/drawing/2014/main" id="{B165160F-9BA6-BDDC-E221-8A16A278EB55}"/>
                  </a:ext>
                </a:extLst>
              </p:cNvPr>
              <p:cNvSpPr/>
              <p:nvPr/>
            </p:nvSpPr>
            <p:spPr>
              <a:xfrm>
                <a:off x="-3801906" y="11717904"/>
                <a:ext cx="1113105" cy="835345"/>
              </a:xfrm>
              <a:custGeom>
                <a:avLst/>
                <a:gdLst>
                  <a:gd name="connsiteX0" fmla="*/ 0 w 1113105"/>
                  <a:gd name="connsiteY0" fmla="*/ 835346 h 835345"/>
                  <a:gd name="connsiteX1" fmla="*/ 1113106 w 1113105"/>
                  <a:gd name="connsiteY1" fmla="*/ 0 h 835345"/>
                </a:gdLst>
                <a:ahLst/>
                <a:cxnLst>
                  <a:cxn ang="0">
                    <a:pos x="connsiteX0" y="connsiteY0"/>
                  </a:cxn>
                  <a:cxn ang="0">
                    <a:pos x="connsiteX1" y="connsiteY1"/>
                  </a:cxn>
                </a:cxnLst>
                <a:rect l="l" t="t" r="r" b="b"/>
                <a:pathLst>
                  <a:path w="1113105" h="835345">
                    <a:moveTo>
                      <a:pt x="0" y="835346"/>
                    </a:moveTo>
                    <a:cubicBezTo>
                      <a:pt x="461333" y="835346"/>
                      <a:pt x="1113106" y="461333"/>
                      <a:pt x="1113106" y="0"/>
                    </a:cubicBezTo>
                  </a:path>
                </a:pathLst>
              </a:custGeom>
              <a:noFill/>
              <a:ln w="9525" cap="flat">
                <a:solidFill>
                  <a:schemeClr val="accent5"/>
                </a:solidFill>
                <a:prstDash val="solid"/>
                <a:miter/>
              </a:ln>
            </p:spPr>
            <p:txBody>
              <a:bodyPr rtlCol="0" anchor="ctr"/>
              <a:lstStyle/>
              <a:p>
                <a:endParaRPr lang="sv-SE"/>
              </a:p>
            </p:txBody>
          </p:sp>
          <p:sp>
            <p:nvSpPr>
              <p:cNvPr id="131" name="Freeform 130">
                <a:extLst>
                  <a:ext uri="{FF2B5EF4-FFF2-40B4-BE49-F238E27FC236}">
                    <a16:creationId xmlns:a16="http://schemas.microsoft.com/office/drawing/2014/main" id="{A69EBB33-2D66-2290-CD6D-D572BB34BA0B}"/>
                  </a:ext>
                </a:extLst>
              </p:cNvPr>
              <p:cNvSpPr/>
              <p:nvPr/>
            </p:nvSpPr>
            <p:spPr>
              <a:xfrm>
                <a:off x="-3801906" y="11716923"/>
                <a:ext cx="1112796" cy="696129"/>
              </a:xfrm>
              <a:custGeom>
                <a:avLst/>
                <a:gdLst>
                  <a:gd name="connsiteX0" fmla="*/ 0 w 1112796"/>
                  <a:gd name="connsiteY0" fmla="*/ 696130 h 696129"/>
                  <a:gd name="connsiteX1" fmla="*/ 1112796 w 1112796"/>
                  <a:gd name="connsiteY1" fmla="*/ 0 h 696129"/>
                </a:gdLst>
                <a:ahLst/>
                <a:cxnLst>
                  <a:cxn ang="0">
                    <a:pos x="connsiteX0" y="connsiteY0"/>
                  </a:cxn>
                  <a:cxn ang="0">
                    <a:pos x="connsiteX1" y="connsiteY1"/>
                  </a:cxn>
                </a:cxnLst>
                <a:rect l="l" t="t" r="r" b="b"/>
                <a:pathLst>
                  <a:path w="1112796" h="696129">
                    <a:moveTo>
                      <a:pt x="0" y="696130"/>
                    </a:moveTo>
                    <a:cubicBezTo>
                      <a:pt x="384444" y="696130"/>
                      <a:pt x="1112796" y="384496"/>
                      <a:pt x="1112796" y="0"/>
                    </a:cubicBezTo>
                  </a:path>
                </a:pathLst>
              </a:custGeom>
              <a:noFill/>
              <a:ln w="9525" cap="flat">
                <a:solidFill>
                  <a:schemeClr val="accent5"/>
                </a:solidFill>
                <a:prstDash val="solid"/>
                <a:miter/>
              </a:ln>
            </p:spPr>
            <p:txBody>
              <a:bodyPr rtlCol="0" anchor="ctr"/>
              <a:lstStyle/>
              <a:p>
                <a:endParaRPr lang="sv-SE"/>
              </a:p>
            </p:txBody>
          </p:sp>
          <p:sp>
            <p:nvSpPr>
              <p:cNvPr id="132" name="Freeform 131">
                <a:extLst>
                  <a:ext uri="{FF2B5EF4-FFF2-40B4-BE49-F238E27FC236}">
                    <a16:creationId xmlns:a16="http://schemas.microsoft.com/office/drawing/2014/main" id="{30096DF0-6BF4-633D-DA92-970C60054FF3}"/>
                  </a:ext>
                </a:extLst>
              </p:cNvPr>
              <p:cNvSpPr/>
              <p:nvPr/>
            </p:nvSpPr>
            <p:spPr>
              <a:xfrm>
                <a:off x="-3801906" y="11715994"/>
                <a:ext cx="1112485" cy="556862"/>
              </a:xfrm>
              <a:custGeom>
                <a:avLst/>
                <a:gdLst>
                  <a:gd name="connsiteX0" fmla="*/ 0 w 1112485"/>
                  <a:gd name="connsiteY0" fmla="*/ 556863 h 556862"/>
                  <a:gd name="connsiteX1" fmla="*/ 1112486 w 1112485"/>
                  <a:gd name="connsiteY1" fmla="*/ 0 h 556862"/>
                </a:gdLst>
                <a:ahLst/>
                <a:cxnLst>
                  <a:cxn ang="0">
                    <a:pos x="connsiteX0" y="connsiteY0"/>
                  </a:cxn>
                  <a:cxn ang="0">
                    <a:pos x="connsiteX1" y="connsiteY1"/>
                  </a:cxn>
                </a:cxnLst>
                <a:rect l="l" t="t" r="r" b="b"/>
                <a:pathLst>
                  <a:path w="1112485" h="556862">
                    <a:moveTo>
                      <a:pt x="0" y="556863"/>
                    </a:moveTo>
                    <a:cubicBezTo>
                      <a:pt x="307555" y="556863"/>
                      <a:pt x="1112486" y="307555"/>
                      <a:pt x="1112486" y="0"/>
                    </a:cubicBezTo>
                  </a:path>
                </a:pathLst>
              </a:custGeom>
              <a:noFill/>
              <a:ln w="9525" cap="flat">
                <a:solidFill>
                  <a:schemeClr val="accent5"/>
                </a:solidFill>
                <a:prstDash val="solid"/>
                <a:miter/>
              </a:ln>
            </p:spPr>
            <p:txBody>
              <a:bodyPr rtlCol="0" anchor="ctr"/>
              <a:lstStyle/>
              <a:p>
                <a:endParaRPr lang="sv-SE"/>
              </a:p>
            </p:txBody>
          </p:sp>
          <p:sp>
            <p:nvSpPr>
              <p:cNvPr id="133" name="Freeform 132">
                <a:extLst>
                  <a:ext uri="{FF2B5EF4-FFF2-40B4-BE49-F238E27FC236}">
                    <a16:creationId xmlns:a16="http://schemas.microsoft.com/office/drawing/2014/main" id="{04F7B07C-24F6-812A-ACBB-D5B82E8E723D}"/>
                  </a:ext>
                </a:extLst>
              </p:cNvPr>
              <p:cNvSpPr/>
              <p:nvPr/>
            </p:nvSpPr>
            <p:spPr>
              <a:xfrm>
                <a:off x="-3801906" y="11715012"/>
                <a:ext cx="1112175" cy="417646"/>
              </a:xfrm>
              <a:custGeom>
                <a:avLst/>
                <a:gdLst>
                  <a:gd name="connsiteX0" fmla="*/ 0 w 1112175"/>
                  <a:gd name="connsiteY0" fmla="*/ 417647 h 417646"/>
                  <a:gd name="connsiteX1" fmla="*/ 1112176 w 1112175"/>
                  <a:gd name="connsiteY1" fmla="*/ 0 h 417646"/>
                </a:gdLst>
                <a:ahLst/>
                <a:cxnLst>
                  <a:cxn ang="0">
                    <a:pos x="connsiteX0" y="connsiteY0"/>
                  </a:cxn>
                  <a:cxn ang="0">
                    <a:pos x="connsiteX1" y="connsiteY1"/>
                  </a:cxn>
                </a:cxnLst>
                <a:rect l="l" t="t" r="r" b="b"/>
                <a:pathLst>
                  <a:path w="1112175" h="417646">
                    <a:moveTo>
                      <a:pt x="0" y="417647"/>
                    </a:moveTo>
                    <a:cubicBezTo>
                      <a:pt x="230666" y="417647"/>
                      <a:pt x="1112176" y="230666"/>
                      <a:pt x="1112176" y="0"/>
                    </a:cubicBezTo>
                  </a:path>
                </a:pathLst>
              </a:custGeom>
              <a:noFill/>
              <a:ln w="9525" cap="flat">
                <a:solidFill>
                  <a:schemeClr val="accent5"/>
                </a:solidFill>
                <a:prstDash val="solid"/>
                <a:miter/>
              </a:ln>
            </p:spPr>
            <p:txBody>
              <a:bodyPr rtlCol="0" anchor="ctr"/>
              <a:lstStyle/>
              <a:p>
                <a:endParaRPr lang="sv-SE"/>
              </a:p>
            </p:txBody>
          </p:sp>
          <p:sp>
            <p:nvSpPr>
              <p:cNvPr id="134" name="Freeform 133">
                <a:extLst>
                  <a:ext uri="{FF2B5EF4-FFF2-40B4-BE49-F238E27FC236}">
                    <a16:creationId xmlns:a16="http://schemas.microsoft.com/office/drawing/2014/main" id="{6BEBF7C5-C36A-18C6-6587-3976B0B917AB}"/>
                  </a:ext>
                </a:extLst>
              </p:cNvPr>
              <p:cNvSpPr/>
              <p:nvPr/>
            </p:nvSpPr>
            <p:spPr>
              <a:xfrm>
                <a:off x="-3801906" y="11714031"/>
                <a:ext cx="1111814" cy="278431"/>
              </a:xfrm>
              <a:custGeom>
                <a:avLst/>
                <a:gdLst>
                  <a:gd name="connsiteX0" fmla="*/ 0 w 1111814"/>
                  <a:gd name="connsiteY0" fmla="*/ 278431 h 278431"/>
                  <a:gd name="connsiteX1" fmla="*/ 1111815 w 1111814"/>
                  <a:gd name="connsiteY1" fmla="*/ 0 h 278431"/>
                </a:gdLst>
                <a:ahLst/>
                <a:cxnLst>
                  <a:cxn ang="0">
                    <a:pos x="connsiteX0" y="connsiteY0"/>
                  </a:cxn>
                  <a:cxn ang="0">
                    <a:pos x="connsiteX1" y="connsiteY1"/>
                  </a:cxn>
                </a:cxnLst>
                <a:rect l="l" t="t" r="r" b="b"/>
                <a:pathLst>
                  <a:path w="1111814" h="278431">
                    <a:moveTo>
                      <a:pt x="0" y="278431"/>
                    </a:moveTo>
                    <a:cubicBezTo>
                      <a:pt x="153778" y="278431"/>
                      <a:pt x="1111815" y="153778"/>
                      <a:pt x="1111815" y="0"/>
                    </a:cubicBezTo>
                  </a:path>
                </a:pathLst>
              </a:custGeom>
              <a:noFill/>
              <a:ln w="9525" cap="flat">
                <a:solidFill>
                  <a:schemeClr val="accent5"/>
                </a:solidFill>
                <a:prstDash val="solid"/>
                <a:miter/>
              </a:ln>
            </p:spPr>
            <p:txBody>
              <a:bodyPr rtlCol="0" anchor="ctr"/>
              <a:lstStyle/>
              <a:p>
                <a:endParaRPr lang="sv-SE"/>
              </a:p>
            </p:txBody>
          </p:sp>
          <p:sp>
            <p:nvSpPr>
              <p:cNvPr id="135" name="Freeform 134">
                <a:extLst>
                  <a:ext uri="{FF2B5EF4-FFF2-40B4-BE49-F238E27FC236}">
                    <a16:creationId xmlns:a16="http://schemas.microsoft.com/office/drawing/2014/main" id="{30C869EC-6377-4C83-1B06-0C5239F550ED}"/>
                  </a:ext>
                </a:extLst>
              </p:cNvPr>
              <p:cNvSpPr/>
              <p:nvPr/>
            </p:nvSpPr>
            <p:spPr>
              <a:xfrm>
                <a:off x="-3801906" y="11713050"/>
                <a:ext cx="1111505" cy="139215"/>
              </a:xfrm>
              <a:custGeom>
                <a:avLst/>
                <a:gdLst>
                  <a:gd name="connsiteX0" fmla="*/ 0 w 1111505"/>
                  <a:gd name="connsiteY0" fmla="*/ 139216 h 139215"/>
                  <a:gd name="connsiteX1" fmla="*/ 1111505 w 1111505"/>
                  <a:gd name="connsiteY1" fmla="*/ 0 h 139215"/>
                </a:gdLst>
                <a:ahLst/>
                <a:cxnLst>
                  <a:cxn ang="0">
                    <a:pos x="connsiteX0" y="connsiteY0"/>
                  </a:cxn>
                  <a:cxn ang="0">
                    <a:pos x="connsiteX1" y="connsiteY1"/>
                  </a:cxn>
                </a:cxnLst>
                <a:rect l="l" t="t" r="r" b="b"/>
                <a:pathLst>
                  <a:path w="1111505" h="139215">
                    <a:moveTo>
                      <a:pt x="0" y="139216"/>
                    </a:moveTo>
                    <a:cubicBezTo>
                      <a:pt x="76889" y="139216"/>
                      <a:pt x="1111505" y="76889"/>
                      <a:pt x="1111505" y="0"/>
                    </a:cubicBezTo>
                  </a:path>
                </a:pathLst>
              </a:custGeom>
              <a:noFill/>
              <a:ln w="9525" cap="flat">
                <a:solidFill>
                  <a:schemeClr val="accent5"/>
                </a:solidFill>
                <a:prstDash val="solid"/>
                <a:miter/>
              </a:ln>
            </p:spPr>
            <p:txBody>
              <a:bodyPr rtlCol="0" anchor="ctr"/>
              <a:lstStyle/>
              <a:p>
                <a:endParaRPr lang="sv-SE"/>
              </a:p>
            </p:txBody>
          </p:sp>
        </p:grpSp>
      </p:grpSp>
      <p:grpSp>
        <p:nvGrpSpPr>
          <p:cNvPr id="56" name="!!Data">
            <a:extLst>
              <a:ext uri="{FF2B5EF4-FFF2-40B4-BE49-F238E27FC236}">
                <a16:creationId xmlns:a16="http://schemas.microsoft.com/office/drawing/2014/main" id="{A9727A7C-C957-A2B3-66E0-ECB1EB25B1AA}"/>
              </a:ext>
            </a:extLst>
          </p:cNvPr>
          <p:cNvGrpSpPr/>
          <p:nvPr/>
        </p:nvGrpSpPr>
        <p:grpSpPr>
          <a:xfrm>
            <a:off x="546101" y="4632472"/>
            <a:ext cx="11100381" cy="1499786"/>
            <a:chOff x="546101" y="4485511"/>
            <a:chExt cx="11100381" cy="1499786"/>
          </a:xfrm>
        </p:grpSpPr>
        <p:sp>
          <p:nvSpPr>
            <p:cNvPr id="2" name="TextBox 1">
              <a:extLst>
                <a:ext uri="{FF2B5EF4-FFF2-40B4-BE49-F238E27FC236}">
                  <a16:creationId xmlns:a16="http://schemas.microsoft.com/office/drawing/2014/main" id="{32CB1C53-8668-BFA3-C3A8-1D5370FC0D96}"/>
                </a:ext>
              </a:extLst>
            </p:cNvPr>
            <p:cNvSpPr txBox="1"/>
            <p:nvPr/>
          </p:nvSpPr>
          <p:spPr>
            <a:xfrm>
              <a:off x="546101" y="4549874"/>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Volym (m</a:t>
              </a:r>
              <a:r>
                <a:rPr kumimoji="0" lang="sv-SE" sz="1600" b="1" i="0" u="none" strike="noStrike" kern="1200" cap="none" spc="0" normalizeH="0" baseline="30000" noProof="0" dirty="0">
                  <a:ln>
                    <a:noFill/>
                  </a:ln>
                  <a:solidFill>
                    <a:srgbClr val="FFFFFF"/>
                  </a:solidFill>
                  <a:effectLst/>
                  <a:uLnTx/>
                  <a:uFillTx/>
                  <a:latin typeface="Aptos" panose="02110004020202020204"/>
                  <a:ea typeface="+mn-ea"/>
                  <a:cs typeface="+mn-cs"/>
                </a:rPr>
                <a:t>3</a:t>
              </a: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a:t>
              </a:r>
            </a:p>
          </p:txBody>
        </p:sp>
        <p:sp>
          <p:nvSpPr>
            <p:cNvPr id="10" name="TextBox 9">
              <a:extLst>
                <a:ext uri="{FF2B5EF4-FFF2-40B4-BE49-F238E27FC236}">
                  <a16:creationId xmlns:a16="http://schemas.microsoft.com/office/drawing/2014/main" id="{D6C1C10E-06F1-00EF-3E34-ECA70762E558}"/>
                </a:ext>
              </a:extLst>
            </p:cNvPr>
            <p:cNvSpPr txBox="1"/>
            <p:nvPr/>
          </p:nvSpPr>
          <p:spPr>
            <a:xfrm>
              <a:off x="4389990" y="4549874"/>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00</a:t>
              </a:r>
            </a:p>
          </p:txBody>
        </p:sp>
        <p:sp>
          <p:nvSpPr>
            <p:cNvPr id="12" name="TextBox 11">
              <a:extLst>
                <a:ext uri="{FF2B5EF4-FFF2-40B4-BE49-F238E27FC236}">
                  <a16:creationId xmlns:a16="http://schemas.microsoft.com/office/drawing/2014/main" id="{8083ABE9-C504-A54D-3301-8C18C94E9F7E}"/>
                </a:ext>
              </a:extLst>
            </p:cNvPr>
            <p:cNvSpPr txBox="1"/>
            <p:nvPr/>
          </p:nvSpPr>
          <p:spPr>
            <a:xfrm>
              <a:off x="9279539" y="4549874"/>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lt;100 000</a:t>
              </a:r>
            </a:p>
          </p:txBody>
        </p:sp>
        <p:sp>
          <p:nvSpPr>
            <p:cNvPr id="13" name="TextBox 12">
              <a:extLst>
                <a:ext uri="{FF2B5EF4-FFF2-40B4-BE49-F238E27FC236}">
                  <a16:creationId xmlns:a16="http://schemas.microsoft.com/office/drawing/2014/main" id="{62C6A6F1-3162-7AF0-D7D0-88F4E2450215}"/>
                </a:ext>
              </a:extLst>
            </p:cNvPr>
            <p:cNvSpPr txBox="1"/>
            <p:nvPr/>
          </p:nvSpPr>
          <p:spPr>
            <a:xfrm>
              <a:off x="546101" y="4924820"/>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Mängd vätgas (full) (Nm</a:t>
              </a:r>
              <a:r>
                <a:rPr kumimoji="0" lang="sv-SE" sz="1600" b="1" i="0" u="none" strike="noStrike" kern="1200" cap="none" spc="0" normalizeH="0" baseline="30000" noProof="0" dirty="0">
                  <a:ln>
                    <a:noFill/>
                  </a:ln>
                  <a:solidFill>
                    <a:srgbClr val="FFFFFF"/>
                  </a:solidFill>
                  <a:effectLst/>
                  <a:uLnTx/>
                  <a:uFillTx/>
                  <a:latin typeface="Aptos" panose="02110004020202020204"/>
                  <a:ea typeface="+mn-ea"/>
                  <a:cs typeface="+mn-cs"/>
                </a:rPr>
                <a:t>3</a:t>
              </a: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 och ton)</a:t>
              </a:r>
            </a:p>
          </p:txBody>
        </p:sp>
        <p:sp>
          <p:nvSpPr>
            <p:cNvPr id="15" name="TextBox 14">
              <a:extLst>
                <a:ext uri="{FF2B5EF4-FFF2-40B4-BE49-F238E27FC236}">
                  <a16:creationId xmlns:a16="http://schemas.microsoft.com/office/drawing/2014/main" id="{AC51EDD7-47F1-80C6-5AF9-05C04CA0B5C3}"/>
                </a:ext>
              </a:extLst>
            </p:cNvPr>
            <p:cNvSpPr txBox="1"/>
            <p:nvPr/>
          </p:nvSpPr>
          <p:spPr>
            <a:xfrm>
              <a:off x="4389990" y="4924820"/>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9 000/1,7</a:t>
              </a:r>
            </a:p>
          </p:txBody>
        </p:sp>
        <p:sp>
          <p:nvSpPr>
            <p:cNvPr id="16" name="TextBox 15">
              <a:extLst>
                <a:ext uri="{FF2B5EF4-FFF2-40B4-BE49-F238E27FC236}">
                  <a16:creationId xmlns:a16="http://schemas.microsoft.com/office/drawing/2014/main" id="{B496AC98-AE1A-0274-68E3-44569F1DC8A3}"/>
                </a:ext>
              </a:extLst>
            </p:cNvPr>
            <p:cNvSpPr txBox="1"/>
            <p:nvPr/>
          </p:nvSpPr>
          <p:spPr>
            <a:xfrm>
              <a:off x="9279539" y="4924820"/>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17 000 000/1 500</a:t>
              </a:r>
            </a:p>
          </p:txBody>
        </p:sp>
        <p:sp>
          <p:nvSpPr>
            <p:cNvPr id="18" name="TextBox 17">
              <a:extLst>
                <a:ext uri="{FF2B5EF4-FFF2-40B4-BE49-F238E27FC236}">
                  <a16:creationId xmlns:a16="http://schemas.microsoft.com/office/drawing/2014/main" id="{73A11742-D42A-DFB2-357A-7965DD758C5F}"/>
                </a:ext>
              </a:extLst>
            </p:cNvPr>
            <p:cNvSpPr txBox="1"/>
            <p:nvPr/>
          </p:nvSpPr>
          <p:spPr>
            <a:xfrm>
              <a:off x="546101" y="5299766"/>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Vätgas energi (full) (GJ/MWh)*</a:t>
              </a:r>
            </a:p>
          </p:txBody>
        </p:sp>
        <p:sp>
          <p:nvSpPr>
            <p:cNvPr id="19" name="TextBox 18">
              <a:extLst>
                <a:ext uri="{FF2B5EF4-FFF2-40B4-BE49-F238E27FC236}">
                  <a16:creationId xmlns:a16="http://schemas.microsoft.com/office/drawing/2014/main" id="{D6EC033A-FF7D-4B1F-EFE8-60436A1013D2}"/>
                </a:ext>
              </a:extLst>
            </p:cNvPr>
            <p:cNvSpPr txBox="1"/>
            <p:nvPr/>
          </p:nvSpPr>
          <p:spPr>
            <a:xfrm>
              <a:off x="4389990" y="5299766"/>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40/70</a:t>
              </a:r>
            </a:p>
          </p:txBody>
        </p:sp>
        <p:sp>
          <p:nvSpPr>
            <p:cNvPr id="21" name="TextBox 20">
              <a:extLst>
                <a:ext uri="{FF2B5EF4-FFF2-40B4-BE49-F238E27FC236}">
                  <a16:creationId xmlns:a16="http://schemas.microsoft.com/office/drawing/2014/main" id="{FD74F54A-5BB8-2F42-353E-A9477F006847}"/>
                </a:ext>
              </a:extLst>
            </p:cNvPr>
            <p:cNvSpPr txBox="1"/>
            <p:nvPr/>
          </p:nvSpPr>
          <p:spPr>
            <a:xfrm>
              <a:off x="9279539" y="5299766"/>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00 000/50 000</a:t>
              </a:r>
            </a:p>
          </p:txBody>
        </p:sp>
        <p:sp>
          <p:nvSpPr>
            <p:cNvPr id="24" name="TextBox 23">
              <a:extLst>
                <a:ext uri="{FF2B5EF4-FFF2-40B4-BE49-F238E27FC236}">
                  <a16:creationId xmlns:a16="http://schemas.microsoft.com/office/drawing/2014/main" id="{3F2356BE-AC44-35B7-23A4-FBF04E7ED27D}"/>
                </a:ext>
              </a:extLst>
            </p:cNvPr>
            <p:cNvSpPr txBox="1"/>
            <p:nvPr/>
          </p:nvSpPr>
          <p:spPr>
            <a:xfrm>
              <a:off x="546101" y="5674712"/>
              <a:ext cx="3505199" cy="246221"/>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Effekt påfyllning/tömning (MW vätgas)</a:t>
              </a:r>
            </a:p>
          </p:txBody>
        </p:sp>
        <p:sp>
          <p:nvSpPr>
            <p:cNvPr id="25" name="TextBox 24">
              <a:extLst>
                <a:ext uri="{FF2B5EF4-FFF2-40B4-BE49-F238E27FC236}">
                  <a16:creationId xmlns:a16="http://schemas.microsoft.com/office/drawing/2014/main" id="{8D8DE176-EE7B-3478-E449-D90D1742956D}"/>
                </a:ext>
              </a:extLst>
            </p:cNvPr>
            <p:cNvSpPr txBox="1"/>
            <p:nvPr/>
          </p:nvSpPr>
          <p:spPr>
            <a:xfrm>
              <a:off x="4389990" y="5674712"/>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3-4</a:t>
              </a:r>
            </a:p>
          </p:txBody>
        </p:sp>
        <p:sp>
          <p:nvSpPr>
            <p:cNvPr id="27" name="TextBox 26">
              <a:extLst>
                <a:ext uri="{FF2B5EF4-FFF2-40B4-BE49-F238E27FC236}">
                  <a16:creationId xmlns:a16="http://schemas.microsoft.com/office/drawing/2014/main" id="{D1076D0B-252E-F6DF-6ED9-1455736EE9E6}"/>
                </a:ext>
              </a:extLst>
            </p:cNvPr>
            <p:cNvSpPr txBox="1"/>
            <p:nvPr/>
          </p:nvSpPr>
          <p:spPr>
            <a:xfrm>
              <a:off x="9279539" y="5674712"/>
              <a:ext cx="2366943"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200/400</a:t>
              </a:r>
            </a:p>
          </p:txBody>
        </p:sp>
        <p:cxnSp>
          <p:nvCxnSpPr>
            <p:cNvPr id="28" name="Straight Connector 27">
              <a:extLst>
                <a:ext uri="{FF2B5EF4-FFF2-40B4-BE49-F238E27FC236}">
                  <a16:creationId xmlns:a16="http://schemas.microsoft.com/office/drawing/2014/main" id="{B0FABDF9-0ED6-AE5F-C294-74E12A3E918E}"/>
                </a:ext>
              </a:extLst>
            </p:cNvPr>
            <p:cNvCxnSpPr>
              <a:cxnSpLocks/>
            </p:cNvCxnSpPr>
            <p:nvPr/>
          </p:nvCxnSpPr>
          <p:spPr>
            <a:xfrm>
              <a:off x="546101" y="5610349"/>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3719E5-EDD6-0AA9-FC06-E8D9A5A6E55B}"/>
                </a:ext>
              </a:extLst>
            </p:cNvPr>
            <p:cNvCxnSpPr>
              <a:cxnSpLocks/>
            </p:cNvCxnSpPr>
            <p:nvPr/>
          </p:nvCxnSpPr>
          <p:spPr>
            <a:xfrm>
              <a:off x="546101" y="5235403"/>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FA401E8-6597-FCBE-34C8-933892B5A1F1}"/>
                </a:ext>
              </a:extLst>
            </p:cNvPr>
            <p:cNvCxnSpPr>
              <a:cxnSpLocks/>
            </p:cNvCxnSpPr>
            <p:nvPr/>
          </p:nvCxnSpPr>
          <p:spPr>
            <a:xfrm>
              <a:off x="546101" y="4860457"/>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AE5DB3A-40E6-D4DB-F3D8-414DE04F9923}"/>
                </a:ext>
              </a:extLst>
            </p:cNvPr>
            <p:cNvCxnSpPr>
              <a:cxnSpLocks/>
            </p:cNvCxnSpPr>
            <p:nvPr/>
          </p:nvCxnSpPr>
          <p:spPr>
            <a:xfrm>
              <a:off x="546101" y="4485511"/>
              <a:ext cx="110997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03EE0FE-8B6B-1395-246A-3995584EB6FE}"/>
                </a:ext>
              </a:extLst>
            </p:cNvPr>
            <p:cNvCxnSpPr>
              <a:cxnSpLocks/>
            </p:cNvCxnSpPr>
            <p:nvPr/>
          </p:nvCxnSpPr>
          <p:spPr>
            <a:xfrm>
              <a:off x="546101" y="5985297"/>
              <a:ext cx="11099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5" name="!!Hybrit_logo">
            <a:extLst>
              <a:ext uri="{FF2B5EF4-FFF2-40B4-BE49-F238E27FC236}">
                <a16:creationId xmlns:a16="http://schemas.microsoft.com/office/drawing/2014/main" id="{588E234F-5AA4-E66A-07F1-10EF4E1C54A6}"/>
              </a:ext>
            </a:extLst>
          </p:cNvPr>
          <p:cNvGrpSpPr/>
          <p:nvPr/>
        </p:nvGrpSpPr>
        <p:grpSpPr>
          <a:xfrm>
            <a:off x="10823330" y="6338104"/>
            <a:ext cx="1018484" cy="320220"/>
            <a:chOff x="1343025" y="-3013943"/>
            <a:chExt cx="7772399" cy="2443714"/>
          </a:xfrm>
          <a:solidFill>
            <a:schemeClr val="bg1"/>
          </a:solidFill>
        </p:grpSpPr>
        <p:sp>
          <p:nvSpPr>
            <p:cNvPr id="36" name="Freeform 35">
              <a:extLst>
                <a:ext uri="{FF2B5EF4-FFF2-40B4-BE49-F238E27FC236}">
                  <a16:creationId xmlns:a16="http://schemas.microsoft.com/office/drawing/2014/main" id="{264F4AA6-58A6-08D6-39F9-733B54BFD451}"/>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7" name="Freeform 36">
              <a:extLst>
                <a:ext uri="{FF2B5EF4-FFF2-40B4-BE49-F238E27FC236}">
                  <a16:creationId xmlns:a16="http://schemas.microsoft.com/office/drawing/2014/main" id="{B9A06A29-6F3E-029B-E006-855DAD7D8594}"/>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8" name="Freeform 37">
              <a:extLst>
                <a:ext uri="{FF2B5EF4-FFF2-40B4-BE49-F238E27FC236}">
                  <a16:creationId xmlns:a16="http://schemas.microsoft.com/office/drawing/2014/main" id="{9674E156-56D7-7D98-3A52-1FBEF1D7A260}"/>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39" name="Freeform 38">
              <a:extLst>
                <a:ext uri="{FF2B5EF4-FFF2-40B4-BE49-F238E27FC236}">
                  <a16:creationId xmlns:a16="http://schemas.microsoft.com/office/drawing/2014/main" id="{AEA58940-D65B-3EC6-1FB0-BB1E57DFF9A6}"/>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40" name="Freeform 39">
              <a:extLst>
                <a:ext uri="{FF2B5EF4-FFF2-40B4-BE49-F238E27FC236}">
                  <a16:creationId xmlns:a16="http://schemas.microsoft.com/office/drawing/2014/main" id="{6B15AC88-5969-7C3B-55D9-167E471ACBB7}"/>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44" name="TextBox 43">
            <a:extLst>
              <a:ext uri="{FF2B5EF4-FFF2-40B4-BE49-F238E27FC236}">
                <a16:creationId xmlns:a16="http://schemas.microsoft.com/office/drawing/2014/main" id="{CD8D16BB-99CC-8642-126A-D2B097B39D72}"/>
              </a:ext>
            </a:extLst>
          </p:cNvPr>
          <p:cNvSpPr txBox="1"/>
          <p:nvPr/>
        </p:nvSpPr>
        <p:spPr>
          <a:xfrm>
            <a:off x="546101" y="6417422"/>
            <a:ext cx="3505199" cy="161583"/>
          </a:xfrm>
          <a:prstGeom prst="rect">
            <a:avLst/>
          </a:prstGeom>
          <a:noFill/>
        </p:spPr>
        <p:txBody>
          <a:bodyPr wrap="square" lIns="0" tIns="0" rIns="0" bIns="0" rtlCol="0" anchor="ctr">
            <a:spAutoFit/>
          </a:bodyPr>
          <a:lstStyle/>
          <a:p>
            <a:pPr algn="l"/>
            <a:r>
              <a:rPr lang="sv-SE" sz="1050" noProof="0">
                <a:solidFill>
                  <a:schemeClr val="bg1"/>
                </a:solidFill>
              </a:rPr>
              <a:t>*Baserat på el till </a:t>
            </a:r>
            <a:r>
              <a:rPr lang="sv-SE" sz="1050" noProof="0" dirty="0" err="1">
                <a:solidFill>
                  <a:schemeClr val="bg1"/>
                </a:solidFill>
              </a:rPr>
              <a:t>elektrolysör</a:t>
            </a:r>
            <a:r>
              <a:rPr lang="sv-SE" sz="1050" noProof="0" dirty="0">
                <a:solidFill>
                  <a:schemeClr val="bg1"/>
                </a:solidFill>
              </a:rPr>
              <a:t> </a:t>
            </a:r>
          </a:p>
        </p:txBody>
      </p:sp>
      <p:grpSp>
        <p:nvGrpSpPr>
          <p:cNvPr id="55" name="!!Skallen">
            <a:extLst>
              <a:ext uri="{FF2B5EF4-FFF2-40B4-BE49-F238E27FC236}">
                <a16:creationId xmlns:a16="http://schemas.microsoft.com/office/drawing/2014/main" id="{6CFDF96A-1A3A-618D-5DFF-DFAA4EAA9253}"/>
              </a:ext>
            </a:extLst>
          </p:cNvPr>
          <p:cNvGrpSpPr/>
          <p:nvPr/>
        </p:nvGrpSpPr>
        <p:grpSpPr>
          <a:xfrm>
            <a:off x="7296525" y="2204015"/>
            <a:ext cx="1103326" cy="1642061"/>
            <a:chOff x="7296525" y="2448948"/>
            <a:chExt cx="1103326" cy="1642061"/>
          </a:xfrm>
        </p:grpSpPr>
        <p:sp>
          <p:nvSpPr>
            <p:cNvPr id="51" name="Round Same-side Corner of Rectangle 50">
              <a:extLst>
                <a:ext uri="{FF2B5EF4-FFF2-40B4-BE49-F238E27FC236}">
                  <a16:creationId xmlns:a16="http://schemas.microsoft.com/office/drawing/2014/main" id="{3C68B983-3932-E046-170D-6BF165856D28}"/>
                </a:ext>
              </a:extLst>
            </p:cNvPr>
            <p:cNvSpPr/>
            <p:nvPr/>
          </p:nvSpPr>
          <p:spPr>
            <a:xfrm>
              <a:off x="7296525" y="2448948"/>
              <a:ext cx="1103326" cy="1642061"/>
            </a:xfrm>
            <a:prstGeom prst="round2SameRect">
              <a:avLst>
                <a:gd name="adj1" fmla="val 50000"/>
                <a:gd name="adj2" fmla="val 50000"/>
              </a:avLst>
            </a:prstGeom>
            <a:blipFill dpi="0" rotWithShape="1">
              <a:blip r:embed="rId10" cstate="print">
                <a:alphaModFix amt="75000"/>
                <a:extLst>
                  <a:ext uri="{28A0092B-C50C-407E-A947-70E740481C1C}">
                    <a14:useLocalDpi xmlns:a14="http://schemas.microsoft.com/office/drawing/2010/main"/>
                  </a:ext>
                </a:extLst>
              </a:blip>
              <a:srcRect/>
              <a:stretch>
                <a:fillRect/>
              </a:stretch>
            </a:blip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Round Same-side Corner of Rectangle 53">
              <a:extLst>
                <a:ext uri="{FF2B5EF4-FFF2-40B4-BE49-F238E27FC236}">
                  <a16:creationId xmlns:a16="http://schemas.microsoft.com/office/drawing/2014/main" id="{C0238E45-CF11-9ABC-5072-761C51408602}"/>
                </a:ext>
              </a:extLst>
            </p:cNvPr>
            <p:cNvSpPr/>
            <p:nvPr/>
          </p:nvSpPr>
          <p:spPr>
            <a:xfrm>
              <a:off x="7338872" y="2495979"/>
              <a:ext cx="1018632" cy="1548000"/>
            </a:xfrm>
            <a:prstGeom prst="round2SameRect">
              <a:avLst>
                <a:gd name="adj1" fmla="val 50000"/>
                <a:gd name="adj2" fmla="val 50000"/>
              </a:avLst>
            </a:prstGeom>
            <a:solidFill>
              <a:schemeClr val="bg1"/>
            </a:solidFill>
            <a:ln w="9525">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57" name="TextBox 56">
            <a:extLst>
              <a:ext uri="{FF2B5EF4-FFF2-40B4-BE49-F238E27FC236}">
                <a16:creationId xmlns:a16="http://schemas.microsoft.com/office/drawing/2014/main" id="{3814ACC4-B943-B20D-334C-D26CF3D9FD7B}"/>
              </a:ext>
            </a:extLst>
          </p:cNvPr>
          <p:cNvSpPr txBox="1"/>
          <p:nvPr/>
        </p:nvSpPr>
        <p:spPr>
          <a:xfrm>
            <a:off x="4702813" y="3970859"/>
            <a:ext cx="1741296" cy="492443"/>
          </a:xfrm>
          <a:prstGeom prst="rect">
            <a:avLst/>
          </a:prstGeom>
          <a:noFill/>
        </p:spPr>
        <p:txBody>
          <a:bodyPr wrap="square" lIns="0" tIns="0" rIns="0" bIns="0" rtlCol="0">
            <a:spAutoFit/>
          </a:bodyPr>
          <a:lstStyle/>
          <a:p>
            <a:pPr algn="ctr"/>
            <a:r>
              <a:rPr lang="sv-SE" sz="1600" dirty="0">
                <a:solidFill>
                  <a:schemeClr val="bg1"/>
                </a:solidFill>
              </a:rPr>
              <a:t>Pilot</a:t>
            </a:r>
            <a:br>
              <a:rPr lang="sv-SE" sz="1600" dirty="0">
                <a:solidFill>
                  <a:schemeClr val="bg1"/>
                </a:solidFill>
              </a:rPr>
            </a:br>
            <a:r>
              <a:rPr lang="sv-SE" sz="1600" dirty="0">
                <a:solidFill>
                  <a:schemeClr val="bg1"/>
                </a:solidFill>
              </a:rPr>
              <a:t>H: 10 m, D: 5 m</a:t>
            </a:r>
          </a:p>
        </p:txBody>
      </p:sp>
      <p:sp>
        <p:nvSpPr>
          <p:cNvPr id="58" name="TextBox 57">
            <a:extLst>
              <a:ext uri="{FF2B5EF4-FFF2-40B4-BE49-F238E27FC236}">
                <a16:creationId xmlns:a16="http://schemas.microsoft.com/office/drawing/2014/main" id="{711317B4-957C-CF7D-9A25-A3BA97EABB14}"/>
              </a:ext>
            </a:extLst>
          </p:cNvPr>
          <p:cNvSpPr txBox="1"/>
          <p:nvPr/>
        </p:nvSpPr>
        <p:spPr>
          <a:xfrm>
            <a:off x="6748696" y="3970859"/>
            <a:ext cx="2198986" cy="492443"/>
          </a:xfrm>
          <a:prstGeom prst="rect">
            <a:avLst/>
          </a:prstGeom>
          <a:noFill/>
        </p:spPr>
        <p:txBody>
          <a:bodyPr wrap="square" lIns="0" tIns="0" rIns="0" bIns="0" rtlCol="0">
            <a:spAutoFit/>
          </a:bodyPr>
          <a:lstStyle/>
          <a:p>
            <a:pPr algn="ctr"/>
            <a:r>
              <a:rPr lang="sv-SE" sz="1600" dirty="0">
                <a:solidFill>
                  <a:schemeClr val="bg1"/>
                </a:solidFill>
              </a:rPr>
              <a:t>Naturgaslager ”Skallen”</a:t>
            </a:r>
            <a:br>
              <a:rPr lang="sv-SE" sz="1600" dirty="0">
                <a:solidFill>
                  <a:schemeClr val="bg1"/>
                </a:solidFill>
              </a:rPr>
            </a:br>
            <a:r>
              <a:rPr lang="sv-SE" sz="1600" dirty="0">
                <a:solidFill>
                  <a:schemeClr val="bg1"/>
                </a:solidFill>
              </a:rPr>
              <a:t>H: 52 m, D: 36 m</a:t>
            </a:r>
          </a:p>
        </p:txBody>
      </p:sp>
      <p:sp>
        <p:nvSpPr>
          <p:cNvPr id="59" name="TextBox 58">
            <a:extLst>
              <a:ext uri="{FF2B5EF4-FFF2-40B4-BE49-F238E27FC236}">
                <a16:creationId xmlns:a16="http://schemas.microsoft.com/office/drawing/2014/main" id="{6CCE7852-7E16-7D68-7C1C-113465991E14}"/>
              </a:ext>
            </a:extLst>
          </p:cNvPr>
          <p:cNvSpPr txBox="1"/>
          <p:nvPr/>
        </p:nvSpPr>
        <p:spPr>
          <a:xfrm>
            <a:off x="9363517" y="3970859"/>
            <a:ext cx="2198986" cy="492443"/>
          </a:xfrm>
          <a:prstGeom prst="rect">
            <a:avLst/>
          </a:prstGeom>
          <a:noFill/>
        </p:spPr>
        <p:txBody>
          <a:bodyPr wrap="square" lIns="0" tIns="0" rIns="0" bIns="0" rtlCol="0">
            <a:spAutoFit/>
          </a:bodyPr>
          <a:lstStyle/>
          <a:p>
            <a:pPr algn="ctr"/>
            <a:r>
              <a:rPr lang="sv-SE" sz="1600" dirty="0">
                <a:solidFill>
                  <a:schemeClr val="bg1"/>
                </a:solidFill>
              </a:rPr>
              <a:t>Kommersiell skala</a:t>
            </a:r>
            <a:br>
              <a:rPr lang="sv-SE" sz="1600" dirty="0">
                <a:solidFill>
                  <a:schemeClr val="bg1"/>
                </a:solidFill>
              </a:rPr>
            </a:br>
            <a:r>
              <a:rPr lang="sv-SE" sz="1600" dirty="0">
                <a:solidFill>
                  <a:schemeClr val="bg1"/>
                </a:solidFill>
              </a:rPr>
              <a:t>H: 100 m, D: 50 m</a:t>
            </a:r>
          </a:p>
        </p:txBody>
      </p:sp>
      <p:sp>
        <p:nvSpPr>
          <p:cNvPr id="61" name="TextBox 60">
            <a:extLst>
              <a:ext uri="{FF2B5EF4-FFF2-40B4-BE49-F238E27FC236}">
                <a16:creationId xmlns:a16="http://schemas.microsoft.com/office/drawing/2014/main" id="{5C91E9D7-EBD4-54BF-A5AC-753B8937B5CD}"/>
              </a:ext>
            </a:extLst>
          </p:cNvPr>
          <p:cNvSpPr txBox="1"/>
          <p:nvPr/>
        </p:nvSpPr>
        <p:spPr>
          <a:xfrm>
            <a:off x="6665128" y="4696835"/>
            <a:ext cx="2366943" cy="246221"/>
          </a:xfrm>
          <a:prstGeom prst="rect">
            <a:avLst/>
          </a:prstGeom>
          <a:noFill/>
        </p:spPr>
        <p:txBody>
          <a:bodyPr wrap="square" lIns="0" tIns="0" rIns="0" bIns="0" anchor="ctr">
            <a:spAutoFit/>
          </a:bodyPr>
          <a:lstStyle/>
          <a:p>
            <a:pPr lvl="0" algn="ctr">
              <a:defRPr/>
            </a:pPr>
            <a:r>
              <a:rPr lang="sv-SE" sz="1600" b="1" dirty="0">
                <a:solidFill>
                  <a:srgbClr val="FFFFFF"/>
                </a:solidFill>
              </a:rPr>
              <a:t>∼ 40 </a:t>
            </a:r>
            <a:r>
              <a:rPr kumimoji="0" lang="sv-SE" sz="1600" b="1" i="0" u="none" strike="noStrike" kern="1200" cap="none" spc="0" normalizeH="0" baseline="0" noProof="0" dirty="0">
                <a:ln>
                  <a:noFill/>
                </a:ln>
                <a:solidFill>
                  <a:srgbClr val="FFFFFF"/>
                </a:solidFill>
                <a:effectLst/>
                <a:uLnTx/>
                <a:uFillTx/>
                <a:latin typeface="Aptos" panose="02110004020202020204"/>
                <a:ea typeface="+mn-ea"/>
                <a:cs typeface="+mn-cs"/>
              </a:rPr>
              <a:t>000</a:t>
            </a:r>
          </a:p>
        </p:txBody>
      </p:sp>
      <p:grpSp>
        <p:nvGrpSpPr>
          <p:cNvPr id="65" name="Group 64">
            <a:extLst>
              <a:ext uri="{FF2B5EF4-FFF2-40B4-BE49-F238E27FC236}">
                <a16:creationId xmlns:a16="http://schemas.microsoft.com/office/drawing/2014/main" id="{5F64ACC7-F9D7-3699-481E-154C53C0D8B7}"/>
              </a:ext>
            </a:extLst>
          </p:cNvPr>
          <p:cNvGrpSpPr/>
          <p:nvPr/>
        </p:nvGrpSpPr>
        <p:grpSpPr>
          <a:xfrm>
            <a:off x="6518151" y="546100"/>
            <a:ext cx="2660075" cy="5586158"/>
            <a:chOff x="6581998" y="1357745"/>
            <a:chExt cx="2660075" cy="4980359"/>
          </a:xfrm>
        </p:grpSpPr>
        <p:cxnSp>
          <p:nvCxnSpPr>
            <p:cNvPr id="63" name="Straight Connector 62">
              <a:extLst>
                <a:ext uri="{FF2B5EF4-FFF2-40B4-BE49-F238E27FC236}">
                  <a16:creationId xmlns:a16="http://schemas.microsoft.com/office/drawing/2014/main" id="{EABB0E3F-A156-315A-ED82-DB686BF732E7}"/>
                </a:ext>
              </a:extLst>
            </p:cNvPr>
            <p:cNvCxnSpPr/>
            <p:nvPr/>
          </p:nvCxnSpPr>
          <p:spPr>
            <a:xfrm>
              <a:off x="6581998" y="1357745"/>
              <a:ext cx="0" cy="4980359"/>
            </a:xfrm>
            <a:prstGeom prst="line">
              <a:avLst/>
            </a:prstGeom>
            <a:ln w="952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C9D5771-151B-293F-2F92-F76274FDFA46}"/>
                </a:ext>
              </a:extLst>
            </p:cNvPr>
            <p:cNvCxnSpPr/>
            <p:nvPr/>
          </p:nvCxnSpPr>
          <p:spPr>
            <a:xfrm>
              <a:off x="9242073" y="1357745"/>
              <a:ext cx="0" cy="4980359"/>
            </a:xfrm>
            <a:prstGeom prst="line">
              <a:avLst/>
            </a:prstGeom>
            <a:ln w="9525">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42" name="!!mask2">
            <a:extLst>
              <a:ext uri="{FF2B5EF4-FFF2-40B4-BE49-F238E27FC236}">
                <a16:creationId xmlns:a16="http://schemas.microsoft.com/office/drawing/2014/main" id="{59F3A043-AB71-6FF9-5961-5C3C42201393}"/>
              </a:ext>
            </a:extLst>
          </p:cNvPr>
          <p:cNvSpPr>
            <a:spLocks noGrp="1" noRot="1" noMove="1" noResize="1" noEditPoints="1" noAdjustHandles="1" noChangeArrowheads="1" noChangeShapeType="1"/>
          </p:cNvSpPr>
          <p:nvPr/>
        </p:nvSpPr>
        <p:spPr>
          <a:xfrm>
            <a:off x="-25603199" y="-5814390"/>
            <a:ext cx="65507306" cy="18486783"/>
          </a:xfrm>
          <a:custGeom>
            <a:avLst/>
            <a:gdLst>
              <a:gd name="connsiteX0" fmla="*/ 25459114 w 65507306"/>
              <a:gd name="connsiteY0" fmla="*/ 5733342 h 18486783"/>
              <a:gd name="connsiteX1" fmla="*/ 25459114 w 65507306"/>
              <a:gd name="connsiteY1" fmla="*/ 12753439 h 18486783"/>
              <a:gd name="connsiteX2" fmla="*/ 37939284 w 65507306"/>
              <a:gd name="connsiteY2" fmla="*/ 12753439 h 18486783"/>
              <a:gd name="connsiteX3" fmla="*/ 37939284 w 65507306"/>
              <a:gd name="connsiteY3" fmla="*/ 5733342 h 18486783"/>
              <a:gd name="connsiteX4" fmla="*/ 0 w 65507306"/>
              <a:gd name="connsiteY4" fmla="*/ 0 h 18486783"/>
              <a:gd name="connsiteX5" fmla="*/ 19134163 w 65507306"/>
              <a:gd name="connsiteY5" fmla="*/ 0 h 18486783"/>
              <a:gd name="connsiteX6" fmla="*/ 19134163 w 65507306"/>
              <a:gd name="connsiteY6" fmla="*/ 0 h 18486783"/>
              <a:gd name="connsiteX7" fmla="*/ 46373142 w 65507306"/>
              <a:gd name="connsiteY7" fmla="*/ 0 h 18486783"/>
              <a:gd name="connsiteX8" fmla="*/ 47025338 w 65507306"/>
              <a:gd name="connsiteY8" fmla="*/ 0 h 18486783"/>
              <a:gd name="connsiteX9" fmla="*/ 65507306 w 65507306"/>
              <a:gd name="connsiteY9" fmla="*/ 0 h 18486783"/>
              <a:gd name="connsiteX10" fmla="*/ 65507306 w 65507306"/>
              <a:gd name="connsiteY10" fmla="*/ 18486783 h 18486783"/>
              <a:gd name="connsiteX11" fmla="*/ 47025338 w 65507306"/>
              <a:gd name="connsiteY11" fmla="*/ 18486783 h 18486783"/>
              <a:gd name="connsiteX12" fmla="*/ 46373142 w 65507306"/>
              <a:gd name="connsiteY12" fmla="*/ 18486783 h 18486783"/>
              <a:gd name="connsiteX13" fmla="*/ 19134163 w 65507306"/>
              <a:gd name="connsiteY13" fmla="*/ 18486783 h 18486783"/>
              <a:gd name="connsiteX14" fmla="*/ 16373062 w 65507306"/>
              <a:gd name="connsiteY14" fmla="*/ 18486783 h 18486783"/>
              <a:gd name="connsiteX15" fmla="*/ 0 w 65507306"/>
              <a:gd name="connsiteY15"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07306" h="18486783">
                <a:moveTo>
                  <a:pt x="25459114" y="5733342"/>
                </a:moveTo>
                <a:lnTo>
                  <a:pt x="25459114" y="12753439"/>
                </a:lnTo>
                <a:lnTo>
                  <a:pt x="37939284" y="12753439"/>
                </a:lnTo>
                <a:lnTo>
                  <a:pt x="37939284" y="5733342"/>
                </a:lnTo>
                <a:close/>
                <a:moveTo>
                  <a:pt x="0" y="0"/>
                </a:moveTo>
                <a:lnTo>
                  <a:pt x="19134163" y="0"/>
                </a:lnTo>
                <a:lnTo>
                  <a:pt x="19134163" y="0"/>
                </a:lnTo>
                <a:lnTo>
                  <a:pt x="46373142" y="0"/>
                </a:lnTo>
                <a:lnTo>
                  <a:pt x="47025338" y="0"/>
                </a:lnTo>
                <a:lnTo>
                  <a:pt x="65507306" y="0"/>
                </a:lnTo>
                <a:lnTo>
                  <a:pt x="65507306" y="18486783"/>
                </a:lnTo>
                <a:lnTo>
                  <a:pt x="47025338" y="18486783"/>
                </a:lnTo>
                <a:lnTo>
                  <a:pt x="46373142" y="18486783"/>
                </a:lnTo>
                <a:lnTo>
                  <a:pt x="19134163" y="18486783"/>
                </a:lnTo>
                <a:lnTo>
                  <a:pt x="16373062"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551342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5"/>
                                        </p:tgtEl>
                                        <p:attrNameLst>
                                          <p:attrName>style.visibility</p:attrName>
                                        </p:attrNameLst>
                                      </p:cBhvr>
                                      <p:to>
                                        <p:strVal val="visible"/>
                                      </p:to>
                                    </p:set>
                                    <p:animEffect transition="in" filter="fade">
                                      <p:cBhvr>
                                        <p:cTn id="14" dur="500"/>
                                        <p:tgtEl>
                                          <p:spTgt spid="55"/>
                                        </p:tgtEl>
                                      </p:cBhvr>
                                    </p:animEffect>
                                  </p:childTnLst>
                                </p:cTn>
                              </p:par>
                              <p:par>
                                <p:cTn id="15" presetID="22" presetClass="entr" presetSubtype="1" fill="hold"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wipe(up)">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1" grpId="0"/>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4DDE004-DBD6-5420-95D4-10A2937346C4}"/>
            </a:ext>
          </a:extLst>
        </p:cNvPr>
        <p:cNvGrpSpPr/>
        <p:nvPr/>
      </p:nvGrpSpPr>
      <p:grpSpPr>
        <a:xfrm>
          <a:off x="0" y="0"/>
          <a:ext cx="0" cy="0"/>
          <a:chOff x="0" y="0"/>
          <a:chExt cx="0" cy="0"/>
        </a:xfrm>
      </p:grpSpPr>
      <p:pic>
        <p:nvPicPr>
          <p:cNvPr id="3" name="Picture 2" descr="A building in the snow&#10;&#10;AI-generated content may be incorrect.">
            <a:extLst>
              <a:ext uri="{FF2B5EF4-FFF2-40B4-BE49-F238E27FC236}">
                <a16:creationId xmlns:a16="http://schemas.microsoft.com/office/drawing/2014/main" id="{50D1494E-74C2-D60B-B8E9-9F11A13E80AD}"/>
              </a:ext>
            </a:extLst>
          </p:cNvPr>
          <p:cNvPicPr>
            <a:picLocks noChangeAspect="1"/>
          </p:cNvPicPr>
          <p:nvPr/>
        </p:nvPicPr>
        <p:blipFill rotWithShape="1">
          <a:blip r:embed="rId3"/>
          <a:srcRect l="15594" t="5656" b="9938"/>
          <a:stretch/>
        </p:blipFill>
        <p:spPr>
          <a:xfrm>
            <a:off x="0" y="0"/>
            <a:ext cx="12192000" cy="6858000"/>
          </a:xfrm>
          <a:prstGeom prst="rect">
            <a:avLst/>
          </a:prstGeom>
        </p:spPr>
      </p:pic>
      <p:sp>
        <p:nvSpPr>
          <p:cNvPr id="21" name="!!Rectangle blue">
            <a:extLst>
              <a:ext uri="{FF2B5EF4-FFF2-40B4-BE49-F238E27FC236}">
                <a16:creationId xmlns:a16="http://schemas.microsoft.com/office/drawing/2014/main" id="{05910080-FB6F-C178-57A1-67F3814A32CE}"/>
              </a:ext>
            </a:extLst>
          </p:cNvPr>
          <p:cNvSpPr/>
          <p:nvPr/>
        </p:nvSpPr>
        <p:spPr>
          <a:xfrm flipH="1">
            <a:off x="9753599" y="1"/>
            <a:ext cx="2438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8" name="!!Logovertikal">
            <a:extLst>
              <a:ext uri="{FF2B5EF4-FFF2-40B4-BE49-F238E27FC236}">
                <a16:creationId xmlns:a16="http://schemas.microsoft.com/office/drawing/2014/main" id="{D00A88F4-DC4F-6211-7AA7-8F3E9AEAD11D}"/>
              </a:ext>
            </a:extLst>
          </p:cNvPr>
          <p:cNvSpPr/>
          <p:nvPr/>
        </p:nvSpPr>
        <p:spPr>
          <a:xfrm>
            <a:off x="9304418" y="0"/>
            <a:ext cx="898363" cy="6861227"/>
          </a:xfrm>
          <a:custGeom>
            <a:avLst/>
            <a:gdLst>
              <a:gd name="connsiteX0" fmla="*/ 26504 w 898363"/>
              <a:gd name="connsiteY0" fmla="*/ 5999309 h 6861227"/>
              <a:gd name="connsiteX1" fmla="*/ 871859 w 898363"/>
              <a:gd name="connsiteY1" fmla="*/ 5999309 h 6861227"/>
              <a:gd name="connsiteX2" fmla="*/ 871859 w 898363"/>
              <a:gd name="connsiteY2" fmla="*/ 6155602 h 6861227"/>
              <a:gd name="connsiteX3" fmla="*/ 526964 w 898363"/>
              <a:gd name="connsiteY3" fmla="*/ 6155602 h 6861227"/>
              <a:gd name="connsiteX4" fmla="*/ 526964 w 898363"/>
              <a:gd name="connsiteY4" fmla="*/ 6861227 h 6861227"/>
              <a:gd name="connsiteX5" fmla="*/ 370707 w 898363"/>
              <a:gd name="connsiteY5" fmla="*/ 6861227 h 6861227"/>
              <a:gd name="connsiteX6" fmla="*/ 370707 w 898363"/>
              <a:gd name="connsiteY6" fmla="*/ 6155602 h 6861227"/>
              <a:gd name="connsiteX7" fmla="*/ 26504 w 898363"/>
              <a:gd name="connsiteY7" fmla="*/ 6155602 h 6861227"/>
              <a:gd name="connsiteX8" fmla="*/ 371053 w 898363"/>
              <a:gd name="connsiteY8" fmla="*/ 4799447 h 6861227"/>
              <a:gd name="connsiteX9" fmla="*/ 527310 w 898363"/>
              <a:gd name="connsiteY9" fmla="*/ 4799447 h 6861227"/>
              <a:gd name="connsiteX10" fmla="*/ 527310 w 898363"/>
              <a:gd name="connsiteY10" fmla="*/ 5661250 h 6861227"/>
              <a:gd name="connsiteX11" fmla="*/ 371053 w 898363"/>
              <a:gd name="connsiteY11" fmla="*/ 5661250 h 6861227"/>
              <a:gd name="connsiteX12" fmla="*/ 78590 w 898363"/>
              <a:gd name="connsiteY12" fmla="*/ 3599470 h 6861227"/>
              <a:gd name="connsiteX13" fmla="*/ 671583 w 898363"/>
              <a:gd name="connsiteY13" fmla="*/ 3599470 h 6861227"/>
              <a:gd name="connsiteX14" fmla="*/ 759968 w 898363"/>
              <a:gd name="connsiteY14" fmla="*/ 3618373 h 6861227"/>
              <a:gd name="connsiteX15" fmla="*/ 818506 w 898363"/>
              <a:gd name="connsiteY15" fmla="*/ 3665860 h 6861227"/>
              <a:gd name="connsiteX16" fmla="*/ 851002 w 898363"/>
              <a:gd name="connsiteY16" fmla="*/ 3727524 h 6861227"/>
              <a:gd name="connsiteX17" fmla="*/ 860912 w 898363"/>
              <a:gd name="connsiteY17" fmla="*/ 3789419 h 6861227"/>
              <a:gd name="connsiteX18" fmla="*/ 860912 w 898363"/>
              <a:gd name="connsiteY18" fmla="*/ 3889120 h 6861227"/>
              <a:gd name="connsiteX19" fmla="*/ 861027 w 898363"/>
              <a:gd name="connsiteY19" fmla="*/ 3889350 h 6861227"/>
              <a:gd name="connsiteX20" fmla="*/ 847776 w 898363"/>
              <a:gd name="connsiteY20" fmla="*/ 3984901 h 6861227"/>
              <a:gd name="connsiteX21" fmla="*/ 812053 w 898363"/>
              <a:gd name="connsiteY21" fmla="*/ 4059129 h 6861227"/>
              <a:gd name="connsiteX22" fmla="*/ 760082 w 898363"/>
              <a:gd name="connsiteY22" fmla="*/ 4114108 h 6861227"/>
              <a:gd name="connsiteX23" fmla="*/ 698548 w 898363"/>
              <a:gd name="connsiteY23" fmla="*/ 4151683 h 6861227"/>
              <a:gd name="connsiteX24" fmla="*/ 633671 w 898363"/>
              <a:gd name="connsiteY24" fmla="*/ 4173006 h 6861227"/>
              <a:gd name="connsiteX25" fmla="*/ 572136 w 898363"/>
              <a:gd name="connsiteY25" fmla="*/ 4179576 h 6861227"/>
              <a:gd name="connsiteX26" fmla="*/ 898363 w 898363"/>
              <a:gd name="connsiteY26" fmla="*/ 4461388 h 6861227"/>
              <a:gd name="connsiteX27" fmla="*/ 656833 w 898363"/>
              <a:gd name="connsiteY27" fmla="*/ 4461388 h 6861227"/>
              <a:gd name="connsiteX28" fmla="*/ 331182 w 898363"/>
              <a:gd name="connsiteY28" fmla="*/ 4179576 h 6861227"/>
              <a:gd name="connsiteX29" fmla="*/ 218829 w 898363"/>
              <a:gd name="connsiteY29" fmla="*/ 4179576 h 6861227"/>
              <a:gd name="connsiteX30" fmla="*/ 218829 w 898363"/>
              <a:gd name="connsiteY30" fmla="*/ 4023283 h 6861227"/>
              <a:gd name="connsiteX31" fmla="*/ 572136 w 898363"/>
              <a:gd name="connsiteY31" fmla="*/ 4023283 h 6861227"/>
              <a:gd name="connsiteX32" fmla="*/ 625950 w 898363"/>
              <a:gd name="connsiteY32" fmla="*/ 4010950 h 6861227"/>
              <a:gd name="connsiteX33" fmla="*/ 668010 w 898363"/>
              <a:gd name="connsiteY33" fmla="*/ 3984210 h 6861227"/>
              <a:gd name="connsiteX34" fmla="*/ 695321 w 898363"/>
              <a:gd name="connsiteY34" fmla="*/ 3943638 h 6861227"/>
              <a:gd name="connsiteX35" fmla="*/ 704885 w 898363"/>
              <a:gd name="connsiteY35" fmla="*/ 3889235 h 6861227"/>
              <a:gd name="connsiteX36" fmla="*/ 704885 w 898363"/>
              <a:gd name="connsiteY36" fmla="*/ 3790687 h 6861227"/>
              <a:gd name="connsiteX37" fmla="*/ 701544 w 898363"/>
              <a:gd name="connsiteY37" fmla="*/ 3770517 h 6861227"/>
              <a:gd name="connsiteX38" fmla="*/ 693132 w 898363"/>
              <a:gd name="connsiteY38" fmla="*/ 3760258 h 6861227"/>
              <a:gd name="connsiteX39" fmla="*/ 682300 w 898363"/>
              <a:gd name="connsiteY39" fmla="*/ 3756339 h 6861227"/>
              <a:gd name="connsiteX40" fmla="*/ 671813 w 898363"/>
              <a:gd name="connsiteY40" fmla="*/ 3755763 h 6861227"/>
              <a:gd name="connsiteX41" fmla="*/ 156257 w 898363"/>
              <a:gd name="connsiteY41" fmla="*/ 3755763 h 6861227"/>
              <a:gd name="connsiteX42" fmla="*/ 156257 w 898363"/>
              <a:gd name="connsiteY42" fmla="*/ 4461273 h 6861227"/>
              <a:gd name="connsiteX43" fmla="*/ 0 w 898363"/>
              <a:gd name="connsiteY43" fmla="*/ 4461273 h 6861227"/>
              <a:gd name="connsiteX44" fmla="*/ 0 w 898363"/>
              <a:gd name="connsiteY44" fmla="*/ 3678193 h 6861227"/>
              <a:gd name="connsiteX45" fmla="*/ 5992 w 898363"/>
              <a:gd name="connsiteY45" fmla="*/ 3647533 h 6861227"/>
              <a:gd name="connsiteX46" fmla="*/ 22471 w 898363"/>
              <a:gd name="connsiteY46" fmla="*/ 3622291 h 6861227"/>
              <a:gd name="connsiteX47" fmla="*/ 47361 w 898363"/>
              <a:gd name="connsiteY47" fmla="*/ 3605463 h 6861227"/>
              <a:gd name="connsiteX48" fmla="*/ 78590 w 898363"/>
              <a:gd name="connsiteY48" fmla="*/ 3599470 h 6861227"/>
              <a:gd name="connsiteX49" fmla="*/ 174810 w 898363"/>
              <a:gd name="connsiteY49" fmla="*/ 2556132 h 6861227"/>
              <a:gd name="connsiteX50" fmla="*/ 174810 w 898363"/>
              <a:gd name="connsiteY50" fmla="*/ 3105464 h 6861227"/>
              <a:gd name="connsiteX51" fmla="*/ 690366 w 898363"/>
              <a:gd name="connsiteY51" fmla="*/ 3105464 h 6861227"/>
              <a:gd name="connsiteX52" fmla="*/ 700622 w 898363"/>
              <a:gd name="connsiteY52" fmla="*/ 3104888 h 6861227"/>
              <a:gd name="connsiteX53" fmla="*/ 711454 w 898363"/>
              <a:gd name="connsiteY53" fmla="*/ 3101314 h 6861227"/>
              <a:gd name="connsiteX54" fmla="*/ 719866 w 898363"/>
              <a:gd name="connsiteY54" fmla="*/ 3091056 h 6861227"/>
              <a:gd name="connsiteX55" fmla="*/ 723438 w 898363"/>
              <a:gd name="connsiteY55" fmla="*/ 3071231 h 6861227"/>
              <a:gd name="connsiteX56" fmla="*/ 723438 w 898363"/>
              <a:gd name="connsiteY56" fmla="*/ 3042416 h 6861227"/>
              <a:gd name="connsiteX57" fmla="*/ 723438 w 898363"/>
              <a:gd name="connsiteY57" fmla="*/ 3042186 h 6861227"/>
              <a:gd name="connsiteX58" fmla="*/ 713873 w 898363"/>
              <a:gd name="connsiteY58" fmla="*/ 2987207 h 6861227"/>
              <a:gd name="connsiteX59" fmla="*/ 686793 w 898363"/>
              <a:gd name="connsiteY59" fmla="*/ 2945482 h 6861227"/>
              <a:gd name="connsiteX60" fmla="*/ 644733 w 898363"/>
              <a:gd name="connsiteY60" fmla="*/ 2918742 h 6861227"/>
              <a:gd name="connsiteX61" fmla="*/ 589421 w 898363"/>
              <a:gd name="connsiteY61" fmla="*/ 2909406 h 6861227"/>
              <a:gd name="connsiteX62" fmla="*/ 237382 w 898363"/>
              <a:gd name="connsiteY62" fmla="*/ 2909406 h 6861227"/>
              <a:gd name="connsiteX63" fmla="*/ 237382 w 898363"/>
              <a:gd name="connsiteY63" fmla="*/ 2751960 h 6861227"/>
              <a:gd name="connsiteX64" fmla="*/ 519128 w 898363"/>
              <a:gd name="connsiteY64" fmla="*/ 2751960 h 6861227"/>
              <a:gd name="connsiteX65" fmla="*/ 574440 w 898363"/>
              <a:gd name="connsiteY65" fmla="*/ 2742624 h 6861227"/>
              <a:gd name="connsiteX66" fmla="*/ 616501 w 898363"/>
              <a:gd name="connsiteY66" fmla="*/ 2715883 h 6861227"/>
              <a:gd name="connsiteX67" fmla="*/ 643235 w 898363"/>
              <a:gd name="connsiteY67" fmla="*/ 2674159 h 6861227"/>
              <a:gd name="connsiteX68" fmla="*/ 652569 w 898363"/>
              <a:gd name="connsiteY68" fmla="*/ 2619181 h 6861227"/>
              <a:gd name="connsiteX69" fmla="*/ 652569 w 898363"/>
              <a:gd name="connsiteY69" fmla="*/ 2589788 h 6861227"/>
              <a:gd name="connsiteX70" fmla="*/ 620073 w 898363"/>
              <a:gd name="connsiteY70" fmla="*/ 2556132 h 6861227"/>
              <a:gd name="connsiteX71" fmla="*/ 97373 w 898363"/>
              <a:gd name="connsiteY71" fmla="*/ 2399839 h 6861227"/>
              <a:gd name="connsiteX72" fmla="*/ 620073 w 898363"/>
              <a:gd name="connsiteY72" fmla="*/ 2399839 h 6861227"/>
              <a:gd name="connsiteX73" fmla="*/ 681954 w 898363"/>
              <a:gd name="connsiteY73" fmla="*/ 2410097 h 6861227"/>
              <a:gd name="connsiteX74" fmla="*/ 743604 w 898363"/>
              <a:gd name="connsiteY74" fmla="*/ 2442831 h 6861227"/>
              <a:gd name="connsiteX75" fmla="*/ 791080 w 898363"/>
              <a:gd name="connsiteY75" fmla="*/ 2501383 h 6861227"/>
              <a:gd name="connsiteX76" fmla="*/ 809978 w 898363"/>
              <a:gd name="connsiteY76" fmla="*/ 2589788 h 6861227"/>
              <a:gd name="connsiteX77" fmla="*/ 809978 w 898363"/>
              <a:gd name="connsiteY77" fmla="*/ 2619181 h 6861227"/>
              <a:gd name="connsiteX78" fmla="*/ 796150 w 898363"/>
              <a:gd name="connsiteY78" fmla="*/ 2708391 h 6861227"/>
              <a:gd name="connsiteX79" fmla="*/ 751670 w 898363"/>
              <a:gd name="connsiteY79" fmla="*/ 2798871 h 6861227"/>
              <a:gd name="connsiteX80" fmla="*/ 801221 w 898363"/>
              <a:gd name="connsiteY80" fmla="*/ 2837944 h 6861227"/>
              <a:gd name="connsiteX81" fmla="*/ 841783 w 898363"/>
              <a:gd name="connsiteY81" fmla="*/ 2890849 h 6861227"/>
              <a:gd name="connsiteX82" fmla="*/ 869439 w 898363"/>
              <a:gd name="connsiteY82" fmla="*/ 2958737 h 6861227"/>
              <a:gd name="connsiteX83" fmla="*/ 879695 w 898363"/>
              <a:gd name="connsiteY83" fmla="*/ 3042301 h 6861227"/>
              <a:gd name="connsiteX84" fmla="*/ 879695 w 898363"/>
              <a:gd name="connsiteY84" fmla="*/ 3072269 h 6861227"/>
              <a:gd name="connsiteX85" fmla="*/ 869785 w 898363"/>
              <a:gd name="connsiteY85" fmla="*/ 3134164 h 6861227"/>
              <a:gd name="connsiteX86" fmla="*/ 837289 w 898363"/>
              <a:gd name="connsiteY86" fmla="*/ 3195482 h 6861227"/>
              <a:gd name="connsiteX87" fmla="*/ 778750 w 898363"/>
              <a:gd name="connsiteY87" fmla="*/ 3242624 h 6861227"/>
              <a:gd name="connsiteX88" fmla="*/ 690366 w 898363"/>
              <a:gd name="connsiteY88" fmla="*/ 3261526 h 6861227"/>
              <a:gd name="connsiteX89" fmla="*/ 97373 w 898363"/>
              <a:gd name="connsiteY89" fmla="*/ 3261526 h 6861227"/>
              <a:gd name="connsiteX90" fmla="*/ 66144 w 898363"/>
              <a:gd name="connsiteY90" fmla="*/ 3255533 h 6861227"/>
              <a:gd name="connsiteX91" fmla="*/ 41254 w 898363"/>
              <a:gd name="connsiteY91" fmla="*/ 3239051 h 6861227"/>
              <a:gd name="connsiteX92" fmla="*/ 24775 w 898363"/>
              <a:gd name="connsiteY92" fmla="*/ 3214154 h 6861227"/>
              <a:gd name="connsiteX93" fmla="*/ 18783 w 898363"/>
              <a:gd name="connsiteY93" fmla="*/ 3182919 h 6861227"/>
              <a:gd name="connsiteX94" fmla="*/ 18783 w 898363"/>
              <a:gd name="connsiteY94" fmla="*/ 2478562 h 6861227"/>
              <a:gd name="connsiteX95" fmla="*/ 24775 w 898363"/>
              <a:gd name="connsiteY95" fmla="*/ 2447903 h 6861227"/>
              <a:gd name="connsiteX96" fmla="*/ 41254 w 898363"/>
              <a:gd name="connsiteY96" fmla="*/ 2422661 h 6861227"/>
              <a:gd name="connsiteX97" fmla="*/ 66144 w 898363"/>
              <a:gd name="connsiteY97" fmla="*/ 2405832 h 6861227"/>
              <a:gd name="connsiteX98" fmla="*/ 97373 w 898363"/>
              <a:gd name="connsiteY98" fmla="*/ 2399839 h 6861227"/>
              <a:gd name="connsiteX99" fmla="*/ 723899 w 898363"/>
              <a:gd name="connsiteY99" fmla="*/ 1199631 h 6861227"/>
              <a:gd name="connsiteX100" fmla="*/ 880156 w 898363"/>
              <a:gd name="connsiteY100" fmla="*/ 1199631 h 6861227"/>
              <a:gd name="connsiteX101" fmla="*/ 880156 w 898363"/>
              <a:gd name="connsiteY101" fmla="*/ 1488128 h 6861227"/>
              <a:gd name="connsiteX102" fmla="*/ 880041 w 898363"/>
              <a:gd name="connsiteY102" fmla="*/ 1488359 h 6861227"/>
              <a:gd name="connsiteX103" fmla="*/ 866559 w 898363"/>
              <a:gd name="connsiteY103" fmla="*/ 1583909 h 6861227"/>
              <a:gd name="connsiteX104" fmla="*/ 830836 w 898363"/>
              <a:gd name="connsiteY104" fmla="*/ 1658137 h 6861227"/>
              <a:gd name="connsiteX105" fmla="*/ 778866 w 898363"/>
              <a:gd name="connsiteY105" fmla="*/ 1713117 h 6861227"/>
              <a:gd name="connsiteX106" fmla="*/ 717331 w 898363"/>
              <a:gd name="connsiteY106" fmla="*/ 1750691 h 6861227"/>
              <a:gd name="connsiteX107" fmla="*/ 652685 w 898363"/>
              <a:gd name="connsiteY107" fmla="*/ 1772015 h 6861227"/>
              <a:gd name="connsiteX108" fmla="*/ 591150 w 898363"/>
              <a:gd name="connsiteY108" fmla="*/ 1778584 h 6861227"/>
              <a:gd name="connsiteX109" fmla="*/ 528002 w 898363"/>
              <a:gd name="connsiteY109" fmla="*/ 1778584 h 6861227"/>
              <a:gd name="connsiteX110" fmla="*/ 528002 w 898363"/>
              <a:gd name="connsiteY110" fmla="*/ 2061664 h 6861227"/>
              <a:gd name="connsiteX111" fmla="*/ 370592 w 898363"/>
              <a:gd name="connsiteY111" fmla="*/ 2061664 h 6861227"/>
              <a:gd name="connsiteX112" fmla="*/ 370592 w 898363"/>
              <a:gd name="connsiteY112" fmla="*/ 1778584 h 6861227"/>
              <a:gd name="connsiteX113" fmla="*/ 308136 w 898363"/>
              <a:gd name="connsiteY113" fmla="*/ 1778584 h 6861227"/>
              <a:gd name="connsiteX114" fmla="*/ 246601 w 898363"/>
              <a:gd name="connsiteY114" fmla="*/ 1772015 h 6861227"/>
              <a:gd name="connsiteX115" fmla="*/ 181724 w 898363"/>
              <a:gd name="connsiteY115" fmla="*/ 1750691 h 6861227"/>
              <a:gd name="connsiteX116" fmla="*/ 120074 w 898363"/>
              <a:gd name="connsiteY116" fmla="*/ 1713117 h 6861227"/>
              <a:gd name="connsiteX117" fmla="*/ 68103 w 898363"/>
              <a:gd name="connsiteY117" fmla="*/ 1658137 h 6861227"/>
              <a:gd name="connsiteX118" fmla="*/ 32035 w 898363"/>
              <a:gd name="connsiteY118" fmla="*/ 1583564 h 6861227"/>
              <a:gd name="connsiteX119" fmla="*/ 18553 w 898363"/>
              <a:gd name="connsiteY119" fmla="*/ 1488244 h 6861227"/>
              <a:gd name="connsiteX120" fmla="*/ 18553 w 898363"/>
              <a:gd name="connsiteY120" fmla="*/ 1199746 h 6861227"/>
              <a:gd name="connsiteX121" fmla="*/ 174810 w 898363"/>
              <a:gd name="connsiteY121" fmla="*/ 1199746 h 6861227"/>
              <a:gd name="connsiteX122" fmla="*/ 174810 w 898363"/>
              <a:gd name="connsiteY122" fmla="*/ 1488244 h 6861227"/>
              <a:gd name="connsiteX123" fmla="*/ 184374 w 898363"/>
              <a:gd name="connsiteY123" fmla="*/ 1543223 h 6861227"/>
              <a:gd name="connsiteX124" fmla="*/ 211454 w 898363"/>
              <a:gd name="connsiteY124" fmla="*/ 1584947 h 6861227"/>
              <a:gd name="connsiteX125" fmla="*/ 253860 w 898363"/>
              <a:gd name="connsiteY125" fmla="*/ 1611687 h 6861227"/>
              <a:gd name="connsiteX126" fmla="*/ 309403 w 898363"/>
              <a:gd name="connsiteY126" fmla="*/ 1621023 h 6861227"/>
              <a:gd name="connsiteX127" fmla="*/ 591265 w 898363"/>
              <a:gd name="connsiteY127" fmla="*/ 1621023 h 6861227"/>
              <a:gd name="connsiteX128" fmla="*/ 636898 w 898363"/>
              <a:gd name="connsiteY128" fmla="*/ 1611687 h 6861227"/>
              <a:gd name="connsiteX129" fmla="*/ 679534 w 898363"/>
              <a:gd name="connsiteY129" fmla="*/ 1592093 h 6861227"/>
              <a:gd name="connsiteX130" fmla="*/ 711339 w 898363"/>
              <a:gd name="connsiteY130" fmla="*/ 1553596 h 6861227"/>
              <a:gd name="connsiteX131" fmla="*/ 723899 w 898363"/>
              <a:gd name="connsiteY131" fmla="*/ 1488128 h 6861227"/>
              <a:gd name="connsiteX132" fmla="*/ 18668 w 898363"/>
              <a:gd name="connsiteY132" fmla="*/ 0 h 6861227"/>
              <a:gd name="connsiteX133" fmla="*/ 174925 w 898363"/>
              <a:gd name="connsiteY133" fmla="*/ 0 h 6861227"/>
              <a:gd name="connsiteX134" fmla="*/ 174925 w 898363"/>
              <a:gd name="connsiteY134" fmla="*/ 352121 h 6861227"/>
              <a:gd name="connsiteX135" fmla="*/ 723438 w 898363"/>
              <a:gd name="connsiteY135" fmla="*/ 352121 h 6861227"/>
              <a:gd name="connsiteX136" fmla="*/ 723438 w 898363"/>
              <a:gd name="connsiteY136" fmla="*/ 0 h 6861227"/>
              <a:gd name="connsiteX137" fmla="*/ 879695 w 898363"/>
              <a:gd name="connsiteY137" fmla="*/ 0 h 6861227"/>
              <a:gd name="connsiteX138" fmla="*/ 879695 w 898363"/>
              <a:gd name="connsiteY138" fmla="*/ 861803 h 6861227"/>
              <a:gd name="connsiteX139" fmla="*/ 723438 w 898363"/>
              <a:gd name="connsiteY139" fmla="*/ 861803 h 6861227"/>
              <a:gd name="connsiteX140" fmla="*/ 723438 w 898363"/>
              <a:gd name="connsiteY140" fmla="*/ 509682 h 6861227"/>
              <a:gd name="connsiteX141" fmla="*/ 174925 w 898363"/>
              <a:gd name="connsiteY141" fmla="*/ 509682 h 6861227"/>
              <a:gd name="connsiteX142" fmla="*/ 174925 w 898363"/>
              <a:gd name="connsiteY142" fmla="*/ 861803 h 6861227"/>
              <a:gd name="connsiteX143" fmla="*/ 18668 w 898363"/>
              <a:gd name="connsiteY143" fmla="*/ 861803 h 686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98363" h="6861227">
                <a:moveTo>
                  <a:pt x="26504" y="5999309"/>
                </a:moveTo>
                <a:lnTo>
                  <a:pt x="871859" y="5999309"/>
                </a:lnTo>
                <a:lnTo>
                  <a:pt x="871859" y="6155602"/>
                </a:lnTo>
                <a:lnTo>
                  <a:pt x="526964" y="6155602"/>
                </a:lnTo>
                <a:lnTo>
                  <a:pt x="526964" y="6861227"/>
                </a:lnTo>
                <a:lnTo>
                  <a:pt x="370707" y="6861227"/>
                </a:lnTo>
                <a:lnTo>
                  <a:pt x="370707" y="6155602"/>
                </a:lnTo>
                <a:lnTo>
                  <a:pt x="26504" y="6155602"/>
                </a:lnTo>
                <a:close/>
                <a:moveTo>
                  <a:pt x="371053" y="4799447"/>
                </a:moveTo>
                <a:lnTo>
                  <a:pt x="527310" y="4799447"/>
                </a:lnTo>
                <a:lnTo>
                  <a:pt x="527310" y="5661250"/>
                </a:lnTo>
                <a:lnTo>
                  <a:pt x="371053" y="5661250"/>
                </a:lnTo>
                <a:close/>
                <a:moveTo>
                  <a:pt x="78590" y="3599470"/>
                </a:moveTo>
                <a:lnTo>
                  <a:pt x="671583" y="3599470"/>
                </a:lnTo>
                <a:cubicBezTo>
                  <a:pt x="706499" y="3599470"/>
                  <a:pt x="735883" y="3605809"/>
                  <a:pt x="759968" y="3618373"/>
                </a:cubicBezTo>
                <a:cubicBezTo>
                  <a:pt x="784051" y="3631051"/>
                  <a:pt x="803526" y="3646842"/>
                  <a:pt x="818506" y="3665860"/>
                </a:cubicBezTo>
                <a:cubicBezTo>
                  <a:pt x="833486" y="3684878"/>
                  <a:pt x="844318" y="3705394"/>
                  <a:pt x="851002" y="3727524"/>
                </a:cubicBezTo>
                <a:cubicBezTo>
                  <a:pt x="857570" y="3749539"/>
                  <a:pt x="860912" y="3770171"/>
                  <a:pt x="860912" y="3789419"/>
                </a:cubicBezTo>
                <a:lnTo>
                  <a:pt x="860912" y="3889120"/>
                </a:lnTo>
                <a:lnTo>
                  <a:pt x="861027" y="3889350"/>
                </a:lnTo>
                <a:cubicBezTo>
                  <a:pt x="861027" y="3924966"/>
                  <a:pt x="856648" y="3956893"/>
                  <a:pt x="847776" y="3984901"/>
                </a:cubicBezTo>
                <a:cubicBezTo>
                  <a:pt x="838902" y="4012909"/>
                  <a:pt x="827033" y="4037690"/>
                  <a:pt x="812053" y="4059129"/>
                </a:cubicBezTo>
                <a:cubicBezTo>
                  <a:pt x="797072" y="4080567"/>
                  <a:pt x="779672" y="4098894"/>
                  <a:pt x="760082" y="4114108"/>
                </a:cubicBezTo>
                <a:cubicBezTo>
                  <a:pt x="740493" y="4129323"/>
                  <a:pt x="719981" y="4141886"/>
                  <a:pt x="698548" y="4151683"/>
                </a:cubicBezTo>
                <a:cubicBezTo>
                  <a:pt x="677114" y="4161480"/>
                  <a:pt x="655450" y="4168626"/>
                  <a:pt x="633671" y="4173006"/>
                </a:cubicBezTo>
                <a:cubicBezTo>
                  <a:pt x="611892" y="4177386"/>
                  <a:pt x="591265" y="4179576"/>
                  <a:pt x="572136" y="4179576"/>
                </a:cubicBezTo>
                <a:lnTo>
                  <a:pt x="898363" y="4461388"/>
                </a:lnTo>
                <a:lnTo>
                  <a:pt x="656833" y="4461388"/>
                </a:lnTo>
                <a:lnTo>
                  <a:pt x="331182" y="4179576"/>
                </a:lnTo>
                <a:lnTo>
                  <a:pt x="218829" y="4179576"/>
                </a:lnTo>
                <a:lnTo>
                  <a:pt x="218829" y="4023283"/>
                </a:lnTo>
                <a:lnTo>
                  <a:pt x="572136" y="4023283"/>
                </a:lnTo>
                <a:cubicBezTo>
                  <a:pt x="591726" y="4021669"/>
                  <a:pt x="609702" y="4017520"/>
                  <a:pt x="625950" y="4010950"/>
                </a:cubicBezTo>
                <a:cubicBezTo>
                  <a:pt x="642198" y="4004380"/>
                  <a:pt x="656141" y="3995390"/>
                  <a:pt x="668010" y="3984210"/>
                </a:cubicBezTo>
                <a:cubicBezTo>
                  <a:pt x="679765" y="3972914"/>
                  <a:pt x="688983" y="3959428"/>
                  <a:pt x="695321" y="3943638"/>
                </a:cubicBezTo>
                <a:cubicBezTo>
                  <a:pt x="701774" y="3927847"/>
                  <a:pt x="704885" y="3909636"/>
                  <a:pt x="704885" y="3889235"/>
                </a:cubicBezTo>
                <a:lnTo>
                  <a:pt x="704885" y="3790687"/>
                </a:lnTo>
                <a:cubicBezTo>
                  <a:pt x="704885" y="3781927"/>
                  <a:pt x="703733" y="3775127"/>
                  <a:pt x="701544" y="3770517"/>
                </a:cubicBezTo>
                <a:cubicBezTo>
                  <a:pt x="699354" y="3765906"/>
                  <a:pt x="696473" y="3762448"/>
                  <a:pt x="693132" y="3760258"/>
                </a:cubicBezTo>
                <a:cubicBezTo>
                  <a:pt x="689674" y="3758068"/>
                  <a:pt x="686102" y="3756801"/>
                  <a:pt x="682300" y="3756339"/>
                </a:cubicBezTo>
                <a:cubicBezTo>
                  <a:pt x="678497" y="3755994"/>
                  <a:pt x="674925" y="3755763"/>
                  <a:pt x="671813" y="3755763"/>
                </a:cubicBezTo>
                <a:lnTo>
                  <a:pt x="156257" y="3755763"/>
                </a:lnTo>
                <a:lnTo>
                  <a:pt x="156257" y="4461273"/>
                </a:lnTo>
                <a:lnTo>
                  <a:pt x="0" y="4461273"/>
                </a:lnTo>
                <a:lnTo>
                  <a:pt x="0" y="3678193"/>
                </a:lnTo>
                <a:cubicBezTo>
                  <a:pt x="0" y="3667358"/>
                  <a:pt x="1959" y="3657215"/>
                  <a:pt x="5992" y="3647533"/>
                </a:cubicBezTo>
                <a:cubicBezTo>
                  <a:pt x="10026" y="3637967"/>
                  <a:pt x="15557" y="3629438"/>
                  <a:pt x="22471" y="3622291"/>
                </a:cubicBezTo>
                <a:cubicBezTo>
                  <a:pt x="29500" y="3615030"/>
                  <a:pt x="37797" y="3609498"/>
                  <a:pt x="47361" y="3605463"/>
                </a:cubicBezTo>
                <a:cubicBezTo>
                  <a:pt x="57041" y="3601429"/>
                  <a:pt x="67412" y="3599470"/>
                  <a:pt x="78590" y="3599470"/>
                </a:cubicBezTo>
                <a:close/>
                <a:moveTo>
                  <a:pt x="174810" y="2556132"/>
                </a:moveTo>
                <a:lnTo>
                  <a:pt x="174810" y="3105464"/>
                </a:lnTo>
                <a:lnTo>
                  <a:pt x="690366" y="3105464"/>
                </a:lnTo>
                <a:cubicBezTo>
                  <a:pt x="693132" y="3105464"/>
                  <a:pt x="696588" y="3105233"/>
                  <a:pt x="700622" y="3104888"/>
                </a:cubicBezTo>
                <a:cubicBezTo>
                  <a:pt x="704655" y="3104542"/>
                  <a:pt x="708227" y="3103274"/>
                  <a:pt x="711454" y="3101314"/>
                </a:cubicBezTo>
                <a:cubicBezTo>
                  <a:pt x="714680" y="3099355"/>
                  <a:pt x="717446" y="3095897"/>
                  <a:pt x="719866" y="3091056"/>
                </a:cubicBezTo>
                <a:cubicBezTo>
                  <a:pt x="722286" y="3086215"/>
                  <a:pt x="723438" y="3079645"/>
                  <a:pt x="723438" y="3071231"/>
                </a:cubicBezTo>
                <a:lnTo>
                  <a:pt x="723438" y="3042416"/>
                </a:lnTo>
                <a:lnTo>
                  <a:pt x="723438" y="3042186"/>
                </a:lnTo>
                <a:cubicBezTo>
                  <a:pt x="723438" y="3021785"/>
                  <a:pt x="720211" y="3003458"/>
                  <a:pt x="713873" y="2987207"/>
                </a:cubicBezTo>
                <a:cubicBezTo>
                  <a:pt x="707536" y="2970955"/>
                  <a:pt x="698432" y="2957123"/>
                  <a:pt x="686793" y="2945482"/>
                </a:cubicBezTo>
                <a:cubicBezTo>
                  <a:pt x="675155" y="2933841"/>
                  <a:pt x="661212" y="2924966"/>
                  <a:pt x="644733" y="2918742"/>
                </a:cubicBezTo>
                <a:cubicBezTo>
                  <a:pt x="628370" y="2912518"/>
                  <a:pt x="609817" y="2909406"/>
                  <a:pt x="589421" y="2909406"/>
                </a:cubicBezTo>
                <a:lnTo>
                  <a:pt x="237382" y="2909406"/>
                </a:lnTo>
                <a:lnTo>
                  <a:pt x="237382" y="2751960"/>
                </a:lnTo>
                <a:lnTo>
                  <a:pt x="519128" y="2751960"/>
                </a:lnTo>
                <a:cubicBezTo>
                  <a:pt x="539525" y="2751960"/>
                  <a:pt x="557962" y="2748848"/>
                  <a:pt x="574440" y="2742624"/>
                </a:cubicBezTo>
                <a:cubicBezTo>
                  <a:pt x="590919" y="2736400"/>
                  <a:pt x="604862" y="2727525"/>
                  <a:pt x="616501" y="2715883"/>
                </a:cubicBezTo>
                <a:cubicBezTo>
                  <a:pt x="628139" y="2704242"/>
                  <a:pt x="637012" y="2690295"/>
                  <a:pt x="643235" y="2674159"/>
                </a:cubicBezTo>
                <a:cubicBezTo>
                  <a:pt x="649458" y="2657907"/>
                  <a:pt x="652569" y="2639581"/>
                  <a:pt x="652569" y="2619181"/>
                </a:cubicBezTo>
                <a:lnTo>
                  <a:pt x="652569" y="2589788"/>
                </a:lnTo>
                <a:cubicBezTo>
                  <a:pt x="652569" y="2567313"/>
                  <a:pt x="641737" y="2556132"/>
                  <a:pt x="620073" y="2556132"/>
                </a:cubicBezTo>
                <a:close/>
                <a:moveTo>
                  <a:pt x="97373" y="2399839"/>
                </a:moveTo>
                <a:lnTo>
                  <a:pt x="620073" y="2399839"/>
                </a:lnTo>
                <a:cubicBezTo>
                  <a:pt x="639317" y="2399839"/>
                  <a:pt x="659944" y="2403181"/>
                  <a:pt x="681954" y="2410097"/>
                </a:cubicBezTo>
                <a:cubicBezTo>
                  <a:pt x="703964" y="2416898"/>
                  <a:pt x="724475" y="2427847"/>
                  <a:pt x="743604" y="2442831"/>
                </a:cubicBezTo>
                <a:cubicBezTo>
                  <a:pt x="762618" y="2457815"/>
                  <a:pt x="778404" y="2477409"/>
                  <a:pt x="791080" y="2501383"/>
                </a:cubicBezTo>
                <a:cubicBezTo>
                  <a:pt x="803756" y="2525473"/>
                  <a:pt x="809978" y="2554864"/>
                  <a:pt x="809978" y="2589788"/>
                </a:cubicBezTo>
                <a:lnTo>
                  <a:pt x="809978" y="2619181"/>
                </a:lnTo>
                <a:cubicBezTo>
                  <a:pt x="809978" y="2646842"/>
                  <a:pt x="805369" y="2676579"/>
                  <a:pt x="796150" y="2708391"/>
                </a:cubicBezTo>
                <a:cubicBezTo>
                  <a:pt x="786932" y="2740203"/>
                  <a:pt x="772182" y="2770401"/>
                  <a:pt x="751670" y="2798871"/>
                </a:cubicBezTo>
                <a:cubicBezTo>
                  <a:pt x="769301" y="2809705"/>
                  <a:pt x="785780" y="2822730"/>
                  <a:pt x="801221" y="2837944"/>
                </a:cubicBezTo>
                <a:cubicBezTo>
                  <a:pt x="816662" y="2853158"/>
                  <a:pt x="830144" y="2870793"/>
                  <a:pt x="841783" y="2890849"/>
                </a:cubicBezTo>
                <a:cubicBezTo>
                  <a:pt x="853422" y="2910904"/>
                  <a:pt x="862640" y="2933495"/>
                  <a:pt x="869439" y="2958737"/>
                </a:cubicBezTo>
                <a:cubicBezTo>
                  <a:pt x="876238" y="2983979"/>
                  <a:pt x="879695" y="3011872"/>
                  <a:pt x="879695" y="3042301"/>
                </a:cubicBezTo>
                <a:lnTo>
                  <a:pt x="879695" y="3072269"/>
                </a:lnTo>
                <a:cubicBezTo>
                  <a:pt x="879695" y="3091517"/>
                  <a:pt x="876353" y="3112149"/>
                  <a:pt x="869785" y="3134164"/>
                </a:cubicBezTo>
                <a:cubicBezTo>
                  <a:pt x="863101" y="3156178"/>
                  <a:pt x="852384" y="3176580"/>
                  <a:pt x="837289" y="3195482"/>
                </a:cubicBezTo>
                <a:cubicBezTo>
                  <a:pt x="822309" y="3214270"/>
                  <a:pt x="802719" y="3230060"/>
                  <a:pt x="778750" y="3242624"/>
                </a:cubicBezTo>
                <a:cubicBezTo>
                  <a:pt x="754666" y="3255302"/>
                  <a:pt x="725282" y="3261526"/>
                  <a:pt x="690366" y="3261526"/>
                </a:cubicBezTo>
                <a:lnTo>
                  <a:pt x="97373" y="3261526"/>
                </a:lnTo>
                <a:cubicBezTo>
                  <a:pt x="86195" y="3261526"/>
                  <a:pt x="75709" y="3259567"/>
                  <a:pt x="66144" y="3255533"/>
                </a:cubicBezTo>
                <a:cubicBezTo>
                  <a:pt x="56580" y="3251499"/>
                  <a:pt x="48168" y="3246082"/>
                  <a:pt x="41254" y="3239051"/>
                </a:cubicBezTo>
                <a:cubicBezTo>
                  <a:pt x="34224" y="3232020"/>
                  <a:pt x="28693" y="3223721"/>
                  <a:pt x="24775" y="3214154"/>
                </a:cubicBezTo>
                <a:cubicBezTo>
                  <a:pt x="20742" y="3204588"/>
                  <a:pt x="18783" y="3194099"/>
                  <a:pt x="18783" y="3182919"/>
                </a:cubicBezTo>
                <a:lnTo>
                  <a:pt x="18783" y="2478562"/>
                </a:lnTo>
                <a:cubicBezTo>
                  <a:pt x="18783" y="2467727"/>
                  <a:pt x="20742" y="2457584"/>
                  <a:pt x="24775" y="2447903"/>
                </a:cubicBezTo>
                <a:cubicBezTo>
                  <a:pt x="28808" y="2438336"/>
                  <a:pt x="34340" y="2429807"/>
                  <a:pt x="41254" y="2422661"/>
                </a:cubicBezTo>
                <a:cubicBezTo>
                  <a:pt x="48283" y="2415399"/>
                  <a:pt x="56580" y="2409867"/>
                  <a:pt x="66144" y="2405832"/>
                </a:cubicBezTo>
                <a:cubicBezTo>
                  <a:pt x="75824" y="2401798"/>
                  <a:pt x="86195" y="2399839"/>
                  <a:pt x="97373" y="2399839"/>
                </a:cubicBezTo>
                <a:close/>
                <a:moveTo>
                  <a:pt x="723899" y="1199631"/>
                </a:moveTo>
                <a:lnTo>
                  <a:pt x="880156" y="1199631"/>
                </a:lnTo>
                <a:lnTo>
                  <a:pt x="880156" y="1488128"/>
                </a:lnTo>
                <a:lnTo>
                  <a:pt x="880041" y="1488359"/>
                </a:lnTo>
                <a:cubicBezTo>
                  <a:pt x="880041" y="1523974"/>
                  <a:pt x="875547" y="1555901"/>
                  <a:pt x="866559" y="1583909"/>
                </a:cubicBezTo>
                <a:cubicBezTo>
                  <a:pt x="857570" y="1611918"/>
                  <a:pt x="845586" y="1636699"/>
                  <a:pt x="830836" y="1658137"/>
                </a:cubicBezTo>
                <a:cubicBezTo>
                  <a:pt x="815971" y="1679576"/>
                  <a:pt x="798686" y="1697902"/>
                  <a:pt x="778866" y="1713117"/>
                </a:cubicBezTo>
                <a:cubicBezTo>
                  <a:pt x="759046" y="1728331"/>
                  <a:pt x="738534" y="1740894"/>
                  <a:pt x="717331" y="1750691"/>
                </a:cubicBezTo>
                <a:cubicBezTo>
                  <a:pt x="696128" y="1760489"/>
                  <a:pt x="674579" y="1767635"/>
                  <a:pt x="652685" y="1772015"/>
                </a:cubicBezTo>
                <a:cubicBezTo>
                  <a:pt x="630905" y="1776395"/>
                  <a:pt x="610394" y="1778584"/>
                  <a:pt x="591150" y="1778584"/>
                </a:cubicBezTo>
                <a:lnTo>
                  <a:pt x="528002" y="1778584"/>
                </a:lnTo>
                <a:lnTo>
                  <a:pt x="528002" y="2061664"/>
                </a:lnTo>
                <a:lnTo>
                  <a:pt x="370592" y="2061664"/>
                </a:lnTo>
                <a:lnTo>
                  <a:pt x="370592" y="1778584"/>
                </a:lnTo>
                <a:lnTo>
                  <a:pt x="308136" y="1778584"/>
                </a:lnTo>
                <a:cubicBezTo>
                  <a:pt x="288891" y="1778584"/>
                  <a:pt x="268380" y="1776395"/>
                  <a:pt x="246601" y="1772015"/>
                </a:cubicBezTo>
                <a:cubicBezTo>
                  <a:pt x="224821" y="1767635"/>
                  <a:pt x="203157" y="1760489"/>
                  <a:pt x="181724" y="1750691"/>
                </a:cubicBezTo>
                <a:cubicBezTo>
                  <a:pt x="160290" y="1740894"/>
                  <a:pt x="139779" y="1728331"/>
                  <a:pt x="120074" y="1713117"/>
                </a:cubicBezTo>
                <a:cubicBezTo>
                  <a:pt x="100484" y="1697902"/>
                  <a:pt x="83084" y="1679576"/>
                  <a:pt x="68103" y="1658137"/>
                </a:cubicBezTo>
                <a:cubicBezTo>
                  <a:pt x="53123" y="1636699"/>
                  <a:pt x="41024" y="1611918"/>
                  <a:pt x="32035" y="1583564"/>
                </a:cubicBezTo>
                <a:cubicBezTo>
                  <a:pt x="23047" y="1555325"/>
                  <a:pt x="18553" y="1523513"/>
                  <a:pt x="18553" y="1488244"/>
                </a:cubicBezTo>
                <a:lnTo>
                  <a:pt x="18553" y="1199746"/>
                </a:lnTo>
                <a:lnTo>
                  <a:pt x="174810" y="1199746"/>
                </a:lnTo>
                <a:lnTo>
                  <a:pt x="174810" y="1488244"/>
                </a:lnTo>
                <a:cubicBezTo>
                  <a:pt x="174810" y="1508644"/>
                  <a:pt x="178037" y="1526971"/>
                  <a:pt x="184374" y="1543223"/>
                </a:cubicBezTo>
                <a:cubicBezTo>
                  <a:pt x="190828" y="1559474"/>
                  <a:pt x="199816" y="1573421"/>
                  <a:pt x="211454" y="1584947"/>
                </a:cubicBezTo>
                <a:cubicBezTo>
                  <a:pt x="223093" y="1596588"/>
                  <a:pt x="237152" y="1605463"/>
                  <a:pt x="253860" y="1611687"/>
                </a:cubicBezTo>
                <a:cubicBezTo>
                  <a:pt x="270454" y="1617911"/>
                  <a:pt x="289007" y="1621023"/>
                  <a:pt x="309403" y="1621023"/>
                </a:cubicBezTo>
                <a:lnTo>
                  <a:pt x="591265" y="1621023"/>
                </a:lnTo>
                <a:cubicBezTo>
                  <a:pt x="606130" y="1618603"/>
                  <a:pt x="621341" y="1615491"/>
                  <a:pt x="636898" y="1611687"/>
                </a:cubicBezTo>
                <a:cubicBezTo>
                  <a:pt x="652569" y="1607884"/>
                  <a:pt x="666743" y="1601429"/>
                  <a:pt x="679534" y="1592093"/>
                </a:cubicBezTo>
                <a:cubicBezTo>
                  <a:pt x="692325" y="1582872"/>
                  <a:pt x="702926" y="1570078"/>
                  <a:pt x="711339" y="1553596"/>
                </a:cubicBezTo>
                <a:cubicBezTo>
                  <a:pt x="719751" y="1537229"/>
                  <a:pt x="723899" y="1515330"/>
                  <a:pt x="723899" y="1488128"/>
                </a:cubicBezTo>
                <a:close/>
                <a:moveTo>
                  <a:pt x="18668" y="0"/>
                </a:moveTo>
                <a:lnTo>
                  <a:pt x="174925" y="0"/>
                </a:lnTo>
                <a:lnTo>
                  <a:pt x="174925" y="352121"/>
                </a:lnTo>
                <a:lnTo>
                  <a:pt x="723438" y="352121"/>
                </a:lnTo>
                <a:lnTo>
                  <a:pt x="723438" y="0"/>
                </a:lnTo>
                <a:lnTo>
                  <a:pt x="879695" y="0"/>
                </a:lnTo>
                <a:lnTo>
                  <a:pt x="879695" y="861803"/>
                </a:lnTo>
                <a:lnTo>
                  <a:pt x="723438" y="861803"/>
                </a:lnTo>
                <a:lnTo>
                  <a:pt x="723438" y="509682"/>
                </a:lnTo>
                <a:lnTo>
                  <a:pt x="174925" y="509682"/>
                </a:lnTo>
                <a:lnTo>
                  <a:pt x="174925" y="861803"/>
                </a:lnTo>
                <a:lnTo>
                  <a:pt x="18668" y="86180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E2E2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2F369620-09F0-EE7D-BF15-B03FF9238B02}"/>
              </a:ext>
            </a:extLst>
          </p:cNvPr>
          <p:cNvSpPr txBox="1"/>
          <p:nvPr/>
        </p:nvSpPr>
        <p:spPr>
          <a:xfrm>
            <a:off x="546101" y="3562456"/>
            <a:ext cx="5405438" cy="984885"/>
          </a:xfrm>
          <a:prstGeom prst="rect">
            <a:avLst/>
          </a:prstGeom>
          <a:noFill/>
        </p:spPr>
        <p:txBody>
          <a:bodyPr wrap="square" lIns="0" tIns="0" rIns="0" bIns="0" rtlCol="0">
            <a:spAutoFit/>
          </a:bodyPr>
          <a:lstStyle/>
          <a:p>
            <a:r>
              <a:rPr lang="sv-SE" sz="2400" b="1" dirty="0" err="1">
                <a:solidFill>
                  <a:schemeClr val="bg1"/>
                </a:solidFill>
              </a:rPr>
              <a:t>www.hybritdevelopment.se</a:t>
            </a:r>
            <a:br>
              <a:rPr lang="sv-SE" sz="2000" dirty="0">
                <a:solidFill>
                  <a:schemeClr val="bg1"/>
                </a:solidFill>
              </a:rPr>
            </a:br>
            <a:r>
              <a:rPr lang="sv-SE" sz="2000" dirty="0" err="1">
                <a:solidFill>
                  <a:schemeClr val="bg1"/>
                </a:solidFill>
              </a:rPr>
              <a:t>info@hybrit.se</a:t>
            </a:r>
            <a:endParaRPr lang="sv-SE" sz="2000" dirty="0">
              <a:solidFill>
                <a:schemeClr val="bg1"/>
              </a:solidFill>
            </a:endParaRPr>
          </a:p>
          <a:p>
            <a:endParaRPr lang="sv-SE" sz="2000" b="1" dirty="0">
              <a:solidFill>
                <a:schemeClr val="bg1"/>
              </a:solidFill>
            </a:endParaRPr>
          </a:p>
        </p:txBody>
      </p:sp>
      <p:sp>
        <p:nvSpPr>
          <p:cNvPr id="8" name="!!Jointventure">
            <a:extLst>
              <a:ext uri="{FF2B5EF4-FFF2-40B4-BE49-F238E27FC236}">
                <a16:creationId xmlns:a16="http://schemas.microsoft.com/office/drawing/2014/main" id="{034B6F9B-00A7-9DC9-FBBE-4554A85A8465}"/>
              </a:ext>
            </a:extLst>
          </p:cNvPr>
          <p:cNvSpPr/>
          <p:nvPr/>
        </p:nvSpPr>
        <p:spPr>
          <a:xfrm rot="16200000">
            <a:off x="8485097" y="3165565"/>
            <a:ext cx="6872470" cy="541336"/>
          </a:xfrm>
          <a:prstGeom prst="rect">
            <a:avLst/>
          </a:prstGeom>
          <a:solidFill>
            <a:srgbClr val="F4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200" normalizeH="0" baseline="0" noProof="0" dirty="0">
                <a:ln>
                  <a:noFill/>
                </a:ln>
                <a:solidFill>
                  <a:srgbClr val="0046AD"/>
                </a:solidFill>
                <a:effectLst/>
                <a:uLnTx/>
                <a:uFillTx/>
                <a:latin typeface="Aptos Light" panose="020B0004020202020204" pitchFamily="34" charset="0"/>
                <a:ea typeface="+mn-ea"/>
                <a:cs typeface="+mn-cs"/>
              </a:rPr>
              <a:t>ETT BOLAG SAMÄGT AV SSAB, LKAB AND VATTENFALL</a:t>
            </a:r>
          </a:p>
        </p:txBody>
      </p:sp>
      <p:sp>
        <p:nvSpPr>
          <p:cNvPr id="58" name="Title 57">
            <a:extLst>
              <a:ext uri="{FF2B5EF4-FFF2-40B4-BE49-F238E27FC236}">
                <a16:creationId xmlns:a16="http://schemas.microsoft.com/office/drawing/2014/main" id="{6A270E1F-BC7E-A6E8-C7E5-30A7F4217FA3}"/>
              </a:ext>
            </a:extLst>
          </p:cNvPr>
          <p:cNvSpPr>
            <a:spLocks noGrp="1"/>
          </p:cNvSpPr>
          <p:nvPr>
            <p:ph type="title"/>
          </p:nvPr>
        </p:nvSpPr>
        <p:spPr>
          <a:xfrm>
            <a:off x="546100" y="2750646"/>
            <a:ext cx="10080625" cy="1356708"/>
          </a:xfrm>
        </p:spPr>
        <p:txBody>
          <a:bodyPr/>
          <a:lstStyle/>
          <a:p>
            <a:r>
              <a:rPr lang="sv-SE" sz="5000" dirty="0">
                <a:solidFill>
                  <a:schemeClr val="bg1"/>
                </a:solidFill>
              </a:rPr>
              <a:t>Kontakt</a:t>
            </a:r>
          </a:p>
        </p:txBody>
      </p:sp>
    </p:spTree>
    <p:extLst>
      <p:ext uri="{BB962C8B-B14F-4D97-AF65-F5344CB8AC3E}">
        <p14:creationId xmlns:p14="http://schemas.microsoft.com/office/powerpoint/2010/main" val="352273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1+#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5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decel="5000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1+#ppt_w/2"/>
                                          </p:val>
                                        </p:tav>
                                        <p:tav tm="100000">
                                          <p:val>
                                            <p:strVal val="#ppt_x"/>
                                          </p:val>
                                        </p:tav>
                                      </p:tavLst>
                                    </p:anim>
                                    <p:anim calcmode="lin" valueType="num">
                                      <p:cBhvr additive="base">
                                        <p:cTn id="16" dur="500" fill="hold"/>
                                        <p:tgtEl>
                                          <p:spTgt spid="18"/>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8" grpId="0" animBg="1"/>
      <p:bldP spid="5" grpId="0"/>
      <p:bldP spid="8" grpId="0" animBg="1"/>
      <p:bldP spid="58"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02568734-1E31-A473-91C6-F9D107369C2C}"/>
            </a:ext>
          </a:extLst>
        </p:cNvPr>
        <p:cNvGrpSpPr/>
        <p:nvPr/>
      </p:nvGrpSpPr>
      <p:grpSpPr>
        <a:xfrm>
          <a:off x="0" y="0"/>
          <a:ext cx="0" cy="0"/>
          <a:chOff x="0" y="0"/>
          <a:chExt cx="0" cy="0"/>
        </a:xfrm>
      </p:grpSpPr>
      <p:pic>
        <p:nvPicPr>
          <p:cNvPr id="32" name="!!Wind" descr="Wind turbines in a snowy landscape&#10;&#10;AI-generated content may be incorrect.">
            <a:extLst>
              <a:ext uri="{FF2B5EF4-FFF2-40B4-BE49-F238E27FC236}">
                <a16:creationId xmlns:a16="http://schemas.microsoft.com/office/drawing/2014/main" id="{83D8E3D6-B44A-E636-07DE-BA98975190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6" name="!!Steel">
            <a:extLst>
              <a:ext uri="{FF2B5EF4-FFF2-40B4-BE49-F238E27FC236}">
                <a16:creationId xmlns:a16="http://schemas.microsoft.com/office/drawing/2014/main" id="{2D0F72B5-C9EC-B94D-5D25-63659A851D86}"/>
              </a:ext>
            </a:extLst>
          </p:cNvPr>
          <p:cNvPicPr>
            <a:picLocks noChangeAspect="1"/>
          </p:cNvPicPr>
          <p:nvPr/>
        </p:nvPicPr>
        <p:blipFill>
          <a:blip r:embed="rId4" cstate="print">
            <a:extLst>
              <a:ext uri="{28A0092B-C50C-407E-A947-70E740481C1C}">
                <a14:useLocalDpi xmlns:a14="http://schemas.microsoft.com/office/drawing/2010/main"/>
              </a:ext>
            </a:extLst>
          </a:blip>
          <a:srcRect l="15836" t="3056" r="-9797" b="12591"/>
          <a:stretch/>
        </p:blipFill>
        <p:spPr>
          <a:xfrm>
            <a:off x="-2026305" y="-602984"/>
            <a:ext cx="15965210" cy="8063968"/>
          </a:xfrm>
          <a:custGeom>
            <a:avLst/>
            <a:gdLst>
              <a:gd name="connsiteX0" fmla="*/ 1273876 w 13577610"/>
              <a:gd name="connsiteY0" fmla="*/ 0 h 6858000"/>
              <a:gd name="connsiteX1" fmla="*/ 1385611 w 13577610"/>
              <a:gd name="connsiteY1" fmla="*/ 0 h 6858000"/>
              <a:gd name="connsiteX2" fmla="*/ 6279072 w 13577610"/>
              <a:gd name="connsiteY2" fmla="*/ 0 h 6858000"/>
              <a:gd name="connsiteX3" fmla="*/ 13577610 w 13577610"/>
              <a:gd name="connsiteY3" fmla="*/ 0 h 6858000"/>
              <a:gd name="connsiteX4" fmla="*/ 13577610 w 13577610"/>
              <a:gd name="connsiteY4" fmla="*/ 6858000 h 6858000"/>
              <a:gd name="connsiteX5" fmla="*/ 6279072 w 13577610"/>
              <a:gd name="connsiteY5" fmla="*/ 6858000 h 6858000"/>
              <a:gd name="connsiteX6" fmla="*/ 1385611 w 13577610"/>
              <a:gd name="connsiteY6" fmla="*/ 6858000 h 6858000"/>
              <a:gd name="connsiteX7" fmla="*/ 1274003 w 13577610"/>
              <a:gd name="connsiteY7" fmla="*/ 6858000 h 6858000"/>
              <a:gd name="connsiteX8" fmla="*/ 76011 w 13577610"/>
              <a:gd name="connsiteY8" fmla="*/ 3828034 h 6858000"/>
              <a:gd name="connsiteX9" fmla="*/ 76011 w 13577610"/>
              <a:gd name="connsiteY9" fmla="*/ 30299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77610" h="6858000">
                <a:moveTo>
                  <a:pt x="1273876" y="0"/>
                </a:moveTo>
                <a:lnTo>
                  <a:pt x="1385611" y="0"/>
                </a:lnTo>
                <a:lnTo>
                  <a:pt x="6279072" y="0"/>
                </a:lnTo>
                <a:lnTo>
                  <a:pt x="13577610" y="0"/>
                </a:lnTo>
                <a:lnTo>
                  <a:pt x="13577610" y="6858000"/>
                </a:lnTo>
                <a:lnTo>
                  <a:pt x="6279072" y="6858000"/>
                </a:lnTo>
                <a:lnTo>
                  <a:pt x="1385611" y="6858000"/>
                </a:lnTo>
                <a:lnTo>
                  <a:pt x="1274003" y="6858000"/>
                </a:lnTo>
                <a:lnTo>
                  <a:pt x="76011" y="3828034"/>
                </a:lnTo>
                <a:cubicBezTo>
                  <a:pt x="-25336" y="3571684"/>
                  <a:pt x="-25336" y="3286316"/>
                  <a:pt x="76011" y="3029966"/>
                </a:cubicBezTo>
                <a:close/>
              </a:path>
            </a:pathLst>
          </a:custGeom>
        </p:spPr>
      </p:pic>
      <p:sp>
        <p:nvSpPr>
          <p:cNvPr id="20" name="!!Title 199">
            <a:extLst>
              <a:ext uri="{FF2B5EF4-FFF2-40B4-BE49-F238E27FC236}">
                <a16:creationId xmlns:a16="http://schemas.microsoft.com/office/drawing/2014/main" id="{307C5B12-9359-26CB-19DC-D788634D1C1B}"/>
              </a:ext>
            </a:extLst>
          </p:cNvPr>
          <p:cNvSpPr>
            <a:spLocks noGrp="1"/>
          </p:cNvSpPr>
          <p:nvPr>
            <p:ph type="title"/>
          </p:nvPr>
        </p:nvSpPr>
        <p:spPr/>
        <p:txBody>
          <a:bodyPr/>
          <a:lstStyle/>
          <a:p>
            <a:r>
              <a:rPr lang="sv-SE" dirty="0">
                <a:solidFill>
                  <a:schemeClr val="bg1"/>
                </a:solidFill>
              </a:rPr>
              <a:t>Dagens stålindustri är </a:t>
            </a:r>
            <a:br>
              <a:rPr lang="sv-SE" dirty="0">
                <a:solidFill>
                  <a:schemeClr val="bg1"/>
                </a:solidFill>
              </a:rPr>
            </a:br>
            <a:r>
              <a:rPr lang="sv-SE" dirty="0">
                <a:solidFill>
                  <a:schemeClr val="bg1"/>
                </a:solidFill>
              </a:rPr>
              <a:t>beroende av fossilt kol </a:t>
            </a:r>
          </a:p>
        </p:txBody>
      </p:sp>
      <p:grpSp>
        <p:nvGrpSpPr>
          <p:cNvPr id="7" name="!!Hybrit_logo">
            <a:extLst>
              <a:ext uri="{FF2B5EF4-FFF2-40B4-BE49-F238E27FC236}">
                <a16:creationId xmlns:a16="http://schemas.microsoft.com/office/drawing/2014/main" id="{BD250802-95AD-83B4-C102-1C773B4EF2FA}"/>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E2FA9BDB-1456-8687-4929-942330FAAA0B}"/>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9" name="Freeform 8">
              <a:extLst>
                <a:ext uri="{FF2B5EF4-FFF2-40B4-BE49-F238E27FC236}">
                  <a16:creationId xmlns:a16="http://schemas.microsoft.com/office/drawing/2014/main" id="{A9490EA7-2912-AAB0-D9C8-FAAE2F0E7A4B}"/>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0" name="Freeform 9">
              <a:extLst>
                <a:ext uri="{FF2B5EF4-FFF2-40B4-BE49-F238E27FC236}">
                  <a16:creationId xmlns:a16="http://schemas.microsoft.com/office/drawing/2014/main" id="{B5D7D330-9721-7C27-ACB0-358ACF2E2C2E}"/>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1" name="Freeform 10">
              <a:extLst>
                <a:ext uri="{FF2B5EF4-FFF2-40B4-BE49-F238E27FC236}">
                  <a16:creationId xmlns:a16="http://schemas.microsoft.com/office/drawing/2014/main" id="{61272ACE-2B9A-CEA1-3A21-95B38F06C405}"/>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12" name="Freeform 11">
              <a:extLst>
                <a:ext uri="{FF2B5EF4-FFF2-40B4-BE49-F238E27FC236}">
                  <a16:creationId xmlns:a16="http://schemas.microsoft.com/office/drawing/2014/main" id="{818CFDC8-B1AE-3A6C-6BF2-941547262C3B}"/>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sp>
        <p:nvSpPr>
          <p:cNvPr id="4" name="!!Mask">
            <a:extLst>
              <a:ext uri="{FF2B5EF4-FFF2-40B4-BE49-F238E27FC236}">
                <a16:creationId xmlns:a16="http://schemas.microsoft.com/office/drawing/2014/main" id="{E02F924F-2369-C0ED-A311-28E96D9D0184}"/>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grpSp>
        <p:nvGrpSpPr>
          <p:cNvPr id="15" name="Group 14">
            <a:extLst>
              <a:ext uri="{FF2B5EF4-FFF2-40B4-BE49-F238E27FC236}">
                <a16:creationId xmlns:a16="http://schemas.microsoft.com/office/drawing/2014/main" id="{C7389481-9F1E-7DDF-3199-7FF7B91B4628}"/>
              </a:ext>
            </a:extLst>
          </p:cNvPr>
          <p:cNvGrpSpPr/>
          <p:nvPr/>
        </p:nvGrpSpPr>
        <p:grpSpPr>
          <a:xfrm>
            <a:off x="494123" y="2420160"/>
            <a:ext cx="7550467" cy="2459077"/>
            <a:chOff x="494123" y="2195156"/>
            <a:chExt cx="7550467" cy="2459077"/>
          </a:xfrm>
        </p:grpSpPr>
        <p:grpSp>
          <p:nvGrpSpPr>
            <p:cNvPr id="18" name="Group 17">
              <a:extLst>
                <a:ext uri="{FF2B5EF4-FFF2-40B4-BE49-F238E27FC236}">
                  <a16:creationId xmlns:a16="http://schemas.microsoft.com/office/drawing/2014/main" id="{619E2C85-F75C-A7A7-E6F7-4AFA3AACA73E}"/>
                </a:ext>
              </a:extLst>
            </p:cNvPr>
            <p:cNvGrpSpPr/>
            <p:nvPr/>
          </p:nvGrpSpPr>
          <p:grpSpPr>
            <a:xfrm>
              <a:off x="494123" y="2246636"/>
              <a:ext cx="7550467" cy="2407597"/>
              <a:chOff x="494123" y="2246636"/>
              <a:chExt cx="7550467" cy="2407597"/>
            </a:xfrm>
          </p:grpSpPr>
          <p:sp>
            <p:nvSpPr>
              <p:cNvPr id="13" name="TextBox 12">
                <a:extLst>
                  <a:ext uri="{FF2B5EF4-FFF2-40B4-BE49-F238E27FC236}">
                    <a16:creationId xmlns:a16="http://schemas.microsoft.com/office/drawing/2014/main" id="{2269AB1C-EBD9-F07B-3BDF-1C73EAAA92C5}"/>
                  </a:ext>
                </a:extLst>
              </p:cNvPr>
              <p:cNvSpPr txBox="1"/>
              <p:nvPr/>
            </p:nvSpPr>
            <p:spPr>
              <a:xfrm>
                <a:off x="494123" y="2246636"/>
                <a:ext cx="7550467" cy="2123658"/>
              </a:xfrm>
              <a:prstGeom prst="rect">
                <a:avLst/>
              </a:prstGeom>
              <a:noFill/>
            </p:spPr>
            <p:txBody>
              <a:bodyPr wrap="square" lIns="0" tIns="0" rIns="0" bIns="0" rtlCol="0">
                <a:spAutoFit/>
              </a:bodyPr>
              <a:lstStyle/>
              <a:p>
                <a:r>
                  <a:rPr lang="sv-SE" sz="13800" dirty="0">
                    <a:solidFill>
                      <a:schemeClr val="bg1"/>
                    </a:solidFill>
                  </a:rPr>
                  <a:t>85-90</a:t>
                </a:r>
                <a:r>
                  <a:rPr lang="sv-SE" sz="6500" dirty="0">
                    <a:solidFill>
                      <a:schemeClr val="bg1"/>
                    </a:solidFill>
                  </a:rPr>
                  <a:t> </a:t>
                </a:r>
                <a:r>
                  <a:rPr lang="sv-SE" sz="13800" dirty="0">
                    <a:solidFill>
                      <a:schemeClr val="bg1"/>
                    </a:solidFill>
                  </a:rPr>
                  <a:t>%</a:t>
                </a:r>
              </a:p>
            </p:txBody>
          </p:sp>
          <p:sp>
            <p:nvSpPr>
              <p:cNvPr id="16" name="!!TextBox 90">
                <a:extLst>
                  <a:ext uri="{FF2B5EF4-FFF2-40B4-BE49-F238E27FC236}">
                    <a16:creationId xmlns:a16="http://schemas.microsoft.com/office/drawing/2014/main" id="{A6CF6178-98D2-F4EC-CBA6-23681D29A16A}"/>
                  </a:ext>
                </a:extLst>
              </p:cNvPr>
              <p:cNvSpPr txBox="1"/>
              <p:nvPr/>
            </p:nvSpPr>
            <p:spPr>
              <a:xfrm>
                <a:off x="571858" y="4223346"/>
                <a:ext cx="5410199" cy="430887"/>
              </a:xfrm>
              <a:prstGeom prst="rect">
                <a:avLst/>
              </a:prstGeom>
              <a:noFill/>
            </p:spPr>
            <p:txBody>
              <a:bodyPr wrap="square" lIns="0" tIns="0" rIns="0" bIns="0" rtlCol="0">
                <a:spAutoFit/>
              </a:bodyPr>
              <a:lstStyle/>
              <a:p>
                <a:pPr lvl="0">
                  <a:spcAft>
                    <a:spcPts val="1200"/>
                  </a:spcAft>
                  <a:defRPr/>
                </a:pPr>
                <a:r>
                  <a:rPr lang="sv-SE" sz="1400" dirty="0">
                    <a:solidFill>
                      <a:srgbClr val="FFFFFF"/>
                    </a:solidFill>
                  </a:rPr>
                  <a:t>av de totala koldioxidutsläppen </a:t>
                </a:r>
                <a:br>
                  <a:rPr lang="sv-SE" sz="1400" dirty="0">
                    <a:solidFill>
                      <a:srgbClr val="FFFFFF"/>
                    </a:solidFill>
                  </a:rPr>
                </a:br>
                <a:r>
                  <a:rPr lang="sv-SE" sz="1400" dirty="0">
                    <a:solidFill>
                      <a:srgbClr val="FFFFFF"/>
                    </a:solidFill>
                  </a:rPr>
                  <a:t>vid </a:t>
                </a:r>
                <a:r>
                  <a:rPr lang="sv-SE" sz="1400" dirty="0" err="1">
                    <a:solidFill>
                      <a:srgbClr val="FFFFFF"/>
                    </a:solidFill>
                  </a:rPr>
                  <a:t>malmbaserad</a:t>
                </a:r>
                <a:r>
                  <a:rPr lang="sv-SE" sz="1400" dirty="0">
                    <a:solidFill>
                      <a:srgbClr val="FFFFFF"/>
                    </a:solidFill>
                  </a:rPr>
                  <a:t> stålframställning. </a:t>
                </a:r>
                <a:endParaRPr kumimoji="0" lang="sv-SE" sz="1100" i="0" u="none" strike="noStrike" kern="1200" cap="none" spc="0" normalizeH="0" baseline="0" noProof="0" dirty="0">
                  <a:ln>
                    <a:noFill/>
                  </a:ln>
                  <a:solidFill>
                    <a:srgbClr val="FFFFFF"/>
                  </a:solidFill>
                  <a:effectLst/>
                  <a:uLnTx/>
                  <a:uFillTx/>
                </a:endParaRPr>
              </a:p>
            </p:txBody>
          </p:sp>
        </p:grpSp>
        <p:sp>
          <p:nvSpPr>
            <p:cNvPr id="2" name="TextBox 1">
              <a:extLst>
                <a:ext uri="{FF2B5EF4-FFF2-40B4-BE49-F238E27FC236}">
                  <a16:creationId xmlns:a16="http://schemas.microsoft.com/office/drawing/2014/main" id="{0FFBF024-B33A-F012-D676-22579C6AF9D4}"/>
                </a:ext>
              </a:extLst>
            </p:cNvPr>
            <p:cNvSpPr txBox="1"/>
            <p:nvPr/>
          </p:nvSpPr>
          <p:spPr>
            <a:xfrm>
              <a:off x="571857" y="2195156"/>
              <a:ext cx="3886931" cy="215444"/>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1600"/>
                </a:spcAft>
                <a:buClrTx/>
                <a:buSzTx/>
                <a:buFontTx/>
                <a:buNone/>
                <a:tabLst/>
                <a:defRPr/>
              </a:pPr>
              <a:r>
                <a:rPr kumimoji="0" lang="sv-SE" sz="1400" b="0" i="0" u="none" strike="noStrike" kern="1200" cap="none" spc="50" normalizeH="0" baseline="0" noProof="0" dirty="0">
                  <a:ln>
                    <a:noFill/>
                  </a:ln>
                  <a:solidFill>
                    <a:schemeClr val="bg2"/>
                  </a:solidFill>
                  <a:effectLst/>
                  <a:uLnTx/>
                  <a:uFillTx/>
                  <a:latin typeface="Aptos" panose="02110004020202020204"/>
                  <a:ea typeface="+mn-ea"/>
                  <a:cs typeface="+mn-cs"/>
                </a:rPr>
                <a:t>MASUGNSPROCESSEN</a:t>
              </a:r>
            </a:p>
          </p:txBody>
        </p:sp>
      </p:grpSp>
    </p:spTree>
    <p:extLst>
      <p:ext uri="{BB962C8B-B14F-4D97-AF65-F5344CB8AC3E}">
        <p14:creationId xmlns:p14="http://schemas.microsoft.com/office/powerpoint/2010/main" val="121308420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anim calcmode="lin" valueType="num">
                                      <p:cBhvr>
                                        <p:cTn id="11" dur="400" fill="hold"/>
                                        <p:tgtEl>
                                          <p:spTgt spid="15"/>
                                        </p:tgtEl>
                                        <p:attrNameLst>
                                          <p:attrName>ppt_x</p:attrName>
                                        </p:attrNameLst>
                                      </p:cBhvr>
                                      <p:tavLst>
                                        <p:tav tm="0">
                                          <p:val>
                                            <p:strVal val="#ppt_x"/>
                                          </p:val>
                                        </p:tav>
                                        <p:tav tm="100000">
                                          <p:val>
                                            <p:strVal val="#ppt_x"/>
                                          </p:val>
                                        </p:tav>
                                      </p:tavLst>
                                    </p:anim>
                                    <p:anim calcmode="lin" valueType="num">
                                      <p:cBhvr>
                                        <p:cTn id="12" dur="4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063113DB-248D-B32B-4AA1-F8A2F8F22DBF}"/>
            </a:ext>
          </a:extLst>
        </p:cNvPr>
        <p:cNvGrpSpPr/>
        <p:nvPr/>
      </p:nvGrpSpPr>
      <p:grpSpPr>
        <a:xfrm>
          <a:off x="0" y="0"/>
          <a:ext cx="0" cy="0"/>
          <a:chOff x="0" y="0"/>
          <a:chExt cx="0" cy="0"/>
        </a:xfrm>
      </p:grpSpPr>
      <p:pic>
        <p:nvPicPr>
          <p:cNvPr id="13" name="Picture 12" descr="A building in the snow&#10;&#10;AI-generated content may be incorrect.">
            <a:extLst>
              <a:ext uri="{FF2B5EF4-FFF2-40B4-BE49-F238E27FC236}">
                <a16:creationId xmlns:a16="http://schemas.microsoft.com/office/drawing/2014/main" id="{496B9D8B-9C0E-1F2D-0954-582490050123}"/>
              </a:ext>
            </a:extLst>
          </p:cNvPr>
          <p:cNvPicPr>
            <a:picLocks noChangeAspect="1"/>
          </p:cNvPicPr>
          <p:nvPr/>
        </p:nvPicPr>
        <p:blipFill rotWithShape="1">
          <a:blip r:embed="rId3"/>
          <a:srcRect/>
          <a:stretch/>
        </p:blipFill>
        <p:spPr>
          <a:xfrm>
            <a:off x="0" y="0"/>
            <a:ext cx="12192000" cy="6858000"/>
          </a:xfrm>
          <a:prstGeom prst="rect">
            <a:avLst/>
          </a:prstGeom>
        </p:spPr>
      </p:pic>
      <p:grpSp>
        <p:nvGrpSpPr>
          <p:cNvPr id="7" name="!!Hybrit_logo">
            <a:extLst>
              <a:ext uri="{FF2B5EF4-FFF2-40B4-BE49-F238E27FC236}">
                <a16:creationId xmlns:a16="http://schemas.microsoft.com/office/drawing/2014/main" id="{BB67A09D-BF45-6C51-D687-33F195D8F2E6}"/>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036568F4-1EEE-E0EB-9278-C610ADA73447}"/>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9" name="Freeform 8">
              <a:extLst>
                <a:ext uri="{FF2B5EF4-FFF2-40B4-BE49-F238E27FC236}">
                  <a16:creationId xmlns:a16="http://schemas.microsoft.com/office/drawing/2014/main" id="{9F2A8DE2-4511-A807-0482-B18C25660597}"/>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0" name="Freeform 9">
              <a:extLst>
                <a:ext uri="{FF2B5EF4-FFF2-40B4-BE49-F238E27FC236}">
                  <a16:creationId xmlns:a16="http://schemas.microsoft.com/office/drawing/2014/main" id="{ABFD94BF-7617-3CEB-D5F6-41E66C429880}"/>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1" name="Freeform 10">
              <a:extLst>
                <a:ext uri="{FF2B5EF4-FFF2-40B4-BE49-F238E27FC236}">
                  <a16:creationId xmlns:a16="http://schemas.microsoft.com/office/drawing/2014/main" id="{23983E7A-EF4D-9082-3A99-A7134366487F}"/>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12" name="Freeform 11">
              <a:extLst>
                <a:ext uri="{FF2B5EF4-FFF2-40B4-BE49-F238E27FC236}">
                  <a16:creationId xmlns:a16="http://schemas.microsoft.com/office/drawing/2014/main" id="{31D1DF13-8590-D1B9-AA40-D0F528F62E9C}"/>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sp>
        <p:nvSpPr>
          <p:cNvPr id="44" name="Title 43">
            <a:extLst>
              <a:ext uri="{FF2B5EF4-FFF2-40B4-BE49-F238E27FC236}">
                <a16:creationId xmlns:a16="http://schemas.microsoft.com/office/drawing/2014/main" id="{25551FA9-757E-7142-8887-C8E3C80DE2B5}"/>
              </a:ext>
            </a:extLst>
          </p:cNvPr>
          <p:cNvSpPr>
            <a:spLocks noGrp="1"/>
          </p:cNvSpPr>
          <p:nvPr>
            <p:ph type="title"/>
          </p:nvPr>
        </p:nvSpPr>
        <p:spPr/>
        <p:txBody>
          <a:bodyPr/>
          <a:lstStyle/>
          <a:p>
            <a:r>
              <a:rPr lang="sv-SE" dirty="0">
                <a:solidFill>
                  <a:schemeClr val="bg1"/>
                </a:solidFill>
              </a:rPr>
              <a:t>HYBRIT – världens första </a:t>
            </a:r>
            <a:br>
              <a:rPr lang="sv-SE" dirty="0">
                <a:solidFill>
                  <a:schemeClr val="bg1"/>
                </a:solidFill>
              </a:rPr>
            </a:br>
            <a:r>
              <a:rPr lang="sv-SE" dirty="0">
                <a:solidFill>
                  <a:schemeClr val="bg1"/>
                </a:solidFill>
              </a:rPr>
              <a:t>fossilfria stålproduktion</a:t>
            </a:r>
          </a:p>
        </p:txBody>
      </p:sp>
      <p:sp>
        <p:nvSpPr>
          <p:cNvPr id="2" name="TextBox 1">
            <a:extLst>
              <a:ext uri="{FF2B5EF4-FFF2-40B4-BE49-F238E27FC236}">
                <a16:creationId xmlns:a16="http://schemas.microsoft.com/office/drawing/2014/main" id="{B594B888-BB5A-F87D-7246-798F843F3CC0}"/>
              </a:ext>
            </a:extLst>
          </p:cNvPr>
          <p:cNvSpPr txBox="1"/>
          <p:nvPr/>
        </p:nvSpPr>
        <p:spPr>
          <a:xfrm>
            <a:off x="546101" y="2423508"/>
            <a:ext cx="4796864" cy="1969770"/>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1600"/>
              </a:spcAft>
              <a:buClrTx/>
              <a:buSzTx/>
              <a:tabLst/>
              <a:defRPr/>
            </a:pPr>
            <a:r>
              <a:rPr kumimoji="0" lang="sv-SE" sz="1400" i="0" u="none" strike="noStrike" kern="1200" cap="none" spc="50" normalizeH="0" noProof="0" dirty="0">
                <a:ln>
                  <a:noFill/>
                </a:ln>
                <a:solidFill>
                  <a:srgbClr val="FFFFFF"/>
                </a:solidFill>
                <a:effectLst/>
                <a:uLnTx/>
                <a:uFillTx/>
                <a:latin typeface="Aptos" panose="02110004020202020204"/>
                <a:ea typeface="+mn-ea"/>
                <a:cs typeface="+mn-cs"/>
              </a:rPr>
              <a:t>FRÅN GRUVA TILL FÄRDIGT STÅL</a:t>
            </a:r>
          </a:p>
          <a:p>
            <a:pPr marL="363538" marR="0" lvl="0" indent="-363538" algn="l" defTabSz="914400" rtl="0" eaLnBrk="1" fontAlgn="auto" latinLnBrk="0" hangingPunct="1">
              <a:lnSpc>
                <a:spcPct val="100000"/>
              </a:lnSpc>
              <a:spcBef>
                <a:spcPts val="0"/>
              </a:spcBef>
              <a:spcAft>
                <a:spcPts val="1600"/>
              </a:spcAft>
              <a:buClrTx/>
              <a:buSzTx/>
              <a:buBlip>
                <a:blip r:embed="rId4">
                  <a:extLst>
                    <a:ext uri="{96DAC541-7B7A-43D3-8B79-37D633B846F1}">
                      <asvg:svgBlip xmlns:asvg="http://schemas.microsoft.com/office/drawing/2016/SVG/main" r:embed="rId5"/>
                    </a:ext>
                  </a:extLst>
                </a:blip>
              </a:buBlip>
              <a:defRPr/>
            </a:pPr>
            <a:r>
              <a:rPr lang="sv-SE" sz="2400" b="1" dirty="0">
                <a:solidFill>
                  <a:srgbClr val="FFFFFF"/>
                </a:solidFill>
                <a:latin typeface="Aptos" panose="02110004020202020204"/>
              </a:rPr>
              <a:t>Fossilfria pellets</a:t>
            </a:r>
          </a:p>
          <a:p>
            <a:pPr marL="363538" marR="0" lvl="0" indent="-363538" algn="l" defTabSz="914400" rtl="0" eaLnBrk="1" fontAlgn="auto" latinLnBrk="0" hangingPunct="1">
              <a:lnSpc>
                <a:spcPct val="100000"/>
              </a:lnSpc>
              <a:spcBef>
                <a:spcPts val="0"/>
              </a:spcBef>
              <a:spcAft>
                <a:spcPts val="1600"/>
              </a:spcAft>
              <a:buClrTx/>
              <a:buSzTx/>
              <a:buBlip>
                <a:blip r:embed="rId4">
                  <a:extLst>
                    <a:ext uri="{96DAC541-7B7A-43D3-8B79-37D633B846F1}">
                      <asvg:svgBlip xmlns:asvg="http://schemas.microsoft.com/office/drawing/2016/SVG/main" r:embed="rId5"/>
                    </a:ext>
                  </a:extLst>
                </a:blip>
              </a:buBlip>
              <a:defRPr/>
            </a:pPr>
            <a:r>
              <a:rPr kumimoji="0" lang="sv-SE" sz="2400" b="1" i="0" u="none" strike="noStrike" kern="1200" cap="none" spc="0" normalizeH="0" baseline="0" noProof="0" dirty="0">
                <a:ln>
                  <a:noFill/>
                </a:ln>
                <a:solidFill>
                  <a:srgbClr val="FFFFFF"/>
                </a:solidFill>
                <a:effectLst/>
                <a:uLnTx/>
                <a:uFillTx/>
                <a:latin typeface="Aptos" panose="02110004020202020204"/>
              </a:rPr>
              <a:t>Fossilfri el</a:t>
            </a:r>
          </a:p>
          <a:p>
            <a:pPr marL="363538" marR="0" lvl="0" indent="-363538" algn="l" defTabSz="914400" rtl="0" eaLnBrk="1" fontAlgn="auto" latinLnBrk="0" hangingPunct="1">
              <a:lnSpc>
                <a:spcPct val="100000"/>
              </a:lnSpc>
              <a:spcBef>
                <a:spcPts val="0"/>
              </a:spcBef>
              <a:spcAft>
                <a:spcPts val="1600"/>
              </a:spcAft>
              <a:buClrTx/>
              <a:buSzTx/>
              <a:buBlip>
                <a:blip r:embed="rId4">
                  <a:extLst>
                    <a:ext uri="{96DAC541-7B7A-43D3-8B79-37D633B846F1}">
                      <asvg:svgBlip xmlns:asvg="http://schemas.microsoft.com/office/drawing/2016/SVG/main" r:embed="rId5"/>
                    </a:ext>
                  </a:extLst>
                </a:blip>
              </a:buBlip>
              <a:defRPr/>
            </a:pPr>
            <a:r>
              <a:rPr lang="sv-SE" sz="2400" b="1" dirty="0">
                <a:solidFill>
                  <a:srgbClr val="FFFFFF"/>
                </a:solidFill>
                <a:latin typeface="Aptos" panose="02110004020202020204"/>
              </a:rPr>
              <a:t>Fossilfri vätgas</a:t>
            </a:r>
            <a:endParaRPr kumimoji="0" lang="sv-SE" b="1" i="0" u="none" strike="noStrike" kern="1200" cap="none" spc="0" normalizeH="0" baseline="0" noProof="0" dirty="0">
              <a:ln>
                <a:noFill/>
              </a:ln>
              <a:solidFill>
                <a:srgbClr val="FFFFFF"/>
              </a:solidFill>
              <a:effectLst/>
              <a:uLnTx/>
              <a:uFillTx/>
              <a:latin typeface="Aptos" panose="02110004020202020204"/>
            </a:endParaRPr>
          </a:p>
        </p:txBody>
      </p:sp>
      <p:sp>
        <p:nvSpPr>
          <p:cNvPr id="4" name="!!Mask">
            <a:extLst>
              <a:ext uri="{FF2B5EF4-FFF2-40B4-BE49-F238E27FC236}">
                <a16:creationId xmlns:a16="http://schemas.microsoft.com/office/drawing/2014/main" id="{3B634950-2448-9579-B23B-4FE71CA85B81}"/>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grpSp>
        <p:nvGrpSpPr>
          <p:cNvPr id="280" name="Group 279">
            <a:extLst>
              <a:ext uri="{FF2B5EF4-FFF2-40B4-BE49-F238E27FC236}">
                <a16:creationId xmlns:a16="http://schemas.microsoft.com/office/drawing/2014/main" id="{3345F076-870C-71C5-9B33-4986239CFD1C}"/>
              </a:ext>
            </a:extLst>
          </p:cNvPr>
          <p:cNvGrpSpPr/>
          <p:nvPr/>
        </p:nvGrpSpPr>
        <p:grpSpPr>
          <a:xfrm>
            <a:off x="537484" y="4927697"/>
            <a:ext cx="4220682" cy="884377"/>
            <a:chOff x="537484" y="4940949"/>
            <a:chExt cx="4220682" cy="884377"/>
          </a:xfrm>
        </p:grpSpPr>
        <p:grpSp>
          <p:nvGrpSpPr>
            <p:cNvPr id="275" name="Group 274">
              <a:extLst>
                <a:ext uri="{FF2B5EF4-FFF2-40B4-BE49-F238E27FC236}">
                  <a16:creationId xmlns:a16="http://schemas.microsoft.com/office/drawing/2014/main" id="{8C30AD54-8A4F-732F-4DA4-6B41518CEB69}"/>
                </a:ext>
              </a:extLst>
            </p:cNvPr>
            <p:cNvGrpSpPr/>
            <p:nvPr/>
          </p:nvGrpSpPr>
          <p:grpSpPr>
            <a:xfrm>
              <a:off x="537484" y="4940949"/>
              <a:ext cx="4220682" cy="202839"/>
              <a:chOff x="537484" y="5083701"/>
              <a:chExt cx="4220682" cy="202839"/>
            </a:xfrm>
          </p:grpSpPr>
          <p:pic>
            <p:nvPicPr>
              <p:cNvPr id="22" name="Bild 20">
                <a:extLst>
                  <a:ext uri="{FF2B5EF4-FFF2-40B4-BE49-F238E27FC236}">
                    <a16:creationId xmlns:a16="http://schemas.microsoft.com/office/drawing/2014/main" id="{1A44497A-B2C5-8696-0A2D-D35B420A4C2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7484" y="5084276"/>
                <a:ext cx="613454" cy="201684"/>
              </a:xfrm>
              <a:prstGeom prst="rect">
                <a:avLst/>
              </a:prstGeom>
            </p:spPr>
          </p:pic>
          <p:sp>
            <p:nvSpPr>
              <p:cNvPr id="23" name="Freeform 19">
                <a:extLst>
                  <a:ext uri="{FF2B5EF4-FFF2-40B4-BE49-F238E27FC236}">
                    <a16:creationId xmlns:a16="http://schemas.microsoft.com/office/drawing/2014/main" id="{527DDFC8-8894-7712-34F9-9E06B0C82CD4}"/>
                  </a:ext>
                </a:extLst>
              </p:cNvPr>
              <p:cNvSpPr>
                <a:spLocks noChangeAspect="1"/>
              </p:cNvSpPr>
              <p:nvPr/>
            </p:nvSpPr>
            <p:spPr>
              <a:xfrm>
                <a:off x="1953585" y="5083701"/>
                <a:ext cx="819184" cy="202839"/>
              </a:xfrm>
              <a:custGeom>
                <a:avLst/>
                <a:gdLst>
                  <a:gd name="connsiteX0" fmla="*/ 2183579 w 2446695"/>
                  <a:gd name="connsiteY0" fmla="*/ 344905 h 605825"/>
                  <a:gd name="connsiteX1" fmla="*/ 2167679 w 2446695"/>
                  <a:gd name="connsiteY1" fmla="*/ 481480 h 605825"/>
                  <a:gd name="connsiteX2" fmla="*/ 2224348 w 2446695"/>
                  <a:gd name="connsiteY2" fmla="*/ 481480 h 605825"/>
                  <a:gd name="connsiteX3" fmla="*/ 2295693 w 2446695"/>
                  <a:gd name="connsiteY3" fmla="*/ 414619 h 605825"/>
                  <a:gd name="connsiteX4" fmla="*/ 2295693 w 2446695"/>
                  <a:gd name="connsiteY4" fmla="*/ 410950 h 605825"/>
                  <a:gd name="connsiteX5" fmla="*/ 2236986 w 2446695"/>
                  <a:gd name="connsiteY5" fmla="*/ 344905 h 605825"/>
                  <a:gd name="connsiteX6" fmla="*/ 273967 w 2446695"/>
                  <a:gd name="connsiteY6" fmla="*/ 324112 h 605825"/>
                  <a:gd name="connsiteX7" fmla="*/ 298428 w 2446695"/>
                  <a:gd name="connsiteY7" fmla="*/ 329820 h 605825"/>
                  <a:gd name="connsiteX8" fmla="*/ 573618 w 2446695"/>
                  <a:gd name="connsiteY8" fmla="*/ 439896 h 605825"/>
                  <a:gd name="connsiteX9" fmla="*/ 303320 w 2446695"/>
                  <a:gd name="connsiteY9" fmla="*/ 605825 h 605825"/>
                  <a:gd name="connsiteX10" fmla="*/ 39546 w 2446695"/>
                  <a:gd name="connsiteY10" fmla="*/ 451311 h 605825"/>
                  <a:gd name="connsiteX11" fmla="*/ 250321 w 2446695"/>
                  <a:gd name="connsiteY11" fmla="*/ 331858 h 605825"/>
                  <a:gd name="connsiteX12" fmla="*/ 273967 w 2446695"/>
                  <a:gd name="connsiteY12" fmla="*/ 324112 h 605825"/>
                  <a:gd name="connsiteX13" fmla="*/ 1801983 w 2446695"/>
                  <a:gd name="connsiteY13" fmla="*/ 156553 h 605825"/>
                  <a:gd name="connsiteX14" fmla="*/ 1798314 w 2446695"/>
                  <a:gd name="connsiteY14" fmla="*/ 161445 h 605825"/>
                  <a:gd name="connsiteX15" fmla="*/ 1714737 w 2446695"/>
                  <a:gd name="connsiteY15" fmla="*/ 379966 h 605825"/>
                  <a:gd name="connsiteX16" fmla="*/ 1715145 w 2446695"/>
                  <a:gd name="connsiteY16" fmla="*/ 379966 h 605825"/>
                  <a:gd name="connsiteX17" fmla="*/ 1715145 w 2446695"/>
                  <a:gd name="connsiteY17" fmla="*/ 379558 h 605825"/>
                  <a:gd name="connsiteX18" fmla="*/ 1836636 w 2446695"/>
                  <a:gd name="connsiteY18" fmla="*/ 379558 h 605825"/>
                  <a:gd name="connsiteX19" fmla="*/ 1804837 w 2446695"/>
                  <a:gd name="connsiteY19" fmla="*/ 160222 h 605825"/>
                  <a:gd name="connsiteX20" fmla="*/ 1801983 w 2446695"/>
                  <a:gd name="connsiteY20" fmla="*/ 156553 h 605825"/>
                  <a:gd name="connsiteX21" fmla="*/ 2207225 w 2446695"/>
                  <a:gd name="connsiteY21" fmla="*/ 122307 h 605825"/>
                  <a:gd name="connsiteX22" fmla="*/ 2193363 w 2446695"/>
                  <a:gd name="connsiteY22" fmla="*/ 242575 h 605825"/>
                  <a:gd name="connsiteX23" fmla="*/ 2245955 w 2446695"/>
                  <a:gd name="connsiteY23" fmla="*/ 242575 h 605825"/>
                  <a:gd name="connsiteX24" fmla="*/ 2312001 w 2446695"/>
                  <a:gd name="connsiteY24" fmla="*/ 183460 h 605825"/>
                  <a:gd name="connsiteX25" fmla="*/ 2312816 w 2446695"/>
                  <a:gd name="connsiteY25" fmla="*/ 180606 h 605825"/>
                  <a:gd name="connsiteX26" fmla="*/ 2259816 w 2446695"/>
                  <a:gd name="connsiteY26" fmla="*/ 122307 h 605825"/>
                  <a:gd name="connsiteX27" fmla="*/ 789285 w 2446695"/>
                  <a:gd name="connsiteY27" fmla="*/ 13046 h 605825"/>
                  <a:gd name="connsiteX28" fmla="*/ 891207 w 2446695"/>
                  <a:gd name="connsiteY28" fmla="*/ 13046 h 605825"/>
                  <a:gd name="connsiteX29" fmla="*/ 838208 w 2446695"/>
                  <a:gd name="connsiteY29" fmla="*/ 470473 h 605825"/>
                  <a:gd name="connsiteX30" fmla="*/ 1061213 w 2446695"/>
                  <a:gd name="connsiteY30" fmla="*/ 470473 h 605825"/>
                  <a:gd name="connsiteX31" fmla="*/ 1047352 w 2446695"/>
                  <a:gd name="connsiteY31" fmla="*/ 591964 h 605825"/>
                  <a:gd name="connsiteX32" fmla="*/ 684917 w 2446695"/>
                  <a:gd name="connsiteY32" fmla="*/ 591964 h 605825"/>
                  <a:gd name="connsiteX33" fmla="*/ 746070 w 2446695"/>
                  <a:gd name="connsiteY33" fmla="*/ 54223 h 605825"/>
                  <a:gd name="connsiteX34" fmla="*/ 789285 w 2446695"/>
                  <a:gd name="connsiteY34" fmla="*/ 13046 h 605825"/>
                  <a:gd name="connsiteX35" fmla="*/ 486372 w 2446695"/>
                  <a:gd name="connsiteY35" fmla="*/ 13046 h 605825"/>
                  <a:gd name="connsiteX36" fmla="*/ 487091 w 2446695"/>
                  <a:gd name="connsiteY36" fmla="*/ 13861 h 605825"/>
                  <a:gd name="connsiteX37" fmla="*/ 486372 w 2446695"/>
                  <a:gd name="connsiteY37" fmla="*/ 13861 h 605825"/>
                  <a:gd name="connsiteX38" fmla="*/ 1167212 w 2446695"/>
                  <a:gd name="connsiteY38" fmla="*/ 12231 h 605825"/>
                  <a:gd name="connsiteX39" fmla="*/ 1269134 w 2446695"/>
                  <a:gd name="connsiteY39" fmla="*/ 12231 h 605825"/>
                  <a:gd name="connsiteX40" fmla="*/ 1237335 w 2446695"/>
                  <a:gd name="connsiteY40" fmla="*/ 283344 h 605825"/>
                  <a:gd name="connsiteX41" fmla="*/ 1412640 w 2446695"/>
                  <a:gd name="connsiteY41" fmla="*/ 13046 h 605825"/>
                  <a:gd name="connsiteX42" fmla="*/ 1579385 w 2446695"/>
                  <a:gd name="connsiteY42" fmla="*/ 13046 h 605825"/>
                  <a:gd name="connsiteX43" fmla="*/ 1390218 w 2446695"/>
                  <a:gd name="connsiteY43" fmla="*/ 294351 h 605825"/>
                  <a:gd name="connsiteX44" fmla="*/ 1489693 w 2446695"/>
                  <a:gd name="connsiteY44" fmla="*/ 543449 h 605825"/>
                  <a:gd name="connsiteX45" fmla="*/ 1704138 w 2446695"/>
                  <a:gd name="connsiteY45" fmla="*/ 54631 h 605825"/>
                  <a:gd name="connsiteX46" fmla="*/ 1747353 w 2446695"/>
                  <a:gd name="connsiteY46" fmla="*/ 13046 h 605825"/>
                  <a:gd name="connsiteX47" fmla="*/ 1892490 w 2446695"/>
                  <a:gd name="connsiteY47" fmla="*/ 13046 h 605825"/>
                  <a:gd name="connsiteX48" fmla="*/ 2014796 w 2446695"/>
                  <a:gd name="connsiteY48" fmla="*/ 582587 h 605825"/>
                  <a:gd name="connsiteX49" fmla="*/ 2079618 w 2446695"/>
                  <a:gd name="connsiteY49" fmla="*/ 13046 h 605825"/>
                  <a:gd name="connsiteX50" fmla="*/ 2299770 w 2446695"/>
                  <a:gd name="connsiteY50" fmla="*/ 13046 h 605825"/>
                  <a:gd name="connsiteX51" fmla="*/ 2445315 w 2446695"/>
                  <a:gd name="connsiteY51" fmla="*/ 163483 h 605825"/>
                  <a:gd name="connsiteX52" fmla="*/ 2445315 w 2446695"/>
                  <a:gd name="connsiteY52" fmla="*/ 167152 h 605825"/>
                  <a:gd name="connsiteX53" fmla="*/ 2349508 w 2446695"/>
                  <a:gd name="connsiteY53" fmla="*/ 293536 h 605825"/>
                  <a:gd name="connsiteX54" fmla="*/ 2430230 w 2446695"/>
                  <a:gd name="connsiteY54" fmla="*/ 429296 h 605825"/>
                  <a:gd name="connsiteX55" fmla="*/ 2430230 w 2446695"/>
                  <a:gd name="connsiteY55" fmla="*/ 432150 h 605825"/>
                  <a:gd name="connsiteX56" fmla="*/ 2236986 w 2446695"/>
                  <a:gd name="connsiteY56" fmla="*/ 591148 h 605825"/>
                  <a:gd name="connsiteX57" fmla="*/ 1867213 w 2446695"/>
                  <a:gd name="connsiteY57" fmla="*/ 591148 h 605825"/>
                  <a:gd name="connsiteX58" fmla="*/ 1851313 w 2446695"/>
                  <a:gd name="connsiteY58" fmla="*/ 480257 h 605825"/>
                  <a:gd name="connsiteX59" fmla="*/ 1676415 w 2446695"/>
                  <a:gd name="connsiteY59" fmla="*/ 480257 h 605825"/>
                  <a:gd name="connsiteX60" fmla="*/ 1634831 w 2446695"/>
                  <a:gd name="connsiteY60" fmla="*/ 591148 h 605825"/>
                  <a:gd name="connsiteX61" fmla="*/ 1339664 w 2446695"/>
                  <a:gd name="connsiteY61" fmla="*/ 591148 h 605825"/>
                  <a:gd name="connsiteX62" fmla="*/ 1234888 w 2446695"/>
                  <a:gd name="connsiteY62" fmla="*/ 305766 h 605825"/>
                  <a:gd name="connsiteX63" fmla="*/ 1202681 w 2446695"/>
                  <a:gd name="connsiteY63" fmla="*/ 591148 h 605825"/>
                  <a:gd name="connsiteX64" fmla="*/ 1064067 w 2446695"/>
                  <a:gd name="connsiteY64" fmla="*/ 591148 h 605825"/>
                  <a:gd name="connsiteX65" fmla="*/ 1126036 w 2446695"/>
                  <a:gd name="connsiteY65" fmla="*/ 53407 h 605825"/>
                  <a:gd name="connsiteX66" fmla="*/ 1167212 w 2446695"/>
                  <a:gd name="connsiteY66" fmla="*/ 12231 h 605825"/>
                  <a:gd name="connsiteX67" fmla="*/ 302912 w 2446695"/>
                  <a:gd name="connsiteY67" fmla="*/ 0 h 605825"/>
                  <a:gd name="connsiteX68" fmla="*/ 500641 w 2446695"/>
                  <a:gd name="connsiteY68" fmla="*/ 74199 h 605825"/>
                  <a:gd name="connsiteX69" fmla="*/ 523064 w 2446695"/>
                  <a:gd name="connsiteY69" fmla="*/ 54630 h 605825"/>
                  <a:gd name="connsiteX70" fmla="*/ 487091 w 2446695"/>
                  <a:gd name="connsiteY70" fmla="*/ 13861 h 605825"/>
                  <a:gd name="connsiteX71" fmla="*/ 635994 w 2446695"/>
                  <a:gd name="connsiteY71" fmla="*/ 13861 h 605825"/>
                  <a:gd name="connsiteX72" fmla="*/ 618871 w 2446695"/>
                  <a:gd name="connsiteY72" fmla="*/ 162668 h 605825"/>
                  <a:gd name="connsiteX73" fmla="*/ 582179 w 2446695"/>
                  <a:gd name="connsiteY73" fmla="*/ 121083 h 605825"/>
                  <a:gd name="connsiteX74" fmla="*/ 558533 w 2446695"/>
                  <a:gd name="connsiteY74" fmla="*/ 141876 h 605825"/>
                  <a:gd name="connsiteX75" fmla="*/ 605417 w 2446695"/>
                  <a:gd name="connsiteY75" fmla="*/ 302912 h 605825"/>
                  <a:gd name="connsiteX76" fmla="*/ 602563 w 2446695"/>
                  <a:gd name="connsiteY76" fmla="*/ 345312 h 605825"/>
                  <a:gd name="connsiteX77" fmla="*/ 370996 w 2446695"/>
                  <a:gd name="connsiteY77" fmla="*/ 207106 h 605825"/>
                  <a:gd name="connsiteX78" fmla="*/ 352243 w 2446695"/>
                  <a:gd name="connsiteY78" fmla="*/ 200583 h 605825"/>
                  <a:gd name="connsiteX79" fmla="*/ 333489 w 2446695"/>
                  <a:gd name="connsiteY79" fmla="*/ 205475 h 605825"/>
                  <a:gd name="connsiteX80" fmla="*/ 276820 w 2446695"/>
                  <a:gd name="connsiteY80" fmla="*/ 237275 h 605825"/>
                  <a:gd name="connsiteX81" fmla="*/ 592371 w 2446695"/>
                  <a:gd name="connsiteY81" fmla="*/ 390565 h 605825"/>
                  <a:gd name="connsiteX82" fmla="*/ 591556 w 2446695"/>
                  <a:gd name="connsiteY82" fmla="*/ 392604 h 605825"/>
                  <a:gd name="connsiteX83" fmla="*/ 587886 w 2446695"/>
                  <a:gd name="connsiteY83" fmla="*/ 403204 h 605825"/>
                  <a:gd name="connsiteX84" fmla="*/ 204659 w 2446695"/>
                  <a:gd name="connsiteY84" fmla="*/ 227898 h 605825"/>
                  <a:gd name="connsiteX85" fmla="*/ 182237 w 2446695"/>
                  <a:gd name="connsiteY85" fmla="*/ 221375 h 605825"/>
                  <a:gd name="connsiteX86" fmla="*/ 159814 w 2446695"/>
                  <a:gd name="connsiteY86" fmla="*/ 227898 h 605825"/>
                  <a:gd name="connsiteX87" fmla="*/ 0 w 2446695"/>
                  <a:gd name="connsiteY87" fmla="*/ 311474 h 605825"/>
                  <a:gd name="connsiteX88" fmla="*/ 0 w 2446695"/>
                  <a:gd name="connsiteY88" fmla="*/ 302912 h 605825"/>
                  <a:gd name="connsiteX89" fmla="*/ 302912 w 2446695"/>
                  <a:gd name="connsiteY89" fmla="*/ 0 h 60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446695" h="605825">
                    <a:moveTo>
                      <a:pt x="2183579" y="344905"/>
                    </a:moveTo>
                    <a:lnTo>
                      <a:pt x="2167679" y="481480"/>
                    </a:lnTo>
                    <a:lnTo>
                      <a:pt x="2224348" y="481480"/>
                    </a:lnTo>
                    <a:cubicBezTo>
                      <a:pt x="2267563" y="481480"/>
                      <a:pt x="2290801" y="457834"/>
                      <a:pt x="2295693" y="414619"/>
                    </a:cubicBezTo>
                    <a:lnTo>
                      <a:pt x="2295693" y="410950"/>
                    </a:lnTo>
                    <a:cubicBezTo>
                      <a:pt x="2300585" y="366920"/>
                      <a:pt x="2283870" y="344497"/>
                      <a:pt x="2236986" y="344905"/>
                    </a:cubicBezTo>
                    <a:close/>
                    <a:moveTo>
                      <a:pt x="273967" y="324112"/>
                    </a:moveTo>
                    <a:cubicBezTo>
                      <a:pt x="285382" y="324112"/>
                      <a:pt x="298428" y="329820"/>
                      <a:pt x="298428" y="329820"/>
                    </a:cubicBezTo>
                    <a:lnTo>
                      <a:pt x="573618" y="439896"/>
                    </a:lnTo>
                    <a:cubicBezTo>
                      <a:pt x="523472" y="538148"/>
                      <a:pt x="421142" y="605825"/>
                      <a:pt x="303320" y="605825"/>
                    </a:cubicBezTo>
                    <a:cubicBezTo>
                      <a:pt x="189575" y="605825"/>
                      <a:pt x="90915" y="543041"/>
                      <a:pt x="39546" y="451311"/>
                    </a:cubicBezTo>
                    <a:lnTo>
                      <a:pt x="250321" y="331858"/>
                    </a:lnTo>
                    <a:cubicBezTo>
                      <a:pt x="250321" y="331858"/>
                      <a:pt x="262551" y="324112"/>
                      <a:pt x="273967" y="324112"/>
                    </a:cubicBezTo>
                    <a:close/>
                    <a:moveTo>
                      <a:pt x="1801983" y="156553"/>
                    </a:moveTo>
                    <a:cubicBezTo>
                      <a:pt x="1800352" y="156553"/>
                      <a:pt x="1799944" y="157776"/>
                      <a:pt x="1798314" y="161445"/>
                    </a:cubicBezTo>
                    <a:lnTo>
                      <a:pt x="1714737" y="379966"/>
                    </a:lnTo>
                    <a:lnTo>
                      <a:pt x="1715145" y="379966"/>
                    </a:lnTo>
                    <a:lnTo>
                      <a:pt x="1715145" y="379558"/>
                    </a:lnTo>
                    <a:lnTo>
                      <a:pt x="1836636" y="379558"/>
                    </a:lnTo>
                    <a:lnTo>
                      <a:pt x="1804837" y="160222"/>
                    </a:lnTo>
                    <a:cubicBezTo>
                      <a:pt x="1804021" y="157368"/>
                      <a:pt x="1803613" y="156553"/>
                      <a:pt x="1801983" y="156553"/>
                    </a:cubicBezTo>
                    <a:close/>
                    <a:moveTo>
                      <a:pt x="2207225" y="122307"/>
                    </a:moveTo>
                    <a:lnTo>
                      <a:pt x="2193363" y="242575"/>
                    </a:lnTo>
                    <a:lnTo>
                      <a:pt x="2245955" y="242575"/>
                    </a:lnTo>
                    <a:cubicBezTo>
                      <a:pt x="2289170" y="242575"/>
                      <a:pt x="2307516" y="224637"/>
                      <a:pt x="2312001" y="183460"/>
                    </a:cubicBezTo>
                    <a:lnTo>
                      <a:pt x="2312816" y="180606"/>
                    </a:lnTo>
                    <a:cubicBezTo>
                      <a:pt x="2317301" y="141060"/>
                      <a:pt x="2301401" y="123122"/>
                      <a:pt x="2259816" y="122307"/>
                    </a:cubicBezTo>
                    <a:close/>
                    <a:moveTo>
                      <a:pt x="789285" y="13046"/>
                    </a:moveTo>
                    <a:lnTo>
                      <a:pt x="891207" y="13046"/>
                    </a:lnTo>
                    <a:cubicBezTo>
                      <a:pt x="891207" y="13046"/>
                      <a:pt x="838208" y="470473"/>
                      <a:pt x="838208" y="470473"/>
                    </a:cubicBezTo>
                    <a:lnTo>
                      <a:pt x="1061213" y="470473"/>
                    </a:lnTo>
                    <a:lnTo>
                      <a:pt x="1047352" y="591964"/>
                    </a:lnTo>
                    <a:lnTo>
                      <a:pt x="684917" y="591964"/>
                    </a:lnTo>
                    <a:cubicBezTo>
                      <a:pt x="694294" y="507980"/>
                      <a:pt x="735470" y="146360"/>
                      <a:pt x="746070" y="54223"/>
                    </a:cubicBezTo>
                    <a:cubicBezTo>
                      <a:pt x="749739" y="26908"/>
                      <a:pt x="766862" y="13046"/>
                      <a:pt x="789285" y="13046"/>
                    </a:cubicBezTo>
                    <a:close/>
                    <a:moveTo>
                      <a:pt x="486372" y="13046"/>
                    </a:moveTo>
                    <a:lnTo>
                      <a:pt x="487091" y="13861"/>
                    </a:lnTo>
                    <a:lnTo>
                      <a:pt x="486372" y="13861"/>
                    </a:lnTo>
                    <a:close/>
                    <a:moveTo>
                      <a:pt x="1167212" y="12231"/>
                    </a:moveTo>
                    <a:lnTo>
                      <a:pt x="1269134" y="12231"/>
                    </a:lnTo>
                    <a:cubicBezTo>
                      <a:pt x="1268319" y="17939"/>
                      <a:pt x="1237335" y="283344"/>
                      <a:pt x="1237335" y="283344"/>
                    </a:cubicBezTo>
                    <a:lnTo>
                      <a:pt x="1412640" y="13046"/>
                    </a:lnTo>
                    <a:lnTo>
                      <a:pt x="1579385" y="13046"/>
                    </a:lnTo>
                    <a:lnTo>
                      <a:pt x="1390218" y="294351"/>
                    </a:lnTo>
                    <a:lnTo>
                      <a:pt x="1489693" y="543449"/>
                    </a:lnTo>
                    <a:cubicBezTo>
                      <a:pt x="1547585" y="412173"/>
                      <a:pt x="1703322" y="56261"/>
                      <a:pt x="1704138" y="54631"/>
                    </a:cubicBezTo>
                    <a:cubicBezTo>
                      <a:pt x="1714330" y="31800"/>
                      <a:pt x="1722076" y="13046"/>
                      <a:pt x="1747353" y="13046"/>
                    </a:cubicBezTo>
                    <a:lnTo>
                      <a:pt x="1892490" y="13046"/>
                    </a:lnTo>
                    <a:lnTo>
                      <a:pt x="2014796" y="582587"/>
                    </a:lnTo>
                    <a:lnTo>
                      <a:pt x="2079618" y="13046"/>
                    </a:lnTo>
                    <a:lnTo>
                      <a:pt x="2299770" y="13046"/>
                    </a:lnTo>
                    <a:cubicBezTo>
                      <a:pt x="2413515" y="13046"/>
                      <a:pt x="2455099" y="75015"/>
                      <a:pt x="2445315" y="163483"/>
                    </a:cubicBezTo>
                    <a:lnTo>
                      <a:pt x="2445315" y="167152"/>
                    </a:lnTo>
                    <a:cubicBezTo>
                      <a:pt x="2437976" y="231567"/>
                      <a:pt x="2405769" y="276413"/>
                      <a:pt x="2349508" y="293536"/>
                    </a:cubicBezTo>
                    <a:cubicBezTo>
                      <a:pt x="2407400" y="305766"/>
                      <a:pt x="2439607" y="348574"/>
                      <a:pt x="2430230" y="429296"/>
                    </a:cubicBezTo>
                    <a:lnTo>
                      <a:pt x="2430230" y="432150"/>
                    </a:lnTo>
                    <a:cubicBezTo>
                      <a:pt x="2417999" y="535703"/>
                      <a:pt x="2356439" y="591148"/>
                      <a:pt x="2236986" y="591148"/>
                    </a:cubicBezTo>
                    <a:lnTo>
                      <a:pt x="1867213" y="591148"/>
                    </a:lnTo>
                    <a:lnTo>
                      <a:pt x="1851313" y="480257"/>
                    </a:lnTo>
                    <a:lnTo>
                      <a:pt x="1676415" y="480257"/>
                    </a:lnTo>
                    <a:lnTo>
                      <a:pt x="1634831" y="591148"/>
                    </a:lnTo>
                    <a:lnTo>
                      <a:pt x="1339664" y="591148"/>
                    </a:lnTo>
                    <a:lnTo>
                      <a:pt x="1234888" y="305766"/>
                    </a:lnTo>
                    <a:cubicBezTo>
                      <a:pt x="1234888" y="305766"/>
                      <a:pt x="1207573" y="544264"/>
                      <a:pt x="1202681" y="591148"/>
                    </a:cubicBezTo>
                    <a:lnTo>
                      <a:pt x="1064067" y="591148"/>
                    </a:lnTo>
                    <a:cubicBezTo>
                      <a:pt x="1073444" y="507980"/>
                      <a:pt x="1115436" y="151253"/>
                      <a:pt x="1126036" y="53407"/>
                    </a:cubicBezTo>
                    <a:cubicBezTo>
                      <a:pt x="1128482" y="30985"/>
                      <a:pt x="1144382" y="12231"/>
                      <a:pt x="1167212" y="12231"/>
                    </a:cubicBezTo>
                    <a:close/>
                    <a:moveTo>
                      <a:pt x="302912" y="0"/>
                    </a:moveTo>
                    <a:cubicBezTo>
                      <a:pt x="378335" y="0"/>
                      <a:pt x="448049" y="28131"/>
                      <a:pt x="500641" y="74199"/>
                    </a:cubicBezTo>
                    <a:lnTo>
                      <a:pt x="523064" y="54630"/>
                    </a:lnTo>
                    <a:lnTo>
                      <a:pt x="487091" y="13861"/>
                    </a:lnTo>
                    <a:lnTo>
                      <a:pt x="635994" y="13861"/>
                    </a:lnTo>
                    <a:lnTo>
                      <a:pt x="618871" y="162668"/>
                    </a:lnTo>
                    <a:lnTo>
                      <a:pt x="582179" y="121083"/>
                    </a:lnTo>
                    <a:lnTo>
                      <a:pt x="558533" y="141876"/>
                    </a:lnTo>
                    <a:cubicBezTo>
                      <a:pt x="588294" y="188760"/>
                      <a:pt x="605417" y="243390"/>
                      <a:pt x="605417" y="302912"/>
                    </a:cubicBezTo>
                    <a:cubicBezTo>
                      <a:pt x="605417" y="317181"/>
                      <a:pt x="604602" y="331451"/>
                      <a:pt x="602563" y="345312"/>
                    </a:cubicBezTo>
                    <a:cubicBezTo>
                      <a:pt x="479441" y="271928"/>
                      <a:pt x="370996" y="207106"/>
                      <a:pt x="370996" y="207106"/>
                    </a:cubicBezTo>
                    <a:cubicBezTo>
                      <a:pt x="365289" y="203436"/>
                      <a:pt x="358766" y="200583"/>
                      <a:pt x="352243" y="200583"/>
                    </a:cubicBezTo>
                    <a:cubicBezTo>
                      <a:pt x="345720" y="200583"/>
                      <a:pt x="341235" y="200990"/>
                      <a:pt x="333489" y="205475"/>
                    </a:cubicBezTo>
                    <a:cubicBezTo>
                      <a:pt x="325743" y="209959"/>
                      <a:pt x="276820" y="237275"/>
                      <a:pt x="276820" y="237275"/>
                    </a:cubicBezTo>
                    <a:lnTo>
                      <a:pt x="592371" y="390565"/>
                    </a:lnTo>
                    <a:cubicBezTo>
                      <a:pt x="591556" y="390973"/>
                      <a:pt x="591556" y="391788"/>
                      <a:pt x="591556" y="392604"/>
                    </a:cubicBezTo>
                    <a:cubicBezTo>
                      <a:pt x="589925" y="395865"/>
                      <a:pt x="589517" y="399534"/>
                      <a:pt x="587886" y="403204"/>
                    </a:cubicBezTo>
                    <a:lnTo>
                      <a:pt x="204659" y="227898"/>
                    </a:lnTo>
                    <a:cubicBezTo>
                      <a:pt x="204659" y="227898"/>
                      <a:pt x="192429" y="221375"/>
                      <a:pt x="182237" y="221375"/>
                    </a:cubicBezTo>
                    <a:cubicBezTo>
                      <a:pt x="171229" y="221375"/>
                      <a:pt x="159814" y="227898"/>
                      <a:pt x="159814" y="227898"/>
                    </a:cubicBezTo>
                    <a:lnTo>
                      <a:pt x="0" y="311474"/>
                    </a:lnTo>
                    <a:lnTo>
                      <a:pt x="0" y="302912"/>
                    </a:lnTo>
                    <a:cubicBezTo>
                      <a:pt x="0" y="135352"/>
                      <a:pt x="135352" y="0"/>
                      <a:pt x="302912" y="0"/>
                    </a:cubicBezTo>
                    <a:close/>
                  </a:path>
                </a:pathLst>
              </a:custGeom>
              <a:solidFill>
                <a:schemeClr val="bg1"/>
              </a:solidFill>
              <a:ln w="4076" cap="flat">
                <a:noFill/>
                <a:prstDash val="solid"/>
                <a:miter/>
              </a:ln>
            </p:spPr>
            <p:txBody>
              <a:bodyPr rtlCol="0" anchor="ctr"/>
              <a:lstStyle/>
              <a:p>
                <a:endParaRPr lang="en-GB" sz="800">
                  <a:solidFill>
                    <a:schemeClr val="accent1"/>
                  </a:solidFill>
                  <a:latin typeface="+mn-lt"/>
                </a:endParaRPr>
              </a:p>
            </p:txBody>
          </p:sp>
          <p:sp>
            <p:nvSpPr>
              <p:cNvPr id="24" name="Freeform 23">
                <a:extLst>
                  <a:ext uri="{FF2B5EF4-FFF2-40B4-BE49-F238E27FC236}">
                    <a16:creationId xmlns:a16="http://schemas.microsoft.com/office/drawing/2014/main" id="{A53583CF-14A8-BC3B-FE36-49C037C85E6C}"/>
                  </a:ext>
                </a:extLst>
              </p:cNvPr>
              <p:cNvSpPr>
                <a:spLocks noChangeAspect="1"/>
              </p:cNvSpPr>
              <p:nvPr/>
            </p:nvSpPr>
            <p:spPr>
              <a:xfrm>
                <a:off x="3512927" y="5091100"/>
                <a:ext cx="1245239" cy="188036"/>
              </a:xfrm>
              <a:custGeom>
                <a:avLst/>
                <a:gdLst>
                  <a:gd name="connsiteX0" fmla="*/ 631798 w 1032646"/>
                  <a:gd name="connsiteY0" fmla="*/ 60355 h 155933"/>
                  <a:gd name="connsiteX1" fmla="*/ 619413 w 1032646"/>
                  <a:gd name="connsiteY1" fmla="*/ 90751 h 155933"/>
                  <a:gd name="connsiteX2" fmla="*/ 644184 w 1032646"/>
                  <a:gd name="connsiteY2" fmla="*/ 90751 h 155933"/>
                  <a:gd name="connsiteX3" fmla="*/ 131139 w 1032646"/>
                  <a:gd name="connsiteY3" fmla="*/ 60355 h 155933"/>
                  <a:gd name="connsiteX4" fmla="*/ 118827 w 1032646"/>
                  <a:gd name="connsiteY4" fmla="*/ 90751 h 155933"/>
                  <a:gd name="connsiteX5" fmla="*/ 143525 w 1032646"/>
                  <a:gd name="connsiteY5" fmla="*/ 90751 h 155933"/>
                  <a:gd name="connsiteX6" fmla="*/ 764175 w 1032646"/>
                  <a:gd name="connsiteY6" fmla="*/ 35779 h 155933"/>
                  <a:gd name="connsiteX7" fmla="*/ 787780 w 1032646"/>
                  <a:gd name="connsiteY7" fmla="*/ 35779 h 155933"/>
                  <a:gd name="connsiteX8" fmla="*/ 787780 w 1032646"/>
                  <a:gd name="connsiteY8" fmla="*/ 105051 h 155933"/>
                  <a:gd name="connsiteX9" fmla="*/ 829380 w 1032646"/>
                  <a:gd name="connsiteY9" fmla="*/ 105051 h 155933"/>
                  <a:gd name="connsiteX10" fmla="*/ 829380 w 1032646"/>
                  <a:gd name="connsiteY10" fmla="*/ 124740 h 155933"/>
                  <a:gd name="connsiteX11" fmla="*/ 764175 w 1032646"/>
                  <a:gd name="connsiteY11" fmla="*/ 124740 h 155933"/>
                  <a:gd name="connsiteX12" fmla="*/ 688698 w 1032646"/>
                  <a:gd name="connsiteY12" fmla="*/ 35779 h 155933"/>
                  <a:gd name="connsiteX13" fmla="*/ 712376 w 1032646"/>
                  <a:gd name="connsiteY13" fmla="*/ 35779 h 155933"/>
                  <a:gd name="connsiteX14" fmla="*/ 712376 w 1032646"/>
                  <a:gd name="connsiteY14" fmla="*/ 105051 h 155933"/>
                  <a:gd name="connsiteX15" fmla="*/ 753976 w 1032646"/>
                  <a:gd name="connsiteY15" fmla="*/ 105051 h 155933"/>
                  <a:gd name="connsiteX16" fmla="*/ 753976 w 1032646"/>
                  <a:gd name="connsiteY16" fmla="*/ 124740 h 155933"/>
                  <a:gd name="connsiteX17" fmla="*/ 688698 w 1032646"/>
                  <a:gd name="connsiteY17" fmla="*/ 124740 h 155933"/>
                  <a:gd name="connsiteX18" fmla="*/ 620287 w 1032646"/>
                  <a:gd name="connsiteY18" fmla="*/ 35779 h 155933"/>
                  <a:gd name="connsiteX19" fmla="*/ 643455 w 1032646"/>
                  <a:gd name="connsiteY19" fmla="*/ 35779 h 155933"/>
                  <a:gd name="connsiteX20" fmla="*/ 681048 w 1032646"/>
                  <a:gd name="connsiteY20" fmla="*/ 124740 h 155933"/>
                  <a:gd name="connsiteX21" fmla="*/ 658171 w 1032646"/>
                  <a:gd name="connsiteY21" fmla="*/ 124740 h 155933"/>
                  <a:gd name="connsiteX22" fmla="*/ 651688 w 1032646"/>
                  <a:gd name="connsiteY22" fmla="*/ 108860 h 155933"/>
                  <a:gd name="connsiteX23" fmla="*/ 611981 w 1032646"/>
                  <a:gd name="connsiteY23" fmla="*/ 108860 h 155933"/>
                  <a:gd name="connsiteX24" fmla="*/ 605497 w 1032646"/>
                  <a:gd name="connsiteY24" fmla="*/ 124740 h 155933"/>
                  <a:gd name="connsiteX25" fmla="*/ 582694 w 1032646"/>
                  <a:gd name="connsiteY25" fmla="*/ 124740 h 155933"/>
                  <a:gd name="connsiteX26" fmla="*/ 521714 w 1032646"/>
                  <a:gd name="connsiteY26" fmla="*/ 35779 h 155933"/>
                  <a:gd name="connsiteX27" fmla="*/ 590562 w 1032646"/>
                  <a:gd name="connsiteY27" fmla="*/ 35779 h 155933"/>
                  <a:gd name="connsiteX28" fmla="*/ 590562 w 1032646"/>
                  <a:gd name="connsiteY28" fmla="*/ 54893 h 155933"/>
                  <a:gd name="connsiteX29" fmla="*/ 545319 w 1032646"/>
                  <a:gd name="connsiteY29" fmla="*/ 54893 h 155933"/>
                  <a:gd name="connsiteX30" fmla="*/ 545319 w 1032646"/>
                  <a:gd name="connsiteY30" fmla="*/ 69696 h 155933"/>
                  <a:gd name="connsiteX31" fmla="*/ 583495 w 1032646"/>
                  <a:gd name="connsiteY31" fmla="*/ 69696 h 155933"/>
                  <a:gd name="connsiteX32" fmla="*/ 583495 w 1032646"/>
                  <a:gd name="connsiteY32" fmla="*/ 88739 h 155933"/>
                  <a:gd name="connsiteX33" fmla="*/ 545319 w 1032646"/>
                  <a:gd name="connsiteY33" fmla="*/ 88739 h 155933"/>
                  <a:gd name="connsiteX34" fmla="*/ 545319 w 1032646"/>
                  <a:gd name="connsiteY34" fmla="*/ 124740 h 155933"/>
                  <a:gd name="connsiteX35" fmla="*/ 521714 w 1032646"/>
                  <a:gd name="connsiteY35" fmla="*/ 124740 h 155933"/>
                  <a:gd name="connsiteX36" fmla="*/ 418406 w 1032646"/>
                  <a:gd name="connsiteY36" fmla="*/ 35779 h 155933"/>
                  <a:gd name="connsiteX37" fmla="*/ 440991 w 1032646"/>
                  <a:gd name="connsiteY37" fmla="*/ 35779 h 155933"/>
                  <a:gd name="connsiteX38" fmla="*/ 481207 w 1032646"/>
                  <a:gd name="connsiteY38" fmla="*/ 89026 h 155933"/>
                  <a:gd name="connsiteX39" fmla="*/ 481207 w 1032646"/>
                  <a:gd name="connsiteY39" fmla="*/ 35779 h 155933"/>
                  <a:gd name="connsiteX40" fmla="*/ 503719 w 1032646"/>
                  <a:gd name="connsiteY40" fmla="*/ 35779 h 155933"/>
                  <a:gd name="connsiteX41" fmla="*/ 503719 w 1032646"/>
                  <a:gd name="connsiteY41" fmla="*/ 124740 h 155933"/>
                  <a:gd name="connsiteX42" fmla="*/ 481207 w 1032646"/>
                  <a:gd name="connsiteY42" fmla="*/ 124740 h 155933"/>
                  <a:gd name="connsiteX43" fmla="*/ 440991 w 1032646"/>
                  <a:gd name="connsiteY43" fmla="*/ 72140 h 155933"/>
                  <a:gd name="connsiteX44" fmla="*/ 440991 w 1032646"/>
                  <a:gd name="connsiteY44" fmla="*/ 124740 h 155933"/>
                  <a:gd name="connsiteX45" fmla="*/ 418406 w 1032646"/>
                  <a:gd name="connsiteY45" fmla="*/ 124740 h 155933"/>
                  <a:gd name="connsiteX46" fmla="*/ 335351 w 1032646"/>
                  <a:gd name="connsiteY46" fmla="*/ 35779 h 155933"/>
                  <a:gd name="connsiteX47" fmla="*/ 402086 w 1032646"/>
                  <a:gd name="connsiteY47" fmla="*/ 35779 h 155933"/>
                  <a:gd name="connsiteX48" fmla="*/ 402086 w 1032646"/>
                  <a:gd name="connsiteY48" fmla="*/ 54893 h 155933"/>
                  <a:gd name="connsiteX49" fmla="*/ 358956 w 1032646"/>
                  <a:gd name="connsiteY49" fmla="*/ 54893 h 155933"/>
                  <a:gd name="connsiteX50" fmla="*/ 358956 w 1032646"/>
                  <a:gd name="connsiteY50" fmla="*/ 69121 h 155933"/>
                  <a:gd name="connsiteX51" fmla="*/ 395529 w 1032646"/>
                  <a:gd name="connsiteY51" fmla="*/ 69121 h 155933"/>
                  <a:gd name="connsiteX52" fmla="*/ 395529 w 1032646"/>
                  <a:gd name="connsiteY52" fmla="*/ 88164 h 155933"/>
                  <a:gd name="connsiteX53" fmla="*/ 358956 w 1032646"/>
                  <a:gd name="connsiteY53" fmla="*/ 88164 h 155933"/>
                  <a:gd name="connsiteX54" fmla="*/ 358956 w 1032646"/>
                  <a:gd name="connsiteY54" fmla="*/ 105698 h 155933"/>
                  <a:gd name="connsiteX55" fmla="*/ 402086 w 1032646"/>
                  <a:gd name="connsiteY55" fmla="*/ 105698 h 155933"/>
                  <a:gd name="connsiteX56" fmla="*/ 402086 w 1032646"/>
                  <a:gd name="connsiteY56" fmla="*/ 124740 h 155933"/>
                  <a:gd name="connsiteX57" fmla="*/ 358956 w 1032646"/>
                  <a:gd name="connsiteY57" fmla="*/ 124740 h 155933"/>
                  <a:gd name="connsiteX58" fmla="*/ 335351 w 1032646"/>
                  <a:gd name="connsiteY58" fmla="*/ 124740 h 155933"/>
                  <a:gd name="connsiteX59" fmla="*/ 250475 w 1032646"/>
                  <a:gd name="connsiteY59" fmla="*/ 35779 h 155933"/>
                  <a:gd name="connsiteX60" fmla="*/ 323913 w 1032646"/>
                  <a:gd name="connsiteY60" fmla="*/ 35779 h 155933"/>
                  <a:gd name="connsiteX61" fmla="*/ 323913 w 1032646"/>
                  <a:gd name="connsiteY61" fmla="*/ 54893 h 155933"/>
                  <a:gd name="connsiteX62" fmla="*/ 297758 w 1032646"/>
                  <a:gd name="connsiteY62" fmla="*/ 54893 h 155933"/>
                  <a:gd name="connsiteX63" fmla="*/ 297758 w 1032646"/>
                  <a:gd name="connsiteY63" fmla="*/ 124740 h 155933"/>
                  <a:gd name="connsiteX64" fmla="*/ 274153 w 1032646"/>
                  <a:gd name="connsiteY64" fmla="*/ 124740 h 155933"/>
                  <a:gd name="connsiteX65" fmla="*/ 274153 w 1032646"/>
                  <a:gd name="connsiteY65" fmla="*/ 54893 h 155933"/>
                  <a:gd name="connsiteX66" fmla="*/ 250475 w 1032646"/>
                  <a:gd name="connsiteY66" fmla="*/ 54893 h 155933"/>
                  <a:gd name="connsiteX67" fmla="*/ 168878 w 1032646"/>
                  <a:gd name="connsiteY67" fmla="*/ 35779 h 155933"/>
                  <a:gd name="connsiteX68" fmla="*/ 242243 w 1032646"/>
                  <a:gd name="connsiteY68" fmla="*/ 35779 h 155933"/>
                  <a:gd name="connsiteX69" fmla="*/ 242243 w 1032646"/>
                  <a:gd name="connsiteY69" fmla="*/ 54893 h 155933"/>
                  <a:gd name="connsiteX70" fmla="*/ 218638 w 1032646"/>
                  <a:gd name="connsiteY70" fmla="*/ 54893 h 155933"/>
                  <a:gd name="connsiteX71" fmla="*/ 218638 w 1032646"/>
                  <a:gd name="connsiteY71" fmla="*/ 124740 h 155933"/>
                  <a:gd name="connsiteX72" fmla="*/ 195033 w 1032646"/>
                  <a:gd name="connsiteY72" fmla="*/ 124740 h 155933"/>
                  <a:gd name="connsiteX73" fmla="*/ 195033 w 1032646"/>
                  <a:gd name="connsiteY73" fmla="*/ 54893 h 155933"/>
                  <a:gd name="connsiteX74" fmla="*/ 168878 w 1032646"/>
                  <a:gd name="connsiteY74" fmla="*/ 54893 h 155933"/>
                  <a:gd name="connsiteX75" fmla="*/ 119701 w 1032646"/>
                  <a:gd name="connsiteY75" fmla="*/ 35779 h 155933"/>
                  <a:gd name="connsiteX76" fmla="*/ 142796 w 1032646"/>
                  <a:gd name="connsiteY76" fmla="*/ 35779 h 155933"/>
                  <a:gd name="connsiteX77" fmla="*/ 180462 w 1032646"/>
                  <a:gd name="connsiteY77" fmla="*/ 124740 h 155933"/>
                  <a:gd name="connsiteX78" fmla="*/ 157586 w 1032646"/>
                  <a:gd name="connsiteY78" fmla="*/ 124740 h 155933"/>
                  <a:gd name="connsiteX79" fmla="*/ 151102 w 1032646"/>
                  <a:gd name="connsiteY79" fmla="*/ 108860 h 155933"/>
                  <a:gd name="connsiteX80" fmla="*/ 111395 w 1032646"/>
                  <a:gd name="connsiteY80" fmla="*/ 108860 h 155933"/>
                  <a:gd name="connsiteX81" fmla="*/ 104911 w 1032646"/>
                  <a:gd name="connsiteY81" fmla="*/ 124740 h 155933"/>
                  <a:gd name="connsiteX82" fmla="*/ 82035 w 1032646"/>
                  <a:gd name="connsiteY82" fmla="*/ 124740 h 155933"/>
                  <a:gd name="connsiteX83" fmla="*/ 0 w 1032646"/>
                  <a:gd name="connsiteY83" fmla="*/ 35779 h 155933"/>
                  <a:gd name="connsiteX84" fmla="*/ 22876 w 1032646"/>
                  <a:gd name="connsiteY84" fmla="*/ 35779 h 155933"/>
                  <a:gd name="connsiteX85" fmla="*/ 48594 w 1032646"/>
                  <a:gd name="connsiteY85" fmla="*/ 98368 h 155933"/>
                  <a:gd name="connsiteX86" fmla="*/ 48740 w 1032646"/>
                  <a:gd name="connsiteY86" fmla="*/ 98368 h 155933"/>
                  <a:gd name="connsiteX87" fmla="*/ 74457 w 1032646"/>
                  <a:gd name="connsiteY87" fmla="*/ 35779 h 155933"/>
                  <a:gd name="connsiteX88" fmla="*/ 97334 w 1032646"/>
                  <a:gd name="connsiteY88" fmla="*/ 35779 h 155933"/>
                  <a:gd name="connsiteX89" fmla="*/ 60324 w 1032646"/>
                  <a:gd name="connsiteY89" fmla="*/ 124740 h 155933"/>
                  <a:gd name="connsiteX90" fmla="*/ 37010 w 1032646"/>
                  <a:gd name="connsiteY90" fmla="*/ 124740 h 155933"/>
                  <a:gd name="connsiteX91" fmla="*/ 953526 w 1032646"/>
                  <a:gd name="connsiteY91" fmla="*/ 5383 h 155933"/>
                  <a:gd name="connsiteX92" fmla="*/ 880307 w 1032646"/>
                  <a:gd name="connsiteY92" fmla="*/ 77960 h 155933"/>
                  <a:gd name="connsiteX93" fmla="*/ 1027182 w 1032646"/>
                  <a:gd name="connsiteY93" fmla="*/ 77960 h 155933"/>
                  <a:gd name="connsiteX94" fmla="*/ 953526 w 1032646"/>
                  <a:gd name="connsiteY94" fmla="*/ 5383 h 155933"/>
                  <a:gd name="connsiteX95" fmla="*/ 953592 w 1032646"/>
                  <a:gd name="connsiteY95" fmla="*/ 0 h 155933"/>
                  <a:gd name="connsiteX96" fmla="*/ 1032646 w 1032646"/>
                  <a:gd name="connsiteY96" fmla="*/ 77960 h 155933"/>
                  <a:gd name="connsiteX97" fmla="*/ 991265 w 1032646"/>
                  <a:gd name="connsiteY97" fmla="*/ 146513 h 155933"/>
                  <a:gd name="connsiteX98" fmla="*/ 953606 w 1032646"/>
                  <a:gd name="connsiteY98" fmla="*/ 155933 h 155933"/>
                  <a:gd name="connsiteX99" fmla="*/ 874551 w 1032646"/>
                  <a:gd name="connsiteY99" fmla="*/ 77974 h 155933"/>
                  <a:gd name="connsiteX100" fmla="*/ 953592 w 1032646"/>
                  <a:gd name="connsiteY100" fmla="*/ 0 h 15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032646" h="155933">
                    <a:moveTo>
                      <a:pt x="631798" y="60355"/>
                    </a:moveTo>
                    <a:lnTo>
                      <a:pt x="619413" y="90751"/>
                    </a:lnTo>
                    <a:lnTo>
                      <a:pt x="644184" y="90751"/>
                    </a:lnTo>
                    <a:close/>
                    <a:moveTo>
                      <a:pt x="131139" y="60355"/>
                    </a:moveTo>
                    <a:lnTo>
                      <a:pt x="118827" y="90751"/>
                    </a:lnTo>
                    <a:lnTo>
                      <a:pt x="143525" y="90751"/>
                    </a:lnTo>
                    <a:close/>
                    <a:moveTo>
                      <a:pt x="764175" y="35779"/>
                    </a:moveTo>
                    <a:lnTo>
                      <a:pt x="787780" y="35779"/>
                    </a:lnTo>
                    <a:lnTo>
                      <a:pt x="787780" y="105051"/>
                    </a:lnTo>
                    <a:lnTo>
                      <a:pt x="829380" y="105051"/>
                    </a:lnTo>
                    <a:lnTo>
                      <a:pt x="829380" y="124740"/>
                    </a:lnTo>
                    <a:lnTo>
                      <a:pt x="764175" y="124740"/>
                    </a:lnTo>
                    <a:close/>
                    <a:moveTo>
                      <a:pt x="688698" y="35779"/>
                    </a:moveTo>
                    <a:lnTo>
                      <a:pt x="712376" y="35779"/>
                    </a:lnTo>
                    <a:lnTo>
                      <a:pt x="712376" y="105051"/>
                    </a:lnTo>
                    <a:lnTo>
                      <a:pt x="753976" y="105051"/>
                    </a:lnTo>
                    <a:lnTo>
                      <a:pt x="753976" y="124740"/>
                    </a:lnTo>
                    <a:lnTo>
                      <a:pt x="688698" y="124740"/>
                    </a:lnTo>
                    <a:close/>
                    <a:moveTo>
                      <a:pt x="620287" y="35779"/>
                    </a:moveTo>
                    <a:lnTo>
                      <a:pt x="643455" y="35779"/>
                    </a:lnTo>
                    <a:lnTo>
                      <a:pt x="681048" y="124740"/>
                    </a:lnTo>
                    <a:lnTo>
                      <a:pt x="658171" y="124740"/>
                    </a:lnTo>
                    <a:lnTo>
                      <a:pt x="651688" y="108860"/>
                    </a:lnTo>
                    <a:lnTo>
                      <a:pt x="611981" y="108860"/>
                    </a:lnTo>
                    <a:lnTo>
                      <a:pt x="605497" y="124740"/>
                    </a:lnTo>
                    <a:lnTo>
                      <a:pt x="582694" y="124740"/>
                    </a:lnTo>
                    <a:close/>
                    <a:moveTo>
                      <a:pt x="521714" y="35779"/>
                    </a:moveTo>
                    <a:lnTo>
                      <a:pt x="590562" y="35779"/>
                    </a:lnTo>
                    <a:lnTo>
                      <a:pt x="590562" y="54893"/>
                    </a:lnTo>
                    <a:lnTo>
                      <a:pt x="545319" y="54893"/>
                    </a:lnTo>
                    <a:lnTo>
                      <a:pt x="545319" y="69696"/>
                    </a:lnTo>
                    <a:lnTo>
                      <a:pt x="583495" y="69696"/>
                    </a:lnTo>
                    <a:lnTo>
                      <a:pt x="583495" y="88739"/>
                    </a:lnTo>
                    <a:lnTo>
                      <a:pt x="545319" y="88739"/>
                    </a:lnTo>
                    <a:lnTo>
                      <a:pt x="545319" y="124740"/>
                    </a:lnTo>
                    <a:lnTo>
                      <a:pt x="521714" y="124740"/>
                    </a:lnTo>
                    <a:close/>
                    <a:moveTo>
                      <a:pt x="418406" y="35779"/>
                    </a:moveTo>
                    <a:lnTo>
                      <a:pt x="440991" y="35779"/>
                    </a:lnTo>
                    <a:lnTo>
                      <a:pt x="481207" y="89026"/>
                    </a:lnTo>
                    <a:lnTo>
                      <a:pt x="481207" y="35779"/>
                    </a:lnTo>
                    <a:lnTo>
                      <a:pt x="503719" y="35779"/>
                    </a:lnTo>
                    <a:lnTo>
                      <a:pt x="503719" y="124740"/>
                    </a:lnTo>
                    <a:lnTo>
                      <a:pt x="481207" y="124740"/>
                    </a:lnTo>
                    <a:lnTo>
                      <a:pt x="440991" y="72140"/>
                    </a:lnTo>
                    <a:lnTo>
                      <a:pt x="440991" y="124740"/>
                    </a:lnTo>
                    <a:lnTo>
                      <a:pt x="418406" y="124740"/>
                    </a:lnTo>
                    <a:close/>
                    <a:moveTo>
                      <a:pt x="335351" y="35779"/>
                    </a:moveTo>
                    <a:lnTo>
                      <a:pt x="402086" y="35779"/>
                    </a:lnTo>
                    <a:lnTo>
                      <a:pt x="402086" y="54893"/>
                    </a:lnTo>
                    <a:lnTo>
                      <a:pt x="358956" y="54893"/>
                    </a:lnTo>
                    <a:lnTo>
                      <a:pt x="358956" y="69121"/>
                    </a:lnTo>
                    <a:lnTo>
                      <a:pt x="395529" y="69121"/>
                    </a:lnTo>
                    <a:lnTo>
                      <a:pt x="395529" y="88164"/>
                    </a:lnTo>
                    <a:lnTo>
                      <a:pt x="358956" y="88164"/>
                    </a:lnTo>
                    <a:lnTo>
                      <a:pt x="358956" y="105698"/>
                    </a:lnTo>
                    <a:lnTo>
                      <a:pt x="402086" y="105698"/>
                    </a:lnTo>
                    <a:lnTo>
                      <a:pt x="402086" y="124740"/>
                    </a:lnTo>
                    <a:lnTo>
                      <a:pt x="358956" y="124740"/>
                    </a:lnTo>
                    <a:lnTo>
                      <a:pt x="335351" y="124740"/>
                    </a:lnTo>
                    <a:close/>
                    <a:moveTo>
                      <a:pt x="250475" y="35779"/>
                    </a:moveTo>
                    <a:lnTo>
                      <a:pt x="323913" y="35779"/>
                    </a:lnTo>
                    <a:lnTo>
                      <a:pt x="323913" y="54893"/>
                    </a:lnTo>
                    <a:lnTo>
                      <a:pt x="297758" y="54893"/>
                    </a:lnTo>
                    <a:lnTo>
                      <a:pt x="297758" y="124740"/>
                    </a:lnTo>
                    <a:lnTo>
                      <a:pt x="274153" y="124740"/>
                    </a:lnTo>
                    <a:lnTo>
                      <a:pt x="274153" y="54893"/>
                    </a:lnTo>
                    <a:lnTo>
                      <a:pt x="250475" y="54893"/>
                    </a:lnTo>
                    <a:close/>
                    <a:moveTo>
                      <a:pt x="168878" y="35779"/>
                    </a:moveTo>
                    <a:lnTo>
                      <a:pt x="242243" y="35779"/>
                    </a:lnTo>
                    <a:lnTo>
                      <a:pt x="242243" y="54893"/>
                    </a:lnTo>
                    <a:lnTo>
                      <a:pt x="218638" y="54893"/>
                    </a:lnTo>
                    <a:lnTo>
                      <a:pt x="218638" y="124740"/>
                    </a:lnTo>
                    <a:lnTo>
                      <a:pt x="195033" y="124740"/>
                    </a:lnTo>
                    <a:lnTo>
                      <a:pt x="195033" y="54893"/>
                    </a:lnTo>
                    <a:lnTo>
                      <a:pt x="168878" y="54893"/>
                    </a:lnTo>
                    <a:close/>
                    <a:moveTo>
                      <a:pt x="119701" y="35779"/>
                    </a:moveTo>
                    <a:lnTo>
                      <a:pt x="142796" y="35779"/>
                    </a:lnTo>
                    <a:lnTo>
                      <a:pt x="180462" y="124740"/>
                    </a:lnTo>
                    <a:lnTo>
                      <a:pt x="157586" y="124740"/>
                    </a:lnTo>
                    <a:lnTo>
                      <a:pt x="151102" y="108860"/>
                    </a:lnTo>
                    <a:lnTo>
                      <a:pt x="111395" y="108860"/>
                    </a:lnTo>
                    <a:lnTo>
                      <a:pt x="104911" y="124740"/>
                    </a:lnTo>
                    <a:lnTo>
                      <a:pt x="82035" y="124740"/>
                    </a:lnTo>
                    <a:close/>
                    <a:moveTo>
                      <a:pt x="0" y="35779"/>
                    </a:moveTo>
                    <a:lnTo>
                      <a:pt x="22876" y="35779"/>
                    </a:lnTo>
                    <a:lnTo>
                      <a:pt x="48594" y="98368"/>
                    </a:lnTo>
                    <a:lnTo>
                      <a:pt x="48740" y="98368"/>
                    </a:lnTo>
                    <a:lnTo>
                      <a:pt x="74457" y="35779"/>
                    </a:lnTo>
                    <a:lnTo>
                      <a:pt x="97334" y="35779"/>
                    </a:lnTo>
                    <a:lnTo>
                      <a:pt x="60324" y="124740"/>
                    </a:lnTo>
                    <a:lnTo>
                      <a:pt x="37010" y="124740"/>
                    </a:lnTo>
                    <a:close/>
                    <a:moveTo>
                      <a:pt x="953526" y="5383"/>
                    </a:moveTo>
                    <a:cubicBezTo>
                      <a:pt x="913048" y="5620"/>
                      <a:pt x="880343" y="38032"/>
                      <a:pt x="880307" y="77960"/>
                    </a:cubicBezTo>
                    <a:lnTo>
                      <a:pt x="1027182" y="77960"/>
                    </a:lnTo>
                    <a:cubicBezTo>
                      <a:pt x="1027102" y="37882"/>
                      <a:pt x="994157" y="5423"/>
                      <a:pt x="953526" y="5383"/>
                    </a:cubicBezTo>
                    <a:close/>
                    <a:moveTo>
                      <a:pt x="953592" y="0"/>
                    </a:moveTo>
                    <a:cubicBezTo>
                      <a:pt x="997246" y="-4"/>
                      <a:pt x="1032639" y="34900"/>
                      <a:pt x="1032646" y="77960"/>
                    </a:cubicBezTo>
                    <a:cubicBezTo>
                      <a:pt x="1032646" y="106569"/>
                      <a:pt x="1016764" y="132881"/>
                      <a:pt x="991265" y="146513"/>
                    </a:cubicBezTo>
                    <a:cubicBezTo>
                      <a:pt x="979703" y="152694"/>
                      <a:pt x="966756" y="155933"/>
                      <a:pt x="953606" y="155933"/>
                    </a:cubicBezTo>
                    <a:cubicBezTo>
                      <a:pt x="909951" y="155938"/>
                      <a:pt x="874559" y="121034"/>
                      <a:pt x="874551" y="77974"/>
                    </a:cubicBezTo>
                    <a:cubicBezTo>
                      <a:pt x="874543" y="34914"/>
                      <a:pt x="909937" y="4"/>
                      <a:pt x="953592" y="0"/>
                    </a:cubicBezTo>
                    <a:close/>
                  </a:path>
                </a:pathLst>
              </a:custGeom>
              <a:solidFill>
                <a:srgbClr val="FFFFFF"/>
              </a:solidFill>
              <a:ln w="18714" cap="flat">
                <a:noFill/>
                <a:prstDash val="solid"/>
                <a:miter/>
              </a:ln>
            </p:spPr>
            <p:txBody>
              <a:bodyPr wrap="square" rtlCol="0" anchor="ctr">
                <a:noAutofit/>
              </a:bodyPr>
              <a:lstStyle/>
              <a:p>
                <a:endParaRPr lang="en-GB" dirty="0"/>
              </a:p>
            </p:txBody>
          </p:sp>
        </p:grpSp>
        <p:grpSp>
          <p:nvGrpSpPr>
            <p:cNvPr id="279" name="Group 278">
              <a:extLst>
                <a:ext uri="{FF2B5EF4-FFF2-40B4-BE49-F238E27FC236}">
                  <a16:creationId xmlns:a16="http://schemas.microsoft.com/office/drawing/2014/main" id="{9B827171-98E7-4BE4-134E-43DC28558D21}"/>
                </a:ext>
              </a:extLst>
            </p:cNvPr>
            <p:cNvGrpSpPr/>
            <p:nvPr/>
          </p:nvGrpSpPr>
          <p:grpSpPr>
            <a:xfrm>
              <a:off x="546100" y="5413770"/>
              <a:ext cx="3380931" cy="411556"/>
              <a:chOff x="546100" y="5521350"/>
              <a:chExt cx="3380931" cy="411556"/>
            </a:xfrm>
          </p:grpSpPr>
          <p:grpSp>
            <p:nvGrpSpPr>
              <p:cNvPr id="276" name="Group 275">
                <a:extLst>
                  <a:ext uri="{FF2B5EF4-FFF2-40B4-BE49-F238E27FC236}">
                    <a16:creationId xmlns:a16="http://schemas.microsoft.com/office/drawing/2014/main" id="{6CAB7B45-A90B-9B09-FE9B-4C49C0A20C17}"/>
                  </a:ext>
                </a:extLst>
              </p:cNvPr>
              <p:cNvGrpSpPr/>
              <p:nvPr/>
            </p:nvGrpSpPr>
            <p:grpSpPr>
              <a:xfrm>
                <a:off x="1953585" y="5521350"/>
                <a:ext cx="1973446" cy="411556"/>
                <a:chOff x="1009097" y="5556522"/>
                <a:chExt cx="1973446" cy="411556"/>
              </a:xfrm>
            </p:grpSpPr>
            <p:sp>
              <p:nvSpPr>
                <p:cNvPr id="41" name="Freeform 40">
                  <a:extLst>
                    <a:ext uri="{FF2B5EF4-FFF2-40B4-BE49-F238E27FC236}">
                      <a16:creationId xmlns:a16="http://schemas.microsoft.com/office/drawing/2014/main" id="{CA45011F-24F7-CF89-D7B5-52B0DE20ADF9}"/>
                    </a:ext>
                  </a:extLst>
                </p:cNvPr>
                <p:cNvSpPr/>
                <p:nvPr/>
              </p:nvSpPr>
              <p:spPr>
                <a:xfrm>
                  <a:off x="1009097" y="5647204"/>
                  <a:ext cx="1086329" cy="230195"/>
                </a:xfrm>
                <a:custGeom>
                  <a:avLst/>
                  <a:gdLst>
                    <a:gd name="connsiteX0" fmla="*/ 2252700 w 5270535"/>
                    <a:gd name="connsiteY0" fmla="*/ 793919 h 1116838"/>
                    <a:gd name="connsiteX1" fmla="*/ 2178620 w 5270535"/>
                    <a:gd name="connsiteY1" fmla="*/ 867311 h 1116838"/>
                    <a:gd name="connsiteX2" fmla="*/ 2230314 w 5270535"/>
                    <a:gd name="connsiteY2" fmla="*/ 939611 h 1116838"/>
                    <a:gd name="connsiteX3" fmla="*/ 2302897 w 5270535"/>
                    <a:gd name="connsiteY3" fmla="*/ 867918 h 1116838"/>
                    <a:gd name="connsiteX4" fmla="*/ 2252700 w 5270535"/>
                    <a:gd name="connsiteY4" fmla="*/ 793919 h 1116838"/>
                    <a:gd name="connsiteX5" fmla="*/ 3982261 w 5270535"/>
                    <a:gd name="connsiteY5" fmla="*/ 793918 h 1116838"/>
                    <a:gd name="connsiteX6" fmla="*/ 3908140 w 5270535"/>
                    <a:gd name="connsiteY6" fmla="*/ 867311 h 1116838"/>
                    <a:gd name="connsiteX7" fmla="*/ 3959834 w 5270535"/>
                    <a:gd name="connsiteY7" fmla="*/ 939610 h 1116838"/>
                    <a:gd name="connsiteX8" fmla="*/ 4032458 w 5270535"/>
                    <a:gd name="connsiteY8" fmla="*/ 867918 h 1116838"/>
                    <a:gd name="connsiteX9" fmla="*/ 3982261 w 5270535"/>
                    <a:gd name="connsiteY9" fmla="*/ 793918 h 1116838"/>
                    <a:gd name="connsiteX10" fmla="*/ 3571903 w 5270535"/>
                    <a:gd name="connsiteY10" fmla="*/ 793716 h 1116838"/>
                    <a:gd name="connsiteX11" fmla="*/ 3499239 w 5270535"/>
                    <a:gd name="connsiteY11" fmla="*/ 866906 h 1116838"/>
                    <a:gd name="connsiteX12" fmla="*/ 3549801 w 5270535"/>
                    <a:gd name="connsiteY12" fmla="*/ 938801 h 1116838"/>
                    <a:gd name="connsiteX13" fmla="*/ 3622221 w 5270535"/>
                    <a:gd name="connsiteY13" fmla="*/ 867230 h 1116838"/>
                    <a:gd name="connsiteX14" fmla="*/ 3571903 w 5270535"/>
                    <a:gd name="connsiteY14" fmla="*/ 793716 h 1116838"/>
                    <a:gd name="connsiteX15" fmla="*/ 4919281 w 5270535"/>
                    <a:gd name="connsiteY15" fmla="*/ 780641 h 1116838"/>
                    <a:gd name="connsiteX16" fmla="*/ 4859450 w 5270535"/>
                    <a:gd name="connsiteY16" fmla="*/ 837274 h 1116838"/>
                    <a:gd name="connsiteX17" fmla="*/ 4961099 w 5270535"/>
                    <a:gd name="connsiteY17" fmla="*/ 837274 h 1116838"/>
                    <a:gd name="connsiteX18" fmla="*/ 4919281 w 5270535"/>
                    <a:gd name="connsiteY18" fmla="*/ 780641 h 1116838"/>
                    <a:gd name="connsiteX19" fmla="*/ 4529811 w 5270535"/>
                    <a:gd name="connsiteY19" fmla="*/ 780641 h 1116838"/>
                    <a:gd name="connsiteX20" fmla="*/ 4469980 w 5270535"/>
                    <a:gd name="connsiteY20" fmla="*/ 837274 h 1116838"/>
                    <a:gd name="connsiteX21" fmla="*/ 4571628 w 5270535"/>
                    <a:gd name="connsiteY21" fmla="*/ 837274 h 1116838"/>
                    <a:gd name="connsiteX22" fmla="*/ 4529811 w 5270535"/>
                    <a:gd name="connsiteY22" fmla="*/ 780641 h 1116838"/>
                    <a:gd name="connsiteX23" fmla="*/ 1813843 w 5270535"/>
                    <a:gd name="connsiteY23" fmla="*/ 780641 h 1116838"/>
                    <a:gd name="connsiteX24" fmla="*/ 1754012 w 5270535"/>
                    <a:gd name="connsiteY24" fmla="*/ 837274 h 1116838"/>
                    <a:gd name="connsiteX25" fmla="*/ 1855660 w 5270535"/>
                    <a:gd name="connsiteY25" fmla="*/ 837274 h 1116838"/>
                    <a:gd name="connsiteX26" fmla="*/ 1813843 w 5270535"/>
                    <a:gd name="connsiteY26" fmla="*/ 780641 h 1116838"/>
                    <a:gd name="connsiteX27" fmla="*/ 3757469 w 5270535"/>
                    <a:gd name="connsiteY27" fmla="*/ 746920 h 1116838"/>
                    <a:gd name="connsiteX28" fmla="*/ 3820296 w 5270535"/>
                    <a:gd name="connsiteY28" fmla="*/ 746920 h 1116838"/>
                    <a:gd name="connsiteX29" fmla="*/ 3782568 w 5270535"/>
                    <a:gd name="connsiteY29" fmla="*/ 985598 h 1116838"/>
                    <a:gd name="connsiteX30" fmla="*/ 3719741 w 5270535"/>
                    <a:gd name="connsiteY30" fmla="*/ 985598 h 1116838"/>
                    <a:gd name="connsiteX31" fmla="*/ 2436850 w 5270535"/>
                    <a:gd name="connsiteY31" fmla="*/ 746920 h 1116838"/>
                    <a:gd name="connsiteX32" fmla="*/ 2499636 w 5270535"/>
                    <a:gd name="connsiteY32" fmla="*/ 746920 h 1116838"/>
                    <a:gd name="connsiteX33" fmla="*/ 2461948 w 5270535"/>
                    <a:gd name="connsiteY33" fmla="*/ 985800 h 1116838"/>
                    <a:gd name="connsiteX34" fmla="*/ 2399121 w 5270535"/>
                    <a:gd name="connsiteY34" fmla="*/ 985800 h 1116838"/>
                    <a:gd name="connsiteX35" fmla="*/ 3114263 w 5270535"/>
                    <a:gd name="connsiteY35" fmla="*/ 746636 h 1116838"/>
                    <a:gd name="connsiteX36" fmla="*/ 3183850 w 5270535"/>
                    <a:gd name="connsiteY36" fmla="*/ 746636 h 1116838"/>
                    <a:gd name="connsiteX37" fmla="*/ 2949909 w 5270535"/>
                    <a:gd name="connsiteY37" fmla="*/ 1116837 h 1116838"/>
                    <a:gd name="connsiteX38" fmla="*/ 2881698 w 5270535"/>
                    <a:gd name="connsiteY38" fmla="*/ 1116837 h 1116838"/>
                    <a:gd name="connsiteX39" fmla="*/ 2986787 w 5270535"/>
                    <a:gd name="connsiteY39" fmla="*/ 952038 h 1116838"/>
                    <a:gd name="connsiteX40" fmla="*/ 2916593 w 5270535"/>
                    <a:gd name="connsiteY40" fmla="*/ 746919 h 1116838"/>
                    <a:gd name="connsiteX41" fmla="*/ 2986787 w 5270535"/>
                    <a:gd name="connsiteY41" fmla="*/ 746919 h 1116838"/>
                    <a:gd name="connsiteX42" fmla="*/ 3025325 w 5270535"/>
                    <a:gd name="connsiteY42" fmla="*/ 891316 h 1116838"/>
                    <a:gd name="connsiteX43" fmla="*/ 3956879 w 5270535"/>
                    <a:gd name="connsiteY43" fmla="*/ 741819 h 1116838"/>
                    <a:gd name="connsiteX44" fmla="*/ 4039704 w 5270535"/>
                    <a:gd name="connsiteY44" fmla="*/ 785579 h 1116838"/>
                    <a:gd name="connsiteX45" fmla="*/ 4039704 w 5270535"/>
                    <a:gd name="connsiteY45" fmla="*/ 785539 h 1116838"/>
                    <a:gd name="connsiteX46" fmla="*/ 4046141 w 5270535"/>
                    <a:gd name="connsiteY46" fmla="*/ 746920 h 1116838"/>
                    <a:gd name="connsiteX47" fmla="*/ 4105567 w 5270535"/>
                    <a:gd name="connsiteY47" fmla="*/ 746920 h 1116838"/>
                    <a:gd name="connsiteX48" fmla="*/ 4069620 w 5270535"/>
                    <a:gd name="connsiteY48" fmla="*/ 974222 h 1116838"/>
                    <a:gd name="connsiteX49" fmla="*/ 3930283 w 5270535"/>
                    <a:gd name="connsiteY49" fmla="*/ 1116837 h 1116838"/>
                    <a:gd name="connsiteX50" fmla="*/ 3826368 w 5270535"/>
                    <a:gd name="connsiteY50" fmla="*/ 1021949 h 1116838"/>
                    <a:gd name="connsiteX51" fmla="*/ 3893445 w 5270535"/>
                    <a:gd name="connsiteY51" fmla="*/ 1021949 h 1116838"/>
                    <a:gd name="connsiteX52" fmla="*/ 3941213 w 5270535"/>
                    <a:gd name="connsiteY52" fmla="*/ 1065345 h 1116838"/>
                    <a:gd name="connsiteX53" fmla="*/ 4005781 w 5270535"/>
                    <a:gd name="connsiteY53" fmla="*/ 981347 h 1116838"/>
                    <a:gd name="connsiteX54" fmla="*/ 4009667 w 5270535"/>
                    <a:gd name="connsiteY54" fmla="*/ 960984 h 1116838"/>
                    <a:gd name="connsiteX55" fmla="*/ 3932591 w 5270535"/>
                    <a:gd name="connsiteY55" fmla="*/ 992357 h 1116838"/>
                    <a:gd name="connsiteX56" fmla="*/ 3845799 w 5270535"/>
                    <a:gd name="connsiteY56" fmla="*/ 875650 h 1116838"/>
                    <a:gd name="connsiteX57" fmla="*/ 3956879 w 5270535"/>
                    <a:gd name="connsiteY57" fmla="*/ 741819 h 1116838"/>
                    <a:gd name="connsiteX58" fmla="*/ 2232500 w 5270535"/>
                    <a:gd name="connsiteY58" fmla="*/ 740524 h 1116838"/>
                    <a:gd name="connsiteX59" fmla="*/ 2310184 w 5270535"/>
                    <a:gd name="connsiteY59" fmla="*/ 785580 h 1116838"/>
                    <a:gd name="connsiteX60" fmla="*/ 2310184 w 5270535"/>
                    <a:gd name="connsiteY60" fmla="*/ 785539 h 1116838"/>
                    <a:gd name="connsiteX61" fmla="*/ 2316620 w 5270535"/>
                    <a:gd name="connsiteY61" fmla="*/ 746920 h 1116838"/>
                    <a:gd name="connsiteX62" fmla="*/ 2376047 w 5270535"/>
                    <a:gd name="connsiteY62" fmla="*/ 746920 h 1116838"/>
                    <a:gd name="connsiteX63" fmla="*/ 2340140 w 5270535"/>
                    <a:gd name="connsiteY63" fmla="*/ 974222 h 1116838"/>
                    <a:gd name="connsiteX64" fmla="*/ 2200803 w 5270535"/>
                    <a:gd name="connsiteY64" fmla="*/ 1116838 h 1116838"/>
                    <a:gd name="connsiteX65" fmla="*/ 2096888 w 5270535"/>
                    <a:gd name="connsiteY65" fmla="*/ 1021950 h 1116838"/>
                    <a:gd name="connsiteX66" fmla="*/ 2163925 w 5270535"/>
                    <a:gd name="connsiteY66" fmla="*/ 1021950 h 1116838"/>
                    <a:gd name="connsiteX67" fmla="*/ 2211693 w 5270535"/>
                    <a:gd name="connsiteY67" fmla="*/ 1065346 h 1116838"/>
                    <a:gd name="connsiteX68" fmla="*/ 2276260 w 5270535"/>
                    <a:gd name="connsiteY68" fmla="*/ 981347 h 1116838"/>
                    <a:gd name="connsiteX69" fmla="*/ 2280106 w 5270535"/>
                    <a:gd name="connsiteY69" fmla="*/ 960985 h 1116838"/>
                    <a:gd name="connsiteX70" fmla="*/ 2203030 w 5270535"/>
                    <a:gd name="connsiteY70" fmla="*/ 992358 h 1116838"/>
                    <a:gd name="connsiteX71" fmla="*/ 2116238 w 5270535"/>
                    <a:gd name="connsiteY71" fmla="*/ 875651 h 1116838"/>
                    <a:gd name="connsiteX72" fmla="*/ 2232500 w 5270535"/>
                    <a:gd name="connsiteY72" fmla="*/ 740524 h 1116838"/>
                    <a:gd name="connsiteX73" fmla="*/ 1583917 w 5270535"/>
                    <a:gd name="connsiteY73" fmla="*/ 739230 h 1116838"/>
                    <a:gd name="connsiteX74" fmla="*/ 1621650 w 5270535"/>
                    <a:gd name="connsiteY74" fmla="*/ 747634 h 1116838"/>
                    <a:gd name="connsiteX75" fmla="*/ 1646049 w 5270535"/>
                    <a:gd name="connsiteY75" fmla="*/ 838528 h 1116838"/>
                    <a:gd name="connsiteX76" fmla="*/ 1622691 w 5270535"/>
                    <a:gd name="connsiteY76" fmla="*/ 985799 h 1116838"/>
                    <a:gd name="connsiteX77" fmla="*/ 1559621 w 5270535"/>
                    <a:gd name="connsiteY77" fmla="*/ 985799 h 1116838"/>
                    <a:gd name="connsiteX78" fmla="*/ 1579578 w 5270535"/>
                    <a:gd name="connsiteY78" fmla="*/ 858607 h 1116838"/>
                    <a:gd name="connsiteX79" fmla="*/ 1582938 w 5270535"/>
                    <a:gd name="connsiteY79" fmla="*/ 827194 h 1116838"/>
                    <a:gd name="connsiteX80" fmla="*/ 1548610 w 5270535"/>
                    <a:gd name="connsiteY80" fmla="*/ 787846 h 1116838"/>
                    <a:gd name="connsiteX81" fmla="*/ 1492098 w 5270535"/>
                    <a:gd name="connsiteY81" fmla="*/ 860267 h 1116838"/>
                    <a:gd name="connsiteX82" fmla="*/ 1472424 w 5270535"/>
                    <a:gd name="connsiteY82" fmla="*/ 985799 h 1116838"/>
                    <a:gd name="connsiteX83" fmla="*/ 1408707 w 5270535"/>
                    <a:gd name="connsiteY83" fmla="*/ 985799 h 1116838"/>
                    <a:gd name="connsiteX84" fmla="*/ 1447083 w 5270535"/>
                    <a:gd name="connsiteY84" fmla="*/ 746555 h 1116838"/>
                    <a:gd name="connsiteX85" fmla="*/ 1509667 w 5270535"/>
                    <a:gd name="connsiteY85" fmla="*/ 746555 h 1116838"/>
                    <a:gd name="connsiteX86" fmla="*/ 1502704 w 5270535"/>
                    <a:gd name="connsiteY86" fmla="*/ 785579 h 1116838"/>
                    <a:gd name="connsiteX87" fmla="*/ 1567692 w 5270535"/>
                    <a:gd name="connsiteY87" fmla="*/ 739970 h 1116838"/>
                    <a:gd name="connsiteX88" fmla="*/ 5205281 w 5270535"/>
                    <a:gd name="connsiteY88" fmla="*/ 739228 h 1116838"/>
                    <a:gd name="connsiteX89" fmla="*/ 5267420 w 5270535"/>
                    <a:gd name="connsiteY89" fmla="*/ 838528 h 1116838"/>
                    <a:gd name="connsiteX90" fmla="*/ 5244062 w 5270535"/>
                    <a:gd name="connsiteY90" fmla="*/ 985799 h 1116838"/>
                    <a:gd name="connsiteX91" fmla="*/ 5180993 w 5270535"/>
                    <a:gd name="connsiteY91" fmla="*/ 985799 h 1116838"/>
                    <a:gd name="connsiteX92" fmla="*/ 5200950 w 5270535"/>
                    <a:gd name="connsiteY92" fmla="*/ 858607 h 1116838"/>
                    <a:gd name="connsiteX93" fmla="*/ 5204310 w 5270535"/>
                    <a:gd name="connsiteY93" fmla="*/ 827194 h 1116838"/>
                    <a:gd name="connsiteX94" fmla="*/ 5169982 w 5270535"/>
                    <a:gd name="connsiteY94" fmla="*/ 787846 h 1116838"/>
                    <a:gd name="connsiteX95" fmla="*/ 5113470 w 5270535"/>
                    <a:gd name="connsiteY95" fmla="*/ 860267 h 1116838"/>
                    <a:gd name="connsiteX96" fmla="*/ 5093755 w 5270535"/>
                    <a:gd name="connsiteY96" fmla="*/ 985799 h 1116838"/>
                    <a:gd name="connsiteX97" fmla="*/ 5030038 w 5270535"/>
                    <a:gd name="connsiteY97" fmla="*/ 985799 h 1116838"/>
                    <a:gd name="connsiteX98" fmla="*/ 5068414 w 5270535"/>
                    <a:gd name="connsiteY98" fmla="*/ 746555 h 1116838"/>
                    <a:gd name="connsiteX99" fmla="*/ 5130998 w 5270535"/>
                    <a:gd name="connsiteY99" fmla="*/ 746555 h 1116838"/>
                    <a:gd name="connsiteX100" fmla="*/ 5124036 w 5270535"/>
                    <a:gd name="connsiteY100" fmla="*/ 785579 h 1116838"/>
                    <a:gd name="connsiteX101" fmla="*/ 5205281 w 5270535"/>
                    <a:gd name="connsiteY101" fmla="*/ 739228 h 1116838"/>
                    <a:gd name="connsiteX102" fmla="*/ 3342010 w 5270535"/>
                    <a:gd name="connsiteY102" fmla="*/ 739228 h 1116838"/>
                    <a:gd name="connsiteX103" fmla="*/ 3404149 w 5270535"/>
                    <a:gd name="connsiteY103" fmla="*/ 838528 h 1116838"/>
                    <a:gd name="connsiteX104" fmla="*/ 3380791 w 5270535"/>
                    <a:gd name="connsiteY104" fmla="*/ 985799 h 1116838"/>
                    <a:gd name="connsiteX105" fmla="*/ 3317762 w 5270535"/>
                    <a:gd name="connsiteY105" fmla="*/ 985799 h 1116838"/>
                    <a:gd name="connsiteX106" fmla="*/ 3337719 w 5270535"/>
                    <a:gd name="connsiteY106" fmla="*/ 858607 h 1116838"/>
                    <a:gd name="connsiteX107" fmla="*/ 3341079 w 5270535"/>
                    <a:gd name="connsiteY107" fmla="*/ 827194 h 1116838"/>
                    <a:gd name="connsiteX108" fmla="*/ 3306710 w 5270535"/>
                    <a:gd name="connsiteY108" fmla="*/ 787846 h 1116838"/>
                    <a:gd name="connsiteX109" fmla="*/ 3250199 w 5270535"/>
                    <a:gd name="connsiteY109" fmla="*/ 860267 h 1116838"/>
                    <a:gd name="connsiteX110" fmla="*/ 3230484 w 5270535"/>
                    <a:gd name="connsiteY110" fmla="*/ 985799 h 1116838"/>
                    <a:gd name="connsiteX111" fmla="*/ 3166807 w 5270535"/>
                    <a:gd name="connsiteY111" fmla="*/ 985799 h 1116838"/>
                    <a:gd name="connsiteX112" fmla="*/ 3205184 w 5270535"/>
                    <a:gd name="connsiteY112" fmla="*/ 746555 h 1116838"/>
                    <a:gd name="connsiteX113" fmla="*/ 3267767 w 5270535"/>
                    <a:gd name="connsiteY113" fmla="*/ 746555 h 1116838"/>
                    <a:gd name="connsiteX114" fmla="*/ 3260764 w 5270535"/>
                    <a:gd name="connsiteY114" fmla="*/ 785579 h 1116838"/>
                    <a:gd name="connsiteX115" fmla="*/ 3342010 w 5270535"/>
                    <a:gd name="connsiteY115" fmla="*/ 739228 h 1116838"/>
                    <a:gd name="connsiteX116" fmla="*/ 1583910 w 5270535"/>
                    <a:gd name="connsiteY116" fmla="*/ 739228 h 1116838"/>
                    <a:gd name="connsiteX117" fmla="*/ 1583950 w 5270535"/>
                    <a:gd name="connsiteY117" fmla="*/ 739228 h 1116838"/>
                    <a:gd name="connsiteX118" fmla="*/ 1583917 w 5270535"/>
                    <a:gd name="connsiteY118" fmla="*/ 739230 h 1116838"/>
                    <a:gd name="connsiteX119" fmla="*/ 4296275 w 5270535"/>
                    <a:gd name="connsiteY119" fmla="*/ 738702 h 1116838"/>
                    <a:gd name="connsiteX120" fmla="*/ 4296356 w 5270535"/>
                    <a:gd name="connsiteY120" fmla="*/ 738702 h 1116838"/>
                    <a:gd name="connsiteX121" fmla="*/ 4296318 w 5270535"/>
                    <a:gd name="connsiteY121" fmla="*/ 738711 h 1116838"/>
                    <a:gd name="connsiteX122" fmla="*/ 4922115 w 5270535"/>
                    <a:gd name="connsiteY122" fmla="*/ 738621 h 1116838"/>
                    <a:gd name="connsiteX123" fmla="*/ 4922075 w 5270535"/>
                    <a:gd name="connsiteY123" fmla="*/ 738662 h 1116838"/>
                    <a:gd name="connsiteX124" fmla="*/ 5014696 w 5270535"/>
                    <a:gd name="connsiteY124" fmla="*/ 868768 h 1116838"/>
                    <a:gd name="connsiteX125" fmla="*/ 5013886 w 5270535"/>
                    <a:gd name="connsiteY125" fmla="*/ 873909 h 1116838"/>
                    <a:gd name="connsiteX126" fmla="*/ 4851961 w 5270535"/>
                    <a:gd name="connsiteY126" fmla="*/ 873909 h 1116838"/>
                    <a:gd name="connsiteX127" fmla="*/ 4889487 w 5270535"/>
                    <a:gd name="connsiteY127" fmla="*/ 946452 h 1116838"/>
                    <a:gd name="connsiteX128" fmla="*/ 4947578 w 5270535"/>
                    <a:gd name="connsiteY128" fmla="*/ 913581 h 1116838"/>
                    <a:gd name="connsiteX129" fmla="*/ 5003644 w 5270535"/>
                    <a:gd name="connsiteY129" fmla="*/ 923175 h 1116838"/>
                    <a:gd name="connsiteX130" fmla="*/ 4886168 w 5270535"/>
                    <a:gd name="connsiteY130" fmla="*/ 993653 h 1116838"/>
                    <a:gd name="connsiteX131" fmla="*/ 4785936 w 5270535"/>
                    <a:gd name="connsiteY131" fmla="*/ 868849 h 1116838"/>
                    <a:gd name="connsiteX132" fmla="*/ 4922115 w 5270535"/>
                    <a:gd name="connsiteY132" fmla="*/ 738621 h 1116838"/>
                    <a:gd name="connsiteX133" fmla="*/ 4532645 w 5270535"/>
                    <a:gd name="connsiteY133" fmla="*/ 738621 h 1116838"/>
                    <a:gd name="connsiteX134" fmla="*/ 4532604 w 5270535"/>
                    <a:gd name="connsiteY134" fmla="*/ 738662 h 1116838"/>
                    <a:gd name="connsiteX135" fmla="*/ 4625226 w 5270535"/>
                    <a:gd name="connsiteY135" fmla="*/ 868768 h 1116838"/>
                    <a:gd name="connsiteX136" fmla="*/ 4624416 w 5270535"/>
                    <a:gd name="connsiteY136" fmla="*/ 873909 h 1116838"/>
                    <a:gd name="connsiteX137" fmla="*/ 4462491 w 5270535"/>
                    <a:gd name="connsiteY137" fmla="*/ 873909 h 1116838"/>
                    <a:gd name="connsiteX138" fmla="*/ 4500017 w 5270535"/>
                    <a:gd name="connsiteY138" fmla="*/ 946452 h 1116838"/>
                    <a:gd name="connsiteX139" fmla="*/ 4558108 w 5270535"/>
                    <a:gd name="connsiteY139" fmla="*/ 913581 h 1116838"/>
                    <a:gd name="connsiteX140" fmla="*/ 4614174 w 5270535"/>
                    <a:gd name="connsiteY140" fmla="*/ 923175 h 1116838"/>
                    <a:gd name="connsiteX141" fmla="*/ 4496698 w 5270535"/>
                    <a:gd name="connsiteY141" fmla="*/ 993653 h 1116838"/>
                    <a:gd name="connsiteX142" fmla="*/ 4396466 w 5270535"/>
                    <a:gd name="connsiteY142" fmla="*/ 868849 h 1116838"/>
                    <a:gd name="connsiteX143" fmla="*/ 4532645 w 5270535"/>
                    <a:gd name="connsiteY143" fmla="*/ 738621 h 1116838"/>
                    <a:gd name="connsiteX144" fmla="*/ 2831663 w 5270535"/>
                    <a:gd name="connsiteY144" fmla="*/ 738621 h 1116838"/>
                    <a:gd name="connsiteX145" fmla="*/ 2831703 w 5270535"/>
                    <a:gd name="connsiteY145" fmla="*/ 738621 h 1116838"/>
                    <a:gd name="connsiteX146" fmla="*/ 2831685 w 5270535"/>
                    <a:gd name="connsiteY146" fmla="*/ 738626 h 1116838"/>
                    <a:gd name="connsiteX147" fmla="*/ 2697427 w 5270535"/>
                    <a:gd name="connsiteY147" fmla="*/ 738621 h 1116838"/>
                    <a:gd name="connsiteX148" fmla="*/ 2753655 w 5270535"/>
                    <a:gd name="connsiteY148" fmla="*/ 779629 h 1116838"/>
                    <a:gd name="connsiteX149" fmla="*/ 2789020 w 5270535"/>
                    <a:gd name="connsiteY149" fmla="*/ 750108 h 1116838"/>
                    <a:gd name="connsiteX150" fmla="*/ 2831685 w 5270535"/>
                    <a:gd name="connsiteY150" fmla="*/ 738626 h 1116838"/>
                    <a:gd name="connsiteX151" fmla="*/ 2868380 w 5270535"/>
                    <a:gd name="connsiteY151" fmla="*/ 746676 h 1116838"/>
                    <a:gd name="connsiteX152" fmla="*/ 2889915 w 5270535"/>
                    <a:gd name="connsiteY152" fmla="*/ 838407 h 1116838"/>
                    <a:gd name="connsiteX153" fmla="*/ 2866558 w 5270535"/>
                    <a:gd name="connsiteY153" fmla="*/ 985800 h 1116838"/>
                    <a:gd name="connsiteX154" fmla="*/ 2803690 w 5270535"/>
                    <a:gd name="connsiteY154" fmla="*/ 985800 h 1116838"/>
                    <a:gd name="connsiteX155" fmla="*/ 2824821 w 5270535"/>
                    <a:gd name="connsiteY155" fmla="*/ 852697 h 1116838"/>
                    <a:gd name="connsiteX156" fmla="*/ 2798346 w 5270535"/>
                    <a:gd name="connsiteY156" fmla="*/ 787725 h 1116838"/>
                    <a:gd name="connsiteX157" fmla="*/ 2744587 w 5270535"/>
                    <a:gd name="connsiteY157" fmla="*/ 868242 h 1116838"/>
                    <a:gd name="connsiteX158" fmla="*/ 2725804 w 5270535"/>
                    <a:gd name="connsiteY158" fmla="*/ 985800 h 1116838"/>
                    <a:gd name="connsiteX159" fmla="*/ 2662977 w 5270535"/>
                    <a:gd name="connsiteY159" fmla="*/ 985800 h 1116838"/>
                    <a:gd name="connsiteX160" fmla="*/ 2683056 w 5270535"/>
                    <a:gd name="connsiteY160" fmla="*/ 859660 h 1116838"/>
                    <a:gd name="connsiteX161" fmla="*/ 2656784 w 5270535"/>
                    <a:gd name="connsiteY161" fmla="*/ 787725 h 1116838"/>
                    <a:gd name="connsiteX162" fmla="*/ 2603551 w 5270535"/>
                    <a:gd name="connsiteY162" fmla="*/ 869133 h 1116838"/>
                    <a:gd name="connsiteX163" fmla="*/ 2584970 w 5270535"/>
                    <a:gd name="connsiteY163" fmla="*/ 985800 h 1116838"/>
                    <a:gd name="connsiteX164" fmla="*/ 2522224 w 5270535"/>
                    <a:gd name="connsiteY164" fmla="*/ 985800 h 1116838"/>
                    <a:gd name="connsiteX165" fmla="*/ 2559912 w 5270535"/>
                    <a:gd name="connsiteY165" fmla="*/ 746636 h 1116838"/>
                    <a:gd name="connsiteX166" fmla="*/ 2623346 w 5270535"/>
                    <a:gd name="connsiteY166" fmla="*/ 746636 h 1116838"/>
                    <a:gd name="connsiteX167" fmla="*/ 2618286 w 5270535"/>
                    <a:gd name="connsiteY167" fmla="*/ 776147 h 1116838"/>
                    <a:gd name="connsiteX168" fmla="*/ 2697427 w 5270535"/>
                    <a:gd name="connsiteY168" fmla="*/ 738621 h 1116838"/>
                    <a:gd name="connsiteX169" fmla="*/ 2097697 w 5270535"/>
                    <a:gd name="connsiteY169" fmla="*/ 738621 h 1116838"/>
                    <a:gd name="connsiteX170" fmla="*/ 2122431 w 5270535"/>
                    <a:gd name="connsiteY170" fmla="*/ 743722 h 1116838"/>
                    <a:gd name="connsiteX171" fmla="*/ 2122472 w 5270535"/>
                    <a:gd name="connsiteY171" fmla="*/ 743722 h 1116838"/>
                    <a:gd name="connsiteX172" fmla="*/ 2106077 w 5270535"/>
                    <a:gd name="connsiteY172" fmla="*/ 801529 h 1116838"/>
                    <a:gd name="connsiteX173" fmla="*/ 2078468 w 5270535"/>
                    <a:gd name="connsiteY173" fmla="*/ 794040 h 1116838"/>
                    <a:gd name="connsiteX174" fmla="*/ 2010177 w 5270535"/>
                    <a:gd name="connsiteY174" fmla="*/ 878565 h 1116838"/>
                    <a:gd name="connsiteX175" fmla="*/ 1993255 w 5270535"/>
                    <a:gd name="connsiteY175" fmla="*/ 985800 h 1116838"/>
                    <a:gd name="connsiteX176" fmla="*/ 1930469 w 5270535"/>
                    <a:gd name="connsiteY176" fmla="*/ 985800 h 1116838"/>
                    <a:gd name="connsiteX177" fmla="*/ 1968117 w 5270535"/>
                    <a:gd name="connsiteY177" fmla="*/ 746555 h 1116838"/>
                    <a:gd name="connsiteX178" fmla="*/ 2031065 w 5270535"/>
                    <a:gd name="connsiteY178" fmla="*/ 746555 h 1116838"/>
                    <a:gd name="connsiteX179" fmla="*/ 2024143 w 5270535"/>
                    <a:gd name="connsiteY179" fmla="*/ 785579 h 1116838"/>
                    <a:gd name="connsiteX180" fmla="*/ 2097697 w 5270535"/>
                    <a:gd name="connsiteY180" fmla="*/ 738621 h 1116838"/>
                    <a:gd name="connsiteX181" fmla="*/ 1816636 w 5270535"/>
                    <a:gd name="connsiteY181" fmla="*/ 738621 h 1116838"/>
                    <a:gd name="connsiteX182" fmla="*/ 1816636 w 5270535"/>
                    <a:gd name="connsiteY182" fmla="*/ 738662 h 1116838"/>
                    <a:gd name="connsiteX183" fmla="*/ 1909257 w 5270535"/>
                    <a:gd name="connsiteY183" fmla="*/ 868768 h 1116838"/>
                    <a:gd name="connsiteX184" fmla="*/ 1908407 w 5270535"/>
                    <a:gd name="connsiteY184" fmla="*/ 873909 h 1116838"/>
                    <a:gd name="connsiteX185" fmla="*/ 1746482 w 5270535"/>
                    <a:gd name="connsiteY185" fmla="*/ 873909 h 1116838"/>
                    <a:gd name="connsiteX186" fmla="*/ 1784008 w 5270535"/>
                    <a:gd name="connsiteY186" fmla="*/ 946452 h 1116838"/>
                    <a:gd name="connsiteX187" fmla="*/ 1842099 w 5270535"/>
                    <a:gd name="connsiteY187" fmla="*/ 913581 h 1116838"/>
                    <a:gd name="connsiteX188" fmla="*/ 1898165 w 5270535"/>
                    <a:gd name="connsiteY188" fmla="*/ 923175 h 1116838"/>
                    <a:gd name="connsiteX189" fmla="*/ 1780689 w 5270535"/>
                    <a:gd name="connsiteY189" fmla="*/ 993653 h 1116838"/>
                    <a:gd name="connsiteX190" fmla="*/ 1680457 w 5270535"/>
                    <a:gd name="connsiteY190" fmla="*/ 868849 h 1116838"/>
                    <a:gd name="connsiteX191" fmla="*/ 1816636 w 5270535"/>
                    <a:gd name="connsiteY191" fmla="*/ 738621 h 1116838"/>
                    <a:gd name="connsiteX192" fmla="*/ 4706066 w 5270535"/>
                    <a:gd name="connsiteY192" fmla="*/ 663650 h 1116838"/>
                    <a:gd name="connsiteX193" fmla="*/ 4768731 w 5270535"/>
                    <a:gd name="connsiteY193" fmla="*/ 663650 h 1116838"/>
                    <a:gd name="connsiteX194" fmla="*/ 4755575 w 5270535"/>
                    <a:gd name="connsiteY194" fmla="*/ 746920 h 1116838"/>
                    <a:gd name="connsiteX195" fmla="*/ 4798809 w 5270535"/>
                    <a:gd name="connsiteY195" fmla="*/ 746920 h 1116838"/>
                    <a:gd name="connsiteX196" fmla="*/ 4790227 w 5270535"/>
                    <a:gd name="connsiteY196" fmla="*/ 798614 h 1116838"/>
                    <a:gd name="connsiteX197" fmla="*/ 4746952 w 5270535"/>
                    <a:gd name="connsiteY197" fmla="*/ 798614 h 1116838"/>
                    <a:gd name="connsiteX198" fmla="*/ 4717604 w 5270535"/>
                    <a:gd name="connsiteY198" fmla="*/ 985112 h 1116838"/>
                    <a:gd name="connsiteX199" fmla="*/ 4654736 w 5270535"/>
                    <a:gd name="connsiteY199" fmla="*/ 985112 h 1116838"/>
                    <a:gd name="connsiteX200" fmla="*/ 4684328 w 5270535"/>
                    <a:gd name="connsiteY200" fmla="*/ 798614 h 1116838"/>
                    <a:gd name="connsiteX201" fmla="*/ 4659594 w 5270535"/>
                    <a:gd name="connsiteY201" fmla="*/ 798614 h 1116838"/>
                    <a:gd name="connsiteX202" fmla="*/ 4668742 w 5270535"/>
                    <a:gd name="connsiteY202" fmla="*/ 746920 h 1116838"/>
                    <a:gd name="connsiteX203" fmla="*/ 4692707 w 5270535"/>
                    <a:gd name="connsiteY203" fmla="*/ 746920 h 1116838"/>
                    <a:gd name="connsiteX204" fmla="*/ 1226379 w 5270535"/>
                    <a:gd name="connsiteY204" fmla="*/ 615194 h 1116838"/>
                    <a:gd name="connsiteX205" fmla="*/ 1413402 w 5270535"/>
                    <a:gd name="connsiteY205" fmla="*/ 615194 h 1116838"/>
                    <a:gd name="connsiteX206" fmla="*/ 1404253 w 5270535"/>
                    <a:gd name="connsiteY206" fmla="*/ 671868 h 1116838"/>
                    <a:gd name="connsiteX207" fmla="*/ 1282243 w 5270535"/>
                    <a:gd name="connsiteY207" fmla="*/ 671868 h 1116838"/>
                    <a:gd name="connsiteX208" fmla="*/ 1268034 w 5270535"/>
                    <a:gd name="connsiteY208" fmla="*/ 762100 h 1116838"/>
                    <a:gd name="connsiteX209" fmla="*/ 1385551 w 5270535"/>
                    <a:gd name="connsiteY209" fmla="*/ 762100 h 1116838"/>
                    <a:gd name="connsiteX210" fmla="*/ 1376240 w 5270535"/>
                    <a:gd name="connsiteY210" fmla="*/ 819543 h 1116838"/>
                    <a:gd name="connsiteX211" fmla="*/ 1259169 w 5270535"/>
                    <a:gd name="connsiteY211" fmla="*/ 819543 h 1116838"/>
                    <a:gd name="connsiteX212" fmla="*/ 1242005 w 5270535"/>
                    <a:gd name="connsiteY212" fmla="*/ 928195 h 1116838"/>
                    <a:gd name="connsiteX213" fmla="*/ 1363529 w 5270535"/>
                    <a:gd name="connsiteY213" fmla="*/ 928195 h 1116838"/>
                    <a:gd name="connsiteX214" fmla="*/ 1354380 w 5270535"/>
                    <a:gd name="connsiteY214" fmla="*/ 985800 h 1116838"/>
                    <a:gd name="connsiteX215" fmla="*/ 1167843 w 5270535"/>
                    <a:gd name="connsiteY215" fmla="*/ 985800 h 1116838"/>
                    <a:gd name="connsiteX216" fmla="*/ 3812685 w 5270535"/>
                    <a:gd name="connsiteY216" fmla="*/ 601835 h 1116838"/>
                    <a:gd name="connsiteX217" fmla="*/ 3844018 w 5270535"/>
                    <a:gd name="connsiteY217" fmla="*/ 639766 h 1116838"/>
                    <a:gd name="connsiteX218" fmla="*/ 3801350 w 5270535"/>
                    <a:gd name="connsiteY218" fmla="*/ 677980 h 1116838"/>
                    <a:gd name="connsiteX219" fmla="*/ 3767873 w 5270535"/>
                    <a:gd name="connsiteY219" fmla="*/ 640373 h 1116838"/>
                    <a:gd name="connsiteX220" fmla="*/ 3812685 w 5270535"/>
                    <a:gd name="connsiteY220" fmla="*/ 601835 h 1116838"/>
                    <a:gd name="connsiteX221" fmla="*/ 2492066 w 5270535"/>
                    <a:gd name="connsiteY221" fmla="*/ 601835 h 1116838"/>
                    <a:gd name="connsiteX222" fmla="*/ 2523439 w 5270535"/>
                    <a:gd name="connsiteY222" fmla="*/ 639766 h 1116838"/>
                    <a:gd name="connsiteX223" fmla="*/ 2480772 w 5270535"/>
                    <a:gd name="connsiteY223" fmla="*/ 677980 h 1116838"/>
                    <a:gd name="connsiteX224" fmla="*/ 2447294 w 5270535"/>
                    <a:gd name="connsiteY224" fmla="*/ 640373 h 1116838"/>
                    <a:gd name="connsiteX225" fmla="*/ 2492066 w 5270535"/>
                    <a:gd name="connsiteY225" fmla="*/ 601835 h 1116838"/>
                    <a:gd name="connsiteX226" fmla="*/ 4190659 w 5270535"/>
                    <a:gd name="connsiteY226" fmla="*/ 567871 h 1116838"/>
                    <a:gd name="connsiteX227" fmla="*/ 4253931 w 5270535"/>
                    <a:gd name="connsiteY227" fmla="*/ 567871 h 1116838"/>
                    <a:gd name="connsiteX228" fmla="*/ 4220130 w 5270535"/>
                    <a:gd name="connsiteY228" fmla="*/ 773556 h 1116838"/>
                    <a:gd name="connsiteX229" fmla="*/ 4255495 w 5270535"/>
                    <a:gd name="connsiteY229" fmla="*/ 748615 h 1116838"/>
                    <a:gd name="connsiteX230" fmla="*/ 4296318 w 5270535"/>
                    <a:gd name="connsiteY230" fmla="*/ 738711 h 1116838"/>
                    <a:gd name="connsiteX231" fmla="*/ 4335526 w 5270535"/>
                    <a:gd name="connsiteY231" fmla="*/ 746875 h 1116838"/>
                    <a:gd name="connsiteX232" fmla="*/ 4360761 w 5270535"/>
                    <a:gd name="connsiteY232" fmla="*/ 842415 h 1116838"/>
                    <a:gd name="connsiteX233" fmla="*/ 4338254 w 5270535"/>
                    <a:gd name="connsiteY233" fmla="*/ 985840 h 1116838"/>
                    <a:gd name="connsiteX234" fmla="*/ 4274981 w 5270535"/>
                    <a:gd name="connsiteY234" fmla="*/ 985840 h 1116838"/>
                    <a:gd name="connsiteX235" fmla="*/ 4295182 w 5270535"/>
                    <a:gd name="connsiteY235" fmla="*/ 858607 h 1116838"/>
                    <a:gd name="connsiteX236" fmla="*/ 4265226 w 5270535"/>
                    <a:gd name="connsiteY236" fmla="*/ 787968 h 1116838"/>
                    <a:gd name="connsiteX237" fmla="*/ 4205961 w 5270535"/>
                    <a:gd name="connsiteY237" fmla="*/ 868404 h 1116838"/>
                    <a:gd name="connsiteX238" fmla="*/ 4187987 w 5270535"/>
                    <a:gd name="connsiteY238" fmla="*/ 985840 h 1116838"/>
                    <a:gd name="connsiteX239" fmla="*/ 4124715 w 5270535"/>
                    <a:gd name="connsiteY239" fmla="*/ 985840 h 1116838"/>
                    <a:gd name="connsiteX240" fmla="*/ 3662662 w 5270535"/>
                    <a:gd name="connsiteY240" fmla="*/ 567790 h 1116838"/>
                    <a:gd name="connsiteX241" fmla="*/ 3662662 w 5270535"/>
                    <a:gd name="connsiteY241" fmla="*/ 567831 h 1116838"/>
                    <a:gd name="connsiteX242" fmla="*/ 3725448 w 5270535"/>
                    <a:gd name="connsiteY242" fmla="*/ 567831 h 1116838"/>
                    <a:gd name="connsiteX243" fmla="*/ 3659788 w 5270535"/>
                    <a:gd name="connsiteY243" fmla="*/ 985638 h 1116838"/>
                    <a:gd name="connsiteX244" fmla="*/ 3596354 w 5270535"/>
                    <a:gd name="connsiteY244" fmla="*/ 985638 h 1116838"/>
                    <a:gd name="connsiteX245" fmla="*/ 3599957 w 5270535"/>
                    <a:gd name="connsiteY245" fmla="*/ 962320 h 1116838"/>
                    <a:gd name="connsiteX246" fmla="*/ 3524014 w 5270535"/>
                    <a:gd name="connsiteY246" fmla="*/ 993936 h 1116838"/>
                    <a:gd name="connsiteX247" fmla="*/ 3435684 w 5270535"/>
                    <a:gd name="connsiteY247" fmla="*/ 864113 h 1116838"/>
                    <a:gd name="connsiteX248" fmla="*/ 3563888 w 5270535"/>
                    <a:gd name="connsiteY248" fmla="*/ 738945 h 1116838"/>
                    <a:gd name="connsiteX249" fmla="*/ 3630844 w 5270535"/>
                    <a:gd name="connsiteY249" fmla="*/ 771856 h 1116838"/>
                    <a:gd name="connsiteX250" fmla="*/ 617946 w 5270535"/>
                    <a:gd name="connsiteY250" fmla="*/ 82379 h 1116838"/>
                    <a:gd name="connsiteX251" fmla="*/ 82298 w 5270535"/>
                    <a:gd name="connsiteY251" fmla="*/ 617987 h 1116838"/>
                    <a:gd name="connsiteX252" fmla="*/ 100717 w 5270535"/>
                    <a:gd name="connsiteY252" fmla="*/ 756514 h 1116838"/>
                    <a:gd name="connsiteX253" fmla="*/ 177470 w 5270535"/>
                    <a:gd name="connsiteY253" fmla="*/ 755380 h 1116838"/>
                    <a:gd name="connsiteX254" fmla="*/ 156581 w 5270535"/>
                    <a:gd name="connsiteY254" fmla="*/ 617987 h 1116838"/>
                    <a:gd name="connsiteX255" fmla="*/ 431409 w 5270535"/>
                    <a:gd name="connsiteY255" fmla="*/ 196091 h 1116838"/>
                    <a:gd name="connsiteX256" fmla="*/ 464725 w 5270535"/>
                    <a:gd name="connsiteY256" fmla="*/ 271386 h 1116838"/>
                    <a:gd name="connsiteX257" fmla="*/ 238920 w 5270535"/>
                    <a:gd name="connsiteY257" fmla="*/ 617987 h 1116838"/>
                    <a:gd name="connsiteX258" fmla="*/ 238961 w 5270535"/>
                    <a:gd name="connsiteY258" fmla="*/ 618027 h 1116838"/>
                    <a:gd name="connsiteX259" fmla="*/ 259849 w 5270535"/>
                    <a:gd name="connsiteY259" fmla="*/ 742143 h 1116838"/>
                    <a:gd name="connsiteX260" fmla="*/ 579894 w 5270535"/>
                    <a:gd name="connsiteY260" fmla="*/ 544554 h 1116838"/>
                    <a:gd name="connsiteX261" fmla="*/ 987338 w 5270535"/>
                    <a:gd name="connsiteY261" fmla="*/ 265921 h 1116838"/>
                    <a:gd name="connsiteX262" fmla="*/ 1020289 w 5270535"/>
                    <a:gd name="connsiteY262" fmla="*/ 264221 h 1116838"/>
                    <a:gd name="connsiteX263" fmla="*/ 617946 w 5270535"/>
                    <a:gd name="connsiteY263" fmla="*/ 82379 h 1116838"/>
                    <a:gd name="connsiteX264" fmla="*/ 617987 w 5270535"/>
                    <a:gd name="connsiteY264" fmla="*/ 0 h 1116838"/>
                    <a:gd name="connsiteX265" fmla="*/ 1138373 w 5270535"/>
                    <a:gd name="connsiteY265" fmla="*/ 284664 h 1116838"/>
                    <a:gd name="connsiteX266" fmla="*/ 1211725 w 5270535"/>
                    <a:gd name="connsiteY266" fmla="*/ 319357 h 1116838"/>
                    <a:gd name="connsiteX267" fmla="*/ 994503 w 5270535"/>
                    <a:gd name="connsiteY267" fmla="*/ 362591 h 1116838"/>
                    <a:gd name="connsiteX268" fmla="*/ 795902 w 5270535"/>
                    <a:gd name="connsiteY268" fmla="*/ 531478 h 1116838"/>
                    <a:gd name="connsiteX269" fmla="*/ 795902 w 5270535"/>
                    <a:gd name="connsiteY269" fmla="*/ 531519 h 1116838"/>
                    <a:gd name="connsiteX270" fmla="*/ 350001 w 5270535"/>
                    <a:gd name="connsiteY270" fmla="*/ 832780 h 1116838"/>
                    <a:gd name="connsiteX271" fmla="*/ 307779 w 5270535"/>
                    <a:gd name="connsiteY271" fmla="*/ 835533 h 1116838"/>
                    <a:gd name="connsiteX272" fmla="*/ 617987 w 5270535"/>
                    <a:gd name="connsiteY272" fmla="*/ 997013 h 1116838"/>
                    <a:gd name="connsiteX273" fmla="*/ 841889 w 5270535"/>
                    <a:gd name="connsiteY273" fmla="*/ 923823 h 1116838"/>
                    <a:gd name="connsiteX274" fmla="*/ 890588 w 5270535"/>
                    <a:gd name="connsiteY274" fmla="*/ 990252 h 1116838"/>
                    <a:gd name="connsiteX275" fmla="*/ 617987 w 5270535"/>
                    <a:gd name="connsiteY275" fmla="*/ 1079352 h 1116838"/>
                    <a:gd name="connsiteX276" fmla="*/ 207102 w 5270535"/>
                    <a:gd name="connsiteY276" fmla="*/ 827720 h 1116838"/>
                    <a:gd name="connsiteX277" fmla="*/ 114764 w 5270535"/>
                    <a:gd name="connsiteY277" fmla="*/ 800679 h 1116838"/>
                    <a:gd name="connsiteX278" fmla="*/ 300735 w 5270535"/>
                    <a:gd name="connsiteY278" fmla="*/ 1049598 h 1116838"/>
                    <a:gd name="connsiteX279" fmla="*/ 251915 w 5270535"/>
                    <a:gd name="connsiteY279" fmla="*/ 1115906 h 1116838"/>
                    <a:gd name="connsiteX280" fmla="*/ 0 w 5270535"/>
                    <a:gd name="connsiteY280" fmla="*/ 617987 h 1116838"/>
                    <a:gd name="connsiteX281" fmla="*/ 617987 w 5270535"/>
                    <a:gd name="connsiteY281" fmla="*/ 0 h 111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5270535" h="1116838">
                      <a:moveTo>
                        <a:pt x="2252700" y="793919"/>
                      </a:moveTo>
                      <a:cubicBezTo>
                        <a:pt x="2211855" y="793919"/>
                        <a:pt x="2183842" y="834238"/>
                        <a:pt x="2178620" y="867311"/>
                      </a:cubicBezTo>
                      <a:cubicBezTo>
                        <a:pt x="2173397" y="900385"/>
                        <a:pt x="2194245" y="939611"/>
                        <a:pt x="2230314" y="939611"/>
                      </a:cubicBezTo>
                      <a:cubicBezTo>
                        <a:pt x="2266383" y="939611"/>
                        <a:pt x="2298646" y="902490"/>
                        <a:pt x="2302897" y="867918"/>
                      </a:cubicBezTo>
                      <a:cubicBezTo>
                        <a:pt x="2307269" y="832497"/>
                        <a:pt x="2288769" y="793919"/>
                        <a:pt x="2252700" y="793919"/>
                      </a:cubicBezTo>
                      <a:close/>
                      <a:moveTo>
                        <a:pt x="3982261" y="793918"/>
                      </a:moveTo>
                      <a:cubicBezTo>
                        <a:pt x="3941375" y="793918"/>
                        <a:pt x="3913362" y="834238"/>
                        <a:pt x="3908140" y="867311"/>
                      </a:cubicBezTo>
                      <a:cubicBezTo>
                        <a:pt x="3902918" y="900384"/>
                        <a:pt x="3923725" y="939610"/>
                        <a:pt x="3959834" y="939610"/>
                      </a:cubicBezTo>
                      <a:cubicBezTo>
                        <a:pt x="3995944" y="939610"/>
                        <a:pt x="4028207" y="902489"/>
                        <a:pt x="4032458" y="867918"/>
                      </a:cubicBezTo>
                      <a:cubicBezTo>
                        <a:pt x="4036830" y="832497"/>
                        <a:pt x="4018330" y="793918"/>
                        <a:pt x="3982261" y="793918"/>
                      </a:cubicBezTo>
                      <a:close/>
                      <a:moveTo>
                        <a:pt x="3571903" y="793716"/>
                      </a:moveTo>
                      <a:cubicBezTo>
                        <a:pt x="3535834" y="793716"/>
                        <a:pt x="3504461" y="833833"/>
                        <a:pt x="3499239" y="866906"/>
                      </a:cubicBezTo>
                      <a:cubicBezTo>
                        <a:pt x="3494017" y="899979"/>
                        <a:pt x="3513691" y="938801"/>
                        <a:pt x="3549801" y="938801"/>
                      </a:cubicBezTo>
                      <a:cubicBezTo>
                        <a:pt x="3585910" y="938801"/>
                        <a:pt x="3617000" y="900303"/>
                        <a:pt x="3622221" y="867230"/>
                      </a:cubicBezTo>
                      <a:cubicBezTo>
                        <a:pt x="3627444" y="834157"/>
                        <a:pt x="3607972" y="793716"/>
                        <a:pt x="3571903" y="793716"/>
                      </a:cubicBezTo>
                      <a:close/>
                      <a:moveTo>
                        <a:pt x="4919281" y="780641"/>
                      </a:moveTo>
                      <a:cubicBezTo>
                        <a:pt x="4887341" y="780438"/>
                        <a:pt x="4866089" y="810273"/>
                        <a:pt x="4859450" y="837274"/>
                      </a:cubicBezTo>
                      <a:lnTo>
                        <a:pt x="4961099" y="837274"/>
                      </a:lnTo>
                      <a:cubicBezTo>
                        <a:pt x="4961746" y="813876"/>
                        <a:pt x="4951869" y="780883"/>
                        <a:pt x="4919281" y="780641"/>
                      </a:cubicBezTo>
                      <a:close/>
                      <a:moveTo>
                        <a:pt x="4529811" y="780641"/>
                      </a:moveTo>
                      <a:cubicBezTo>
                        <a:pt x="4497872" y="780438"/>
                        <a:pt x="4476619" y="810273"/>
                        <a:pt x="4469980" y="837274"/>
                      </a:cubicBezTo>
                      <a:lnTo>
                        <a:pt x="4571628" y="837274"/>
                      </a:lnTo>
                      <a:cubicBezTo>
                        <a:pt x="4572276" y="813876"/>
                        <a:pt x="4562399" y="780883"/>
                        <a:pt x="4529811" y="780641"/>
                      </a:cubicBezTo>
                      <a:close/>
                      <a:moveTo>
                        <a:pt x="1813843" y="780641"/>
                      </a:moveTo>
                      <a:cubicBezTo>
                        <a:pt x="1781903" y="780438"/>
                        <a:pt x="1760650" y="810273"/>
                        <a:pt x="1754012" y="837274"/>
                      </a:cubicBezTo>
                      <a:lnTo>
                        <a:pt x="1855660" y="837274"/>
                      </a:lnTo>
                      <a:cubicBezTo>
                        <a:pt x="1856308" y="813876"/>
                        <a:pt x="1846430" y="780883"/>
                        <a:pt x="1813843" y="780641"/>
                      </a:cubicBezTo>
                      <a:close/>
                      <a:moveTo>
                        <a:pt x="3757469" y="746920"/>
                      </a:moveTo>
                      <a:lnTo>
                        <a:pt x="3820296" y="746920"/>
                      </a:lnTo>
                      <a:lnTo>
                        <a:pt x="3782568" y="985598"/>
                      </a:lnTo>
                      <a:lnTo>
                        <a:pt x="3719741" y="985598"/>
                      </a:lnTo>
                      <a:close/>
                      <a:moveTo>
                        <a:pt x="2436850" y="746920"/>
                      </a:moveTo>
                      <a:lnTo>
                        <a:pt x="2499636" y="746920"/>
                      </a:lnTo>
                      <a:lnTo>
                        <a:pt x="2461948" y="985800"/>
                      </a:lnTo>
                      <a:lnTo>
                        <a:pt x="2399121" y="985800"/>
                      </a:lnTo>
                      <a:close/>
                      <a:moveTo>
                        <a:pt x="3114263" y="746636"/>
                      </a:moveTo>
                      <a:lnTo>
                        <a:pt x="3183850" y="746636"/>
                      </a:lnTo>
                      <a:lnTo>
                        <a:pt x="2949909" y="1116837"/>
                      </a:lnTo>
                      <a:lnTo>
                        <a:pt x="2881698" y="1116837"/>
                      </a:lnTo>
                      <a:lnTo>
                        <a:pt x="2986787" y="952038"/>
                      </a:lnTo>
                      <a:lnTo>
                        <a:pt x="2916593" y="746919"/>
                      </a:lnTo>
                      <a:lnTo>
                        <a:pt x="2986787" y="746919"/>
                      </a:lnTo>
                      <a:lnTo>
                        <a:pt x="3025325" y="891316"/>
                      </a:lnTo>
                      <a:close/>
                      <a:moveTo>
                        <a:pt x="3956879" y="741819"/>
                      </a:moveTo>
                      <a:cubicBezTo>
                        <a:pt x="3972708" y="741819"/>
                        <a:pt x="4023836" y="740969"/>
                        <a:pt x="4039704" y="785579"/>
                      </a:cubicBezTo>
                      <a:lnTo>
                        <a:pt x="4039704" y="785539"/>
                      </a:lnTo>
                      <a:lnTo>
                        <a:pt x="4046141" y="746920"/>
                      </a:lnTo>
                      <a:lnTo>
                        <a:pt x="4105567" y="746920"/>
                      </a:lnTo>
                      <a:lnTo>
                        <a:pt x="4069620" y="974222"/>
                      </a:lnTo>
                      <a:cubicBezTo>
                        <a:pt x="4056908" y="1054375"/>
                        <a:pt x="4015901" y="1116837"/>
                        <a:pt x="3930283" y="1116837"/>
                      </a:cubicBezTo>
                      <a:cubicBezTo>
                        <a:pt x="3870168" y="1116837"/>
                        <a:pt x="3821470" y="1078178"/>
                        <a:pt x="3826368" y="1021949"/>
                      </a:cubicBezTo>
                      <a:lnTo>
                        <a:pt x="3893445" y="1021949"/>
                      </a:lnTo>
                      <a:cubicBezTo>
                        <a:pt x="3892838" y="1047979"/>
                        <a:pt x="3914658" y="1065345"/>
                        <a:pt x="3941213" y="1065345"/>
                      </a:cubicBezTo>
                      <a:cubicBezTo>
                        <a:pt x="3990803" y="1065345"/>
                        <a:pt x="3999911" y="1018427"/>
                        <a:pt x="4005781" y="981347"/>
                      </a:cubicBezTo>
                      <a:lnTo>
                        <a:pt x="4009667" y="960984"/>
                      </a:lnTo>
                      <a:cubicBezTo>
                        <a:pt x="3991451" y="981063"/>
                        <a:pt x="3958580" y="994139"/>
                        <a:pt x="3932591" y="992357"/>
                      </a:cubicBezTo>
                      <a:cubicBezTo>
                        <a:pt x="3868509" y="988026"/>
                        <a:pt x="3842763" y="938275"/>
                        <a:pt x="3845799" y="875650"/>
                      </a:cubicBezTo>
                      <a:cubicBezTo>
                        <a:pt x="3849442" y="799383"/>
                        <a:pt x="3908869" y="741819"/>
                        <a:pt x="3956879" y="741819"/>
                      </a:cubicBezTo>
                      <a:close/>
                      <a:moveTo>
                        <a:pt x="2232500" y="740524"/>
                      </a:moveTo>
                      <a:cubicBezTo>
                        <a:pt x="2251364" y="740119"/>
                        <a:pt x="2294315" y="740969"/>
                        <a:pt x="2310184" y="785580"/>
                      </a:cubicBezTo>
                      <a:lnTo>
                        <a:pt x="2310184" y="785539"/>
                      </a:lnTo>
                      <a:lnTo>
                        <a:pt x="2316620" y="746920"/>
                      </a:lnTo>
                      <a:lnTo>
                        <a:pt x="2376047" y="746920"/>
                      </a:lnTo>
                      <a:lnTo>
                        <a:pt x="2340140" y="974222"/>
                      </a:lnTo>
                      <a:cubicBezTo>
                        <a:pt x="2327469" y="1054375"/>
                        <a:pt x="2286421" y="1116838"/>
                        <a:pt x="2200803" y="1116838"/>
                      </a:cubicBezTo>
                      <a:cubicBezTo>
                        <a:pt x="2140689" y="1116838"/>
                        <a:pt x="2091949" y="1078178"/>
                        <a:pt x="2096888" y="1021950"/>
                      </a:cubicBezTo>
                      <a:lnTo>
                        <a:pt x="2163925" y="1021950"/>
                      </a:lnTo>
                      <a:cubicBezTo>
                        <a:pt x="2163318" y="1047979"/>
                        <a:pt x="2185137" y="1065346"/>
                        <a:pt x="2211693" y="1065346"/>
                      </a:cubicBezTo>
                      <a:cubicBezTo>
                        <a:pt x="2261282" y="1065346"/>
                        <a:pt x="2270391" y="1018428"/>
                        <a:pt x="2276260" y="981347"/>
                      </a:cubicBezTo>
                      <a:lnTo>
                        <a:pt x="2280106" y="960985"/>
                      </a:lnTo>
                      <a:cubicBezTo>
                        <a:pt x="2261930" y="981064"/>
                        <a:pt x="2229019" y="994139"/>
                        <a:pt x="2203030" y="992358"/>
                      </a:cubicBezTo>
                      <a:cubicBezTo>
                        <a:pt x="2138948" y="988026"/>
                        <a:pt x="2113242" y="938275"/>
                        <a:pt x="2116238" y="875651"/>
                      </a:cubicBezTo>
                      <a:cubicBezTo>
                        <a:pt x="2119881" y="799384"/>
                        <a:pt x="2184489" y="741617"/>
                        <a:pt x="2232500" y="740524"/>
                      </a:cubicBezTo>
                      <a:close/>
                      <a:moveTo>
                        <a:pt x="1583917" y="739230"/>
                      </a:moveTo>
                      <a:lnTo>
                        <a:pt x="1621650" y="747634"/>
                      </a:lnTo>
                      <a:cubicBezTo>
                        <a:pt x="1650162" y="762482"/>
                        <a:pt x="1652819" y="795689"/>
                        <a:pt x="1646049" y="838528"/>
                      </a:cubicBezTo>
                      <a:lnTo>
                        <a:pt x="1622691" y="985799"/>
                      </a:lnTo>
                      <a:lnTo>
                        <a:pt x="1559621" y="985799"/>
                      </a:lnTo>
                      <a:lnTo>
                        <a:pt x="1579578" y="858607"/>
                      </a:lnTo>
                      <a:cubicBezTo>
                        <a:pt x="1581036" y="849377"/>
                        <a:pt x="1582371" y="837193"/>
                        <a:pt x="1582938" y="827194"/>
                      </a:cubicBezTo>
                      <a:cubicBezTo>
                        <a:pt x="1584153" y="805212"/>
                        <a:pt x="1575813" y="787846"/>
                        <a:pt x="1548610" y="787846"/>
                      </a:cubicBezTo>
                      <a:cubicBezTo>
                        <a:pt x="1507036" y="787846"/>
                        <a:pt x="1497523" y="831282"/>
                        <a:pt x="1492098" y="860267"/>
                      </a:cubicBezTo>
                      <a:lnTo>
                        <a:pt x="1472424" y="985799"/>
                      </a:lnTo>
                      <a:lnTo>
                        <a:pt x="1408707" y="985799"/>
                      </a:lnTo>
                      <a:lnTo>
                        <a:pt x="1447083" y="746555"/>
                      </a:lnTo>
                      <a:lnTo>
                        <a:pt x="1509667" y="746555"/>
                      </a:lnTo>
                      <a:lnTo>
                        <a:pt x="1502704" y="785579"/>
                      </a:lnTo>
                      <a:cubicBezTo>
                        <a:pt x="1517945" y="752091"/>
                        <a:pt x="1547464" y="742467"/>
                        <a:pt x="1567692" y="739970"/>
                      </a:cubicBezTo>
                      <a:close/>
                      <a:moveTo>
                        <a:pt x="5205281" y="739228"/>
                      </a:moveTo>
                      <a:cubicBezTo>
                        <a:pt x="5268756" y="741414"/>
                        <a:pt x="5276447" y="781409"/>
                        <a:pt x="5267420" y="838528"/>
                      </a:cubicBezTo>
                      <a:lnTo>
                        <a:pt x="5244062" y="985799"/>
                      </a:lnTo>
                      <a:lnTo>
                        <a:pt x="5180993" y="985799"/>
                      </a:lnTo>
                      <a:lnTo>
                        <a:pt x="5200950" y="858607"/>
                      </a:lnTo>
                      <a:cubicBezTo>
                        <a:pt x="5202407" y="849377"/>
                        <a:pt x="5203784" y="837193"/>
                        <a:pt x="5204310" y="827194"/>
                      </a:cubicBezTo>
                      <a:cubicBezTo>
                        <a:pt x="5205565" y="805212"/>
                        <a:pt x="5197185" y="787846"/>
                        <a:pt x="5169982" y="787846"/>
                      </a:cubicBezTo>
                      <a:cubicBezTo>
                        <a:pt x="5128408" y="787846"/>
                        <a:pt x="5118854" y="831282"/>
                        <a:pt x="5113470" y="860267"/>
                      </a:cubicBezTo>
                      <a:lnTo>
                        <a:pt x="5093755" y="985799"/>
                      </a:lnTo>
                      <a:lnTo>
                        <a:pt x="5030038" y="985799"/>
                      </a:lnTo>
                      <a:lnTo>
                        <a:pt x="5068414" y="746555"/>
                      </a:lnTo>
                      <a:lnTo>
                        <a:pt x="5130998" y="746555"/>
                      </a:lnTo>
                      <a:lnTo>
                        <a:pt x="5124036" y="785579"/>
                      </a:lnTo>
                      <a:cubicBezTo>
                        <a:pt x="5144357" y="740928"/>
                        <a:pt x="5190061" y="738702"/>
                        <a:pt x="5205281" y="739228"/>
                      </a:cubicBezTo>
                      <a:close/>
                      <a:moveTo>
                        <a:pt x="3342010" y="739228"/>
                      </a:moveTo>
                      <a:cubicBezTo>
                        <a:pt x="3405485" y="741414"/>
                        <a:pt x="3413216" y="781409"/>
                        <a:pt x="3404149" y="838528"/>
                      </a:cubicBezTo>
                      <a:lnTo>
                        <a:pt x="3380791" y="985799"/>
                      </a:lnTo>
                      <a:lnTo>
                        <a:pt x="3317762" y="985799"/>
                      </a:lnTo>
                      <a:lnTo>
                        <a:pt x="3337719" y="858607"/>
                      </a:lnTo>
                      <a:cubicBezTo>
                        <a:pt x="3339176" y="849377"/>
                        <a:pt x="3340512" y="837193"/>
                        <a:pt x="3341079" y="827194"/>
                      </a:cubicBezTo>
                      <a:cubicBezTo>
                        <a:pt x="3342294" y="805212"/>
                        <a:pt x="3333914" y="787846"/>
                        <a:pt x="3306710" y="787846"/>
                      </a:cubicBezTo>
                      <a:cubicBezTo>
                        <a:pt x="3265136" y="787846"/>
                        <a:pt x="3255623" y="831282"/>
                        <a:pt x="3250199" y="860267"/>
                      </a:cubicBezTo>
                      <a:lnTo>
                        <a:pt x="3230484" y="985799"/>
                      </a:lnTo>
                      <a:lnTo>
                        <a:pt x="3166807" y="985799"/>
                      </a:lnTo>
                      <a:lnTo>
                        <a:pt x="3205184" y="746555"/>
                      </a:lnTo>
                      <a:lnTo>
                        <a:pt x="3267767" y="746555"/>
                      </a:lnTo>
                      <a:lnTo>
                        <a:pt x="3260764" y="785579"/>
                      </a:lnTo>
                      <a:cubicBezTo>
                        <a:pt x="3281086" y="740928"/>
                        <a:pt x="3326789" y="738702"/>
                        <a:pt x="3342010" y="739228"/>
                      </a:cubicBezTo>
                      <a:close/>
                      <a:moveTo>
                        <a:pt x="1583910" y="739228"/>
                      </a:moveTo>
                      <a:lnTo>
                        <a:pt x="1583950" y="739228"/>
                      </a:lnTo>
                      <a:lnTo>
                        <a:pt x="1583917" y="739230"/>
                      </a:lnTo>
                      <a:close/>
                      <a:moveTo>
                        <a:pt x="4296275" y="738702"/>
                      </a:moveTo>
                      <a:lnTo>
                        <a:pt x="4296356" y="738702"/>
                      </a:lnTo>
                      <a:lnTo>
                        <a:pt x="4296318" y="738711"/>
                      </a:lnTo>
                      <a:close/>
                      <a:moveTo>
                        <a:pt x="4922115" y="738621"/>
                      </a:moveTo>
                      <a:lnTo>
                        <a:pt x="4922075" y="738662"/>
                      </a:lnTo>
                      <a:cubicBezTo>
                        <a:pt x="5000568" y="738095"/>
                        <a:pt x="5026435" y="794607"/>
                        <a:pt x="5014696" y="868768"/>
                      </a:cubicBezTo>
                      <a:lnTo>
                        <a:pt x="5013886" y="873909"/>
                      </a:lnTo>
                      <a:lnTo>
                        <a:pt x="4851961" y="873909"/>
                      </a:lnTo>
                      <a:cubicBezTo>
                        <a:pt x="4847265" y="907428"/>
                        <a:pt x="4853054" y="945075"/>
                        <a:pt x="4889487" y="946452"/>
                      </a:cubicBezTo>
                      <a:cubicBezTo>
                        <a:pt x="4912440" y="947302"/>
                        <a:pt x="4932600" y="936169"/>
                        <a:pt x="4947578" y="913581"/>
                      </a:cubicBezTo>
                      <a:lnTo>
                        <a:pt x="5003644" y="923175"/>
                      </a:lnTo>
                      <a:cubicBezTo>
                        <a:pt x="4977615" y="968757"/>
                        <a:pt x="4935191" y="993086"/>
                        <a:pt x="4886168" y="993653"/>
                      </a:cubicBezTo>
                      <a:cubicBezTo>
                        <a:pt x="4812087" y="994463"/>
                        <a:pt x="4774115" y="943497"/>
                        <a:pt x="4785936" y="868849"/>
                      </a:cubicBezTo>
                      <a:cubicBezTo>
                        <a:pt x="4797756" y="794202"/>
                        <a:pt x="4845362" y="739147"/>
                        <a:pt x="4922115" y="738621"/>
                      </a:cubicBezTo>
                      <a:close/>
                      <a:moveTo>
                        <a:pt x="4532645" y="738621"/>
                      </a:moveTo>
                      <a:lnTo>
                        <a:pt x="4532604" y="738662"/>
                      </a:lnTo>
                      <a:cubicBezTo>
                        <a:pt x="4611098" y="738095"/>
                        <a:pt x="4636965" y="794607"/>
                        <a:pt x="4625226" y="868768"/>
                      </a:cubicBezTo>
                      <a:lnTo>
                        <a:pt x="4624416" y="873909"/>
                      </a:lnTo>
                      <a:lnTo>
                        <a:pt x="4462491" y="873909"/>
                      </a:lnTo>
                      <a:cubicBezTo>
                        <a:pt x="4457795" y="907428"/>
                        <a:pt x="4463584" y="945075"/>
                        <a:pt x="4500017" y="946452"/>
                      </a:cubicBezTo>
                      <a:cubicBezTo>
                        <a:pt x="4522970" y="947302"/>
                        <a:pt x="4543130" y="936169"/>
                        <a:pt x="4558108" y="913581"/>
                      </a:cubicBezTo>
                      <a:lnTo>
                        <a:pt x="4614174" y="923175"/>
                      </a:lnTo>
                      <a:cubicBezTo>
                        <a:pt x="4588145" y="968757"/>
                        <a:pt x="4545720" y="993086"/>
                        <a:pt x="4496698" y="993653"/>
                      </a:cubicBezTo>
                      <a:cubicBezTo>
                        <a:pt x="4422617" y="994463"/>
                        <a:pt x="4384646" y="943497"/>
                        <a:pt x="4396466" y="868849"/>
                      </a:cubicBezTo>
                      <a:cubicBezTo>
                        <a:pt x="4408287" y="794202"/>
                        <a:pt x="4455893" y="739147"/>
                        <a:pt x="4532645" y="738621"/>
                      </a:cubicBezTo>
                      <a:close/>
                      <a:moveTo>
                        <a:pt x="2831663" y="738621"/>
                      </a:moveTo>
                      <a:lnTo>
                        <a:pt x="2831703" y="738621"/>
                      </a:lnTo>
                      <a:lnTo>
                        <a:pt x="2831685" y="738626"/>
                      </a:lnTo>
                      <a:close/>
                      <a:moveTo>
                        <a:pt x="2697427" y="738621"/>
                      </a:moveTo>
                      <a:cubicBezTo>
                        <a:pt x="2727990" y="738621"/>
                        <a:pt x="2741754" y="753599"/>
                        <a:pt x="2753655" y="779629"/>
                      </a:cubicBezTo>
                      <a:cubicBezTo>
                        <a:pt x="2763067" y="767606"/>
                        <a:pt x="2775434" y="757354"/>
                        <a:pt x="2789020" y="750108"/>
                      </a:cubicBezTo>
                      <a:lnTo>
                        <a:pt x="2831685" y="738626"/>
                      </a:lnTo>
                      <a:lnTo>
                        <a:pt x="2868380" y="746676"/>
                      </a:lnTo>
                      <a:cubicBezTo>
                        <a:pt x="2895562" y="762179"/>
                        <a:pt x="2896291" y="798209"/>
                        <a:pt x="2889915" y="838407"/>
                      </a:cubicBezTo>
                      <a:lnTo>
                        <a:pt x="2866558" y="985800"/>
                      </a:lnTo>
                      <a:lnTo>
                        <a:pt x="2803690" y="985800"/>
                      </a:lnTo>
                      <a:lnTo>
                        <a:pt x="2824821" y="852697"/>
                      </a:lnTo>
                      <a:cubicBezTo>
                        <a:pt x="2828627" y="828651"/>
                        <a:pt x="2833282" y="787725"/>
                        <a:pt x="2798346" y="787725"/>
                      </a:cubicBezTo>
                      <a:cubicBezTo>
                        <a:pt x="2756894" y="787725"/>
                        <a:pt x="2748636" y="842698"/>
                        <a:pt x="2744587" y="868242"/>
                      </a:cubicBezTo>
                      <a:lnTo>
                        <a:pt x="2725804" y="985800"/>
                      </a:lnTo>
                      <a:lnTo>
                        <a:pt x="2662977" y="985800"/>
                      </a:lnTo>
                      <a:lnTo>
                        <a:pt x="2683056" y="859660"/>
                      </a:lnTo>
                      <a:cubicBezTo>
                        <a:pt x="2686861" y="835614"/>
                        <a:pt x="2697022" y="788453"/>
                        <a:pt x="2656784" y="787725"/>
                      </a:cubicBezTo>
                      <a:cubicBezTo>
                        <a:pt x="2613712" y="786956"/>
                        <a:pt x="2607680" y="843103"/>
                        <a:pt x="2603551" y="869133"/>
                      </a:cubicBezTo>
                      <a:lnTo>
                        <a:pt x="2584970" y="985800"/>
                      </a:lnTo>
                      <a:lnTo>
                        <a:pt x="2522224" y="985800"/>
                      </a:lnTo>
                      <a:lnTo>
                        <a:pt x="2559912" y="746636"/>
                      </a:lnTo>
                      <a:lnTo>
                        <a:pt x="2623346" y="746636"/>
                      </a:lnTo>
                      <a:lnTo>
                        <a:pt x="2618286" y="776147"/>
                      </a:lnTo>
                      <a:cubicBezTo>
                        <a:pt x="2647635" y="739228"/>
                        <a:pt x="2674879" y="738621"/>
                        <a:pt x="2697427" y="738621"/>
                      </a:cubicBezTo>
                      <a:close/>
                      <a:moveTo>
                        <a:pt x="2097697" y="738621"/>
                      </a:moveTo>
                      <a:cubicBezTo>
                        <a:pt x="2107696" y="738621"/>
                        <a:pt x="2113971" y="740240"/>
                        <a:pt x="2122431" y="743722"/>
                      </a:cubicBezTo>
                      <a:lnTo>
                        <a:pt x="2122472" y="743722"/>
                      </a:lnTo>
                      <a:lnTo>
                        <a:pt x="2106077" y="801529"/>
                      </a:lnTo>
                      <a:cubicBezTo>
                        <a:pt x="2098547" y="795497"/>
                        <a:pt x="2088994" y="794040"/>
                        <a:pt x="2078468" y="794040"/>
                      </a:cubicBezTo>
                      <a:cubicBezTo>
                        <a:pt x="2029851" y="794040"/>
                        <a:pt x="2016209" y="840472"/>
                        <a:pt x="2010177" y="878565"/>
                      </a:cubicBezTo>
                      <a:lnTo>
                        <a:pt x="1993255" y="985800"/>
                      </a:lnTo>
                      <a:lnTo>
                        <a:pt x="1930469" y="985800"/>
                      </a:lnTo>
                      <a:lnTo>
                        <a:pt x="1968117" y="746555"/>
                      </a:lnTo>
                      <a:lnTo>
                        <a:pt x="2031065" y="746555"/>
                      </a:lnTo>
                      <a:lnTo>
                        <a:pt x="2024143" y="785579"/>
                      </a:lnTo>
                      <a:cubicBezTo>
                        <a:pt x="2040861" y="758133"/>
                        <a:pt x="2071668" y="738621"/>
                        <a:pt x="2097697" y="738621"/>
                      </a:cubicBezTo>
                      <a:close/>
                      <a:moveTo>
                        <a:pt x="1816636" y="738621"/>
                      </a:moveTo>
                      <a:lnTo>
                        <a:pt x="1816636" y="738662"/>
                      </a:lnTo>
                      <a:cubicBezTo>
                        <a:pt x="1895129" y="738095"/>
                        <a:pt x="1920997" y="794607"/>
                        <a:pt x="1909257" y="868768"/>
                      </a:cubicBezTo>
                      <a:lnTo>
                        <a:pt x="1908407" y="873909"/>
                      </a:lnTo>
                      <a:lnTo>
                        <a:pt x="1746482" y="873909"/>
                      </a:lnTo>
                      <a:cubicBezTo>
                        <a:pt x="1741786" y="907428"/>
                        <a:pt x="1747575" y="945075"/>
                        <a:pt x="1784008" y="946452"/>
                      </a:cubicBezTo>
                      <a:cubicBezTo>
                        <a:pt x="1806961" y="947302"/>
                        <a:pt x="1827121" y="936169"/>
                        <a:pt x="1842099" y="913581"/>
                      </a:cubicBezTo>
                      <a:lnTo>
                        <a:pt x="1898165" y="923175"/>
                      </a:lnTo>
                      <a:cubicBezTo>
                        <a:pt x="1872176" y="968757"/>
                        <a:pt x="1829712" y="993086"/>
                        <a:pt x="1780689" y="993653"/>
                      </a:cubicBezTo>
                      <a:cubicBezTo>
                        <a:pt x="1706608" y="994463"/>
                        <a:pt x="1668636" y="943497"/>
                        <a:pt x="1680457" y="868849"/>
                      </a:cubicBezTo>
                      <a:cubicBezTo>
                        <a:pt x="1692278" y="794202"/>
                        <a:pt x="1739884" y="739147"/>
                        <a:pt x="1816636" y="738621"/>
                      </a:cubicBezTo>
                      <a:close/>
                      <a:moveTo>
                        <a:pt x="4706066" y="663650"/>
                      </a:moveTo>
                      <a:lnTo>
                        <a:pt x="4768731" y="663650"/>
                      </a:lnTo>
                      <a:lnTo>
                        <a:pt x="4755575" y="746920"/>
                      </a:lnTo>
                      <a:lnTo>
                        <a:pt x="4798809" y="746920"/>
                      </a:lnTo>
                      <a:lnTo>
                        <a:pt x="4790227" y="798614"/>
                      </a:lnTo>
                      <a:lnTo>
                        <a:pt x="4746952" y="798614"/>
                      </a:lnTo>
                      <a:lnTo>
                        <a:pt x="4717604" y="985112"/>
                      </a:lnTo>
                      <a:lnTo>
                        <a:pt x="4654736" y="985112"/>
                      </a:lnTo>
                      <a:lnTo>
                        <a:pt x="4684328" y="798614"/>
                      </a:lnTo>
                      <a:lnTo>
                        <a:pt x="4659594" y="798614"/>
                      </a:lnTo>
                      <a:lnTo>
                        <a:pt x="4668742" y="746920"/>
                      </a:lnTo>
                      <a:lnTo>
                        <a:pt x="4692707" y="746920"/>
                      </a:lnTo>
                      <a:close/>
                      <a:moveTo>
                        <a:pt x="1226379" y="615194"/>
                      </a:moveTo>
                      <a:lnTo>
                        <a:pt x="1413402" y="615194"/>
                      </a:lnTo>
                      <a:lnTo>
                        <a:pt x="1404253" y="671868"/>
                      </a:lnTo>
                      <a:lnTo>
                        <a:pt x="1282243" y="671868"/>
                      </a:lnTo>
                      <a:lnTo>
                        <a:pt x="1268034" y="762100"/>
                      </a:lnTo>
                      <a:lnTo>
                        <a:pt x="1385551" y="762100"/>
                      </a:lnTo>
                      <a:lnTo>
                        <a:pt x="1376240" y="819543"/>
                      </a:lnTo>
                      <a:lnTo>
                        <a:pt x="1259169" y="819543"/>
                      </a:lnTo>
                      <a:lnTo>
                        <a:pt x="1242005" y="928195"/>
                      </a:lnTo>
                      <a:lnTo>
                        <a:pt x="1363529" y="928195"/>
                      </a:lnTo>
                      <a:lnTo>
                        <a:pt x="1354380" y="985800"/>
                      </a:lnTo>
                      <a:lnTo>
                        <a:pt x="1167843" y="985800"/>
                      </a:lnTo>
                      <a:close/>
                      <a:moveTo>
                        <a:pt x="3812685" y="601835"/>
                      </a:moveTo>
                      <a:cubicBezTo>
                        <a:pt x="3835719" y="601835"/>
                        <a:pt x="3847580" y="617218"/>
                        <a:pt x="3844018" y="639766"/>
                      </a:cubicBezTo>
                      <a:cubicBezTo>
                        <a:pt x="3840374" y="662800"/>
                        <a:pt x="3824425" y="677980"/>
                        <a:pt x="3801350" y="677980"/>
                      </a:cubicBezTo>
                      <a:cubicBezTo>
                        <a:pt x="3778317" y="677980"/>
                        <a:pt x="3764189" y="663407"/>
                        <a:pt x="3767873" y="640373"/>
                      </a:cubicBezTo>
                      <a:cubicBezTo>
                        <a:pt x="3771435" y="617825"/>
                        <a:pt x="3789652" y="601835"/>
                        <a:pt x="3812685" y="601835"/>
                      </a:cubicBezTo>
                      <a:close/>
                      <a:moveTo>
                        <a:pt x="2492066" y="601835"/>
                      </a:moveTo>
                      <a:cubicBezTo>
                        <a:pt x="2515140" y="601835"/>
                        <a:pt x="2527001" y="617218"/>
                        <a:pt x="2523439" y="639766"/>
                      </a:cubicBezTo>
                      <a:cubicBezTo>
                        <a:pt x="2519796" y="662800"/>
                        <a:pt x="2503805" y="677980"/>
                        <a:pt x="2480772" y="677980"/>
                      </a:cubicBezTo>
                      <a:cubicBezTo>
                        <a:pt x="2457738" y="677980"/>
                        <a:pt x="2443610" y="663407"/>
                        <a:pt x="2447294" y="640373"/>
                      </a:cubicBezTo>
                      <a:cubicBezTo>
                        <a:pt x="2450856" y="617825"/>
                        <a:pt x="2469032" y="601835"/>
                        <a:pt x="2492066" y="601835"/>
                      </a:cubicBezTo>
                      <a:close/>
                      <a:moveTo>
                        <a:pt x="4190659" y="567871"/>
                      </a:moveTo>
                      <a:lnTo>
                        <a:pt x="4253931" y="567871"/>
                      </a:lnTo>
                      <a:lnTo>
                        <a:pt x="4220130" y="773556"/>
                      </a:lnTo>
                      <a:cubicBezTo>
                        <a:pt x="4228995" y="763537"/>
                        <a:pt x="4241787" y="754824"/>
                        <a:pt x="4255495" y="748615"/>
                      </a:cubicBezTo>
                      <a:lnTo>
                        <a:pt x="4296318" y="738711"/>
                      </a:lnTo>
                      <a:lnTo>
                        <a:pt x="4335526" y="746875"/>
                      </a:lnTo>
                      <a:cubicBezTo>
                        <a:pt x="4365080" y="762657"/>
                        <a:pt x="4367532" y="799576"/>
                        <a:pt x="4360761" y="842415"/>
                      </a:cubicBezTo>
                      <a:lnTo>
                        <a:pt x="4338254" y="985840"/>
                      </a:lnTo>
                      <a:lnTo>
                        <a:pt x="4274981" y="985840"/>
                      </a:lnTo>
                      <a:lnTo>
                        <a:pt x="4295182" y="858607"/>
                      </a:lnTo>
                      <a:cubicBezTo>
                        <a:pt x="4299837" y="829056"/>
                        <a:pt x="4306800" y="787968"/>
                        <a:pt x="4265226" y="787968"/>
                      </a:cubicBezTo>
                      <a:cubicBezTo>
                        <a:pt x="4223651" y="787968"/>
                        <a:pt x="4210617" y="838853"/>
                        <a:pt x="4205961" y="868404"/>
                      </a:cubicBezTo>
                      <a:lnTo>
                        <a:pt x="4187987" y="985840"/>
                      </a:lnTo>
                      <a:lnTo>
                        <a:pt x="4124715" y="985840"/>
                      </a:lnTo>
                      <a:close/>
                      <a:moveTo>
                        <a:pt x="3662662" y="567790"/>
                      </a:moveTo>
                      <a:lnTo>
                        <a:pt x="3662662" y="567831"/>
                      </a:lnTo>
                      <a:lnTo>
                        <a:pt x="3725448" y="567831"/>
                      </a:lnTo>
                      <a:lnTo>
                        <a:pt x="3659788" y="985638"/>
                      </a:lnTo>
                      <a:lnTo>
                        <a:pt x="3596354" y="985638"/>
                      </a:lnTo>
                      <a:lnTo>
                        <a:pt x="3599957" y="962320"/>
                      </a:lnTo>
                      <a:cubicBezTo>
                        <a:pt x="3582266" y="982359"/>
                        <a:pt x="3549558" y="993936"/>
                        <a:pt x="3524014" y="993936"/>
                      </a:cubicBezTo>
                      <a:cubicBezTo>
                        <a:pt x="3451876" y="993936"/>
                        <a:pt x="3425118" y="930745"/>
                        <a:pt x="3435684" y="864113"/>
                      </a:cubicBezTo>
                      <a:cubicBezTo>
                        <a:pt x="3446007" y="798979"/>
                        <a:pt x="3493248" y="738945"/>
                        <a:pt x="3563888" y="738945"/>
                      </a:cubicBezTo>
                      <a:cubicBezTo>
                        <a:pt x="3589391" y="738945"/>
                        <a:pt x="3618416" y="752304"/>
                        <a:pt x="3630844" y="771856"/>
                      </a:cubicBezTo>
                      <a:close/>
                      <a:moveTo>
                        <a:pt x="617946" y="82379"/>
                      </a:moveTo>
                      <a:cubicBezTo>
                        <a:pt x="322595" y="82379"/>
                        <a:pt x="82298" y="322636"/>
                        <a:pt x="82298" y="617987"/>
                      </a:cubicBezTo>
                      <a:cubicBezTo>
                        <a:pt x="82298" y="665188"/>
                        <a:pt x="88654" y="711741"/>
                        <a:pt x="100717" y="756514"/>
                      </a:cubicBezTo>
                      <a:cubicBezTo>
                        <a:pt x="125208" y="757688"/>
                        <a:pt x="150833" y="757566"/>
                        <a:pt x="177470" y="755380"/>
                      </a:cubicBezTo>
                      <a:cubicBezTo>
                        <a:pt x="163909" y="711984"/>
                        <a:pt x="156581" y="665836"/>
                        <a:pt x="156581" y="617987"/>
                      </a:cubicBezTo>
                      <a:cubicBezTo>
                        <a:pt x="156581" y="435578"/>
                        <a:pt x="264464" y="269969"/>
                        <a:pt x="431409" y="196091"/>
                      </a:cubicBezTo>
                      <a:lnTo>
                        <a:pt x="464725" y="271386"/>
                      </a:lnTo>
                      <a:cubicBezTo>
                        <a:pt x="327574" y="332068"/>
                        <a:pt x="238920" y="468125"/>
                        <a:pt x="238920" y="617987"/>
                      </a:cubicBezTo>
                      <a:lnTo>
                        <a:pt x="238961" y="618027"/>
                      </a:lnTo>
                      <a:cubicBezTo>
                        <a:pt x="238961" y="661464"/>
                        <a:pt x="246328" y="703240"/>
                        <a:pt x="259849" y="742143"/>
                      </a:cubicBezTo>
                      <a:cubicBezTo>
                        <a:pt x="357490" y="718340"/>
                        <a:pt x="465818" y="662233"/>
                        <a:pt x="579894" y="544554"/>
                      </a:cubicBezTo>
                      <a:cubicBezTo>
                        <a:pt x="669641" y="451933"/>
                        <a:pt x="830392" y="280333"/>
                        <a:pt x="987338" y="265921"/>
                      </a:cubicBezTo>
                      <a:cubicBezTo>
                        <a:pt x="998713" y="264869"/>
                        <a:pt x="1009683" y="264302"/>
                        <a:pt x="1020289" y="264221"/>
                      </a:cubicBezTo>
                      <a:cubicBezTo>
                        <a:pt x="919410" y="149093"/>
                        <a:pt x="774325" y="82379"/>
                        <a:pt x="617946" y="82379"/>
                      </a:cubicBezTo>
                      <a:close/>
                      <a:moveTo>
                        <a:pt x="617987" y="0"/>
                      </a:moveTo>
                      <a:cubicBezTo>
                        <a:pt x="830028" y="0"/>
                        <a:pt x="1023973" y="106304"/>
                        <a:pt x="1138373" y="284664"/>
                      </a:cubicBezTo>
                      <a:cubicBezTo>
                        <a:pt x="1163148" y="293772"/>
                        <a:pt x="1187113" y="305512"/>
                        <a:pt x="1211725" y="319357"/>
                      </a:cubicBezTo>
                      <a:cubicBezTo>
                        <a:pt x="1211725" y="320531"/>
                        <a:pt x="1075911" y="319438"/>
                        <a:pt x="994503" y="362591"/>
                      </a:cubicBezTo>
                      <a:cubicBezTo>
                        <a:pt x="922770" y="400643"/>
                        <a:pt x="851240" y="476505"/>
                        <a:pt x="795902" y="531478"/>
                      </a:cubicBezTo>
                      <a:lnTo>
                        <a:pt x="795902" y="531519"/>
                      </a:lnTo>
                      <a:cubicBezTo>
                        <a:pt x="710284" y="616610"/>
                        <a:pt x="557589" y="810475"/>
                        <a:pt x="350001" y="832780"/>
                      </a:cubicBezTo>
                      <a:cubicBezTo>
                        <a:pt x="335509" y="834359"/>
                        <a:pt x="321462" y="835169"/>
                        <a:pt x="307779" y="835533"/>
                      </a:cubicBezTo>
                      <a:cubicBezTo>
                        <a:pt x="376435" y="933093"/>
                        <a:pt x="489864" y="997013"/>
                        <a:pt x="617987" y="997013"/>
                      </a:cubicBezTo>
                      <a:cubicBezTo>
                        <a:pt x="699192" y="997013"/>
                        <a:pt x="776633" y="971712"/>
                        <a:pt x="841889" y="923823"/>
                      </a:cubicBezTo>
                      <a:lnTo>
                        <a:pt x="890588" y="990252"/>
                      </a:lnTo>
                      <a:cubicBezTo>
                        <a:pt x="811123" y="1048545"/>
                        <a:pt x="716842" y="1079352"/>
                        <a:pt x="617987" y="1079352"/>
                      </a:cubicBezTo>
                      <a:cubicBezTo>
                        <a:pt x="439060" y="1079352"/>
                        <a:pt x="283612" y="976975"/>
                        <a:pt x="207102" y="827720"/>
                      </a:cubicBezTo>
                      <a:cubicBezTo>
                        <a:pt x="171560" y="821162"/>
                        <a:pt x="140591" y="811285"/>
                        <a:pt x="114764" y="800679"/>
                      </a:cubicBezTo>
                      <a:cubicBezTo>
                        <a:pt x="150550" y="898927"/>
                        <a:pt x="214753" y="986245"/>
                        <a:pt x="300735" y="1049598"/>
                      </a:cubicBezTo>
                      <a:lnTo>
                        <a:pt x="251915" y="1115906"/>
                      </a:lnTo>
                      <a:cubicBezTo>
                        <a:pt x="94159" y="999765"/>
                        <a:pt x="0" y="813633"/>
                        <a:pt x="0" y="617987"/>
                      </a:cubicBezTo>
                      <a:cubicBezTo>
                        <a:pt x="0" y="277256"/>
                        <a:pt x="277256" y="0"/>
                        <a:pt x="617987" y="0"/>
                      </a:cubicBezTo>
                      <a:close/>
                    </a:path>
                  </a:pathLst>
                </a:custGeom>
                <a:solidFill>
                  <a:srgbClr val="FFFFFF"/>
                </a:solidFill>
                <a:ln w="0" cap="flat">
                  <a:noFill/>
                  <a:prstDash val="solid"/>
                  <a:miter/>
                </a:ln>
              </p:spPr>
              <p:txBody>
                <a:bodyPr rtlCol="0" anchor="ctr"/>
                <a:lstStyle/>
                <a:p>
                  <a:endParaRPr lang="sv-SE"/>
                </a:p>
              </p:txBody>
            </p:sp>
            <p:sp>
              <p:nvSpPr>
                <p:cNvPr id="274" name="Freeform 273">
                  <a:extLst>
                    <a:ext uri="{FF2B5EF4-FFF2-40B4-BE49-F238E27FC236}">
                      <a16:creationId xmlns:a16="http://schemas.microsoft.com/office/drawing/2014/main" id="{FB1F8480-3122-4338-6A7E-E9761D426D25}"/>
                    </a:ext>
                  </a:extLst>
                </p:cNvPr>
                <p:cNvSpPr/>
                <p:nvPr/>
              </p:nvSpPr>
              <p:spPr>
                <a:xfrm>
                  <a:off x="2568439" y="5556522"/>
                  <a:ext cx="414104" cy="411556"/>
                </a:xfrm>
                <a:custGeom>
                  <a:avLst/>
                  <a:gdLst>
                    <a:gd name="connsiteX0" fmla="*/ 278256 w 556182"/>
                    <a:gd name="connsiteY0" fmla="*/ 480661 h 552760"/>
                    <a:gd name="connsiteX1" fmla="*/ 287152 w 556182"/>
                    <a:gd name="connsiteY1" fmla="*/ 508422 h 552760"/>
                    <a:gd name="connsiteX2" fmla="*/ 316215 w 556182"/>
                    <a:gd name="connsiteY2" fmla="*/ 508422 h 552760"/>
                    <a:gd name="connsiteX3" fmla="*/ 292638 w 556182"/>
                    <a:gd name="connsiteY3" fmla="*/ 525362 h 552760"/>
                    <a:gd name="connsiteX4" fmla="*/ 301471 w 556182"/>
                    <a:gd name="connsiteY4" fmla="*/ 552760 h 552760"/>
                    <a:gd name="connsiteX5" fmla="*/ 278272 w 556182"/>
                    <a:gd name="connsiteY5" fmla="*/ 535820 h 552760"/>
                    <a:gd name="connsiteX6" fmla="*/ 255057 w 556182"/>
                    <a:gd name="connsiteY6" fmla="*/ 552760 h 552760"/>
                    <a:gd name="connsiteX7" fmla="*/ 263876 w 556182"/>
                    <a:gd name="connsiteY7" fmla="*/ 525362 h 552760"/>
                    <a:gd name="connsiteX8" fmla="*/ 240314 w 556182"/>
                    <a:gd name="connsiteY8" fmla="*/ 508422 h 552760"/>
                    <a:gd name="connsiteX9" fmla="*/ 269376 w 556182"/>
                    <a:gd name="connsiteY9" fmla="*/ 508455 h 552760"/>
                    <a:gd name="connsiteX10" fmla="*/ 398255 w 556182"/>
                    <a:gd name="connsiteY10" fmla="*/ 448779 h 552760"/>
                    <a:gd name="connsiteX11" fmla="*/ 407133 w 556182"/>
                    <a:gd name="connsiteY11" fmla="*/ 476512 h 552760"/>
                    <a:gd name="connsiteX12" fmla="*/ 436197 w 556182"/>
                    <a:gd name="connsiteY12" fmla="*/ 476512 h 552760"/>
                    <a:gd name="connsiteX13" fmla="*/ 412619 w 556182"/>
                    <a:gd name="connsiteY13" fmla="*/ 493453 h 552760"/>
                    <a:gd name="connsiteX14" fmla="*/ 421467 w 556182"/>
                    <a:gd name="connsiteY14" fmla="*/ 520851 h 552760"/>
                    <a:gd name="connsiteX15" fmla="*/ 398255 w 556182"/>
                    <a:gd name="connsiteY15" fmla="*/ 503906 h 552760"/>
                    <a:gd name="connsiteX16" fmla="*/ 375040 w 556182"/>
                    <a:gd name="connsiteY16" fmla="*/ 520851 h 552760"/>
                    <a:gd name="connsiteX17" fmla="*/ 383860 w 556182"/>
                    <a:gd name="connsiteY17" fmla="*/ 493453 h 552760"/>
                    <a:gd name="connsiteX18" fmla="*/ 360311 w 556182"/>
                    <a:gd name="connsiteY18" fmla="*/ 476512 h 552760"/>
                    <a:gd name="connsiteX19" fmla="*/ 389346 w 556182"/>
                    <a:gd name="connsiteY19" fmla="*/ 476540 h 552760"/>
                    <a:gd name="connsiteX20" fmla="*/ 158275 w 556182"/>
                    <a:gd name="connsiteY20" fmla="*/ 448779 h 552760"/>
                    <a:gd name="connsiteX21" fmla="*/ 167169 w 556182"/>
                    <a:gd name="connsiteY21" fmla="*/ 476512 h 552760"/>
                    <a:gd name="connsiteX22" fmla="*/ 196233 w 556182"/>
                    <a:gd name="connsiteY22" fmla="*/ 476512 h 552760"/>
                    <a:gd name="connsiteX23" fmla="*/ 172670 w 556182"/>
                    <a:gd name="connsiteY23" fmla="*/ 493453 h 552760"/>
                    <a:gd name="connsiteX24" fmla="*/ 181489 w 556182"/>
                    <a:gd name="connsiteY24" fmla="*/ 520851 h 552760"/>
                    <a:gd name="connsiteX25" fmla="*/ 158290 w 556182"/>
                    <a:gd name="connsiteY25" fmla="*/ 503906 h 552760"/>
                    <a:gd name="connsiteX26" fmla="*/ 135074 w 556182"/>
                    <a:gd name="connsiteY26" fmla="*/ 520851 h 552760"/>
                    <a:gd name="connsiteX27" fmla="*/ 143894 w 556182"/>
                    <a:gd name="connsiteY27" fmla="*/ 493453 h 552760"/>
                    <a:gd name="connsiteX28" fmla="*/ 120331 w 556182"/>
                    <a:gd name="connsiteY28" fmla="*/ 476512 h 552760"/>
                    <a:gd name="connsiteX29" fmla="*/ 149395 w 556182"/>
                    <a:gd name="connsiteY29" fmla="*/ 476540 h 552760"/>
                    <a:gd name="connsiteX30" fmla="*/ 486322 w 556182"/>
                    <a:gd name="connsiteY30" fmla="*/ 360679 h 552760"/>
                    <a:gd name="connsiteX31" fmla="*/ 495232 w 556182"/>
                    <a:gd name="connsiteY31" fmla="*/ 388442 h 552760"/>
                    <a:gd name="connsiteX32" fmla="*/ 524269 w 556182"/>
                    <a:gd name="connsiteY32" fmla="*/ 388442 h 552760"/>
                    <a:gd name="connsiteX33" fmla="*/ 500689 w 556182"/>
                    <a:gd name="connsiteY33" fmla="*/ 405382 h 552760"/>
                    <a:gd name="connsiteX34" fmla="*/ 509539 w 556182"/>
                    <a:gd name="connsiteY34" fmla="*/ 432780 h 552760"/>
                    <a:gd name="connsiteX35" fmla="*/ 486322 w 556182"/>
                    <a:gd name="connsiteY35" fmla="*/ 415807 h 552760"/>
                    <a:gd name="connsiteX36" fmla="*/ 463111 w 556182"/>
                    <a:gd name="connsiteY36" fmla="*/ 432780 h 552760"/>
                    <a:gd name="connsiteX37" fmla="*/ 471960 w 556182"/>
                    <a:gd name="connsiteY37" fmla="*/ 405382 h 552760"/>
                    <a:gd name="connsiteX38" fmla="*/ 448381 w 556182"/>
                    <a:gd name="connsiteY38" fmla="*/ 388442 h 552760"/>
                    <a:gd name="connsiteX39" fmla="*/ 477416 w 556182"/>
                    <a:gd name="connsiteY39" fmla="*/ 388470 h 552760"/>
                    <a:gd name="connsiteX40" fmla="*/ 70203 w 556182"/>
                    <a:gd name="connsiteY40" fmla="*/ 360679 h 552760"/>
                    <a:gd name="connsiteX41" fmla="*/ 79099 w 556182"/>
                    <a:gd name="connsiteY41" fmla="*/ 388442 h 552760"/>
                    <a:gd name="connsiteX42" fmla="*/ 108148 w 556182"/>
                    <a:gd name="connsiteY42" fmla="*/ 388442 h 552760"/>
                    <a:gd name="connsiteX43" fmla="*/ 84585 w 556182"/>
                    <a:gd name="connsiteY43" fmla="*/ 405382 h 552760"/>
                    <a:gd name="connsiteX44" fmla="*/ 93418 w 556182"/>
                    <a:gd name="connsiteY44" fmla="*/ 432780 h 552760"/>
                    <a:gd name="connsiteX45" fmla="*/ 70203 w 556182"/>
                    <a:gd name="connsiteY45" fmla="*/ 415807 h 552760"/>
                    <a:gd name="connsiteX46" fmla="*/ 46989 w 556182"/>
                    <a:gd name="connsiteY46" fmla="*/ 432780 h 552760"/>
                    <a:gd name="connsiteX47" fmla="*/ 55823 w 556182"/>
                    <a:gd name="connsiteY47" fmla="*/ 405382 h 552760"/>
                    <a:gd name="connsiteX48" fmla="*/ 32261 w 556182"/>
                    <a:gd name="connsiteY48" fmla="*/ 388442 h 552760"/>
                    <a:gd name="connsiteX49" fmla="*/ 61308 w 556182"/>
                    <a:gd name="connsiteY49" fmla="*/ 388470 h 552760"/>
                    <a:gd name="connsiteX50" fmla="*/ 37958 w 556182"/>
                    <a:gd name="connsiteY50" fmla="*/ 240331 h 552760"/>
                    <a:gd name="connsiteX51" fmla="*/ 46853 w 556182"/>
                    <a:gd name="connsiteY51" fmla="*/ 268092 h 552760"/>
                    <a:gd name="connsiteX52" fmla="*/ 75902 w 556182"/>
                    <a:gd name="connsiteY52" fmla="*/ 268092 h 552760"/>
                    <a:gd name="connsiteX53" fmla="*/ 52339 w 556182"/>
                    <a:gd name="connsiteY53" fmla="*/ 285034 h 552760"/>
                    <a:gd name="connsiteX54" fmla="*/ 61157 w 556182"/>
                    <a:gd name="connsiteY54" fmla="*/ 312430 h 552760"/>
                    <a:gd name="connsiteX55" fmla="*/ 37958 w 556182"/>
                    <a:gd name="connsiteY55" fmla="*/ 295490 h 552760"/>
                    <a:gd name="connsiteX56" fmla="*/ 14745 w 556182"/>
                    <a:gd name="connsiteY56" fmla="*/ 312430 h 552760"/>
                    <a:gd name="connsiteX57" fmla="*/ 23578 w 556182"/>
                    <a:gd name="connsiteY57" fmla="*/ 285034 h 552760"/>
                    <a:gd name="connsiteX58" fmla="*/ 0 w 556182"/>
                    <a:gd name="connsiteY58" fmla="*/ 268092 h 552760"/>
                    <a:gd name="connsiteX59" fmla="*/ 29064 w 556182"/>
                    <a:gd name="connsiteY59" fmla="*/ 268153 h 552760"/>
                    <a:gd name="connsiteX60" fmla="*/ 518208 w 556182"/>
                    <a:gd name="connsiteY60" fmla="*/ 239998 h 552760"/>
                    <a:gd name="connsiteX61" fmla="*/ 527118 w 556182"/>
                    <a:gd name="connsiteY61" fmla="*/ 267759 h 552760"/>
                    <a:gd name="connsiteX62" fmla="*/ 556182 w 556182"/>
                    <a:gd name="connsiteY62" fmla="*/ 267759 h 552760"/>
                    <a:gd name="connsiteX63" fmla="*/ 532603 w 556182"/>
                    <a:gd name="connsiteY63" fmla="*/ 284700 h 552760"/>
                    <a:gd name="connsiteX64" fmla="*/ 541420 w 556182"/>
                    <a:gd name="connsiteY64" fmla="*/ 312097 h 552760"/>
                    <a:gd name="connsiteX65" fmla="*/ 518208 w 556182"/>
                    <a:gd name="connsiteY65" fmla="*/ 295126 h 552760"/>
                    <a:gd name="connsiteX66" fmla="*/ 495020 w 556182"/>
                    <a:gd name="connsiteY66" fmla="*/ 312097 h 552760"/>
                    <a:gd name="connsiteX67" fmla="*/ 503840 w 556182"/>
                    <a:gd name="connsiteY67" fmla="*/ 284700 h 552760"/>
                    <a:gd name="connsiteX68" fmla="*/ 480262 w 556182"/>
                    <a:gd name="connsiteY68" fmla="*/ 267759 h 552760"/>
                    <a:gd name="connsiteX69" fmla="*/ 509326 w 556182"/>
                    <a:gd name="connsiteY69" fmla="*/ 267789 h 552760"/>
                    <a:gd name="connsiteX70" fmla="*/ 281217 w 556182"/>
                    <a:gd name="connsiteY70" fmla="*/ 193167 h 552760"/>
                    <a:gd name="connsiteX71" fmla="*/ 312248 w 556182"/>
                    <a:gd name="connsiteY71" fmla="*/ 193167 h 552760"/>
                    <a:gd name="connsiteX72" fmla="*/ 312248 w 556182"/>
                    <a:gd name="connsiteY72" fmla="*/ 297644 h 552760"/>
                    <a:gd name="connsiteX73" fmla="*/ 313922 w 556182"/>
                    <a:gd name="connsiteY73" fmla="*/ 315336 h 552760"/>
                    <a:gd name="connsiteX74" fmla="*/ 320619 w 556182"/>
                    <a:gd name="connsiteY74" fmla="*/ 327670 h 552760"/>
                    <a:gd name="connsiteX75" fmla="*/ 335018 w 556182"/>
                    <a:gd name="connsiteY75" fmla="*/ 332470 h 552760"/>
                    <a:gd name="connsiteX76" fmla="*/ 347855 w 556182"/>
                    <a:gd name="connsiteY76" fmla="*/ 329679 h 552760"/>
                    <a:gd name="connsiteX77" fmla="*/ 355333 w 556182"/>
                    <a:gd name="connsiteY77" fmla="*/ 319633 h 552760"/>
                    <a:gd name="connsiteX78" fmla="*/ 357901 w 556182"/>
                    <a:gd name="connsiteY78" fmla="*/ 299207 h 552760"/>
                    <a:gd name="connsiteX79" fmla="*/ 357901 w 556182"/>
                    <a:gd name="connsiteY79" fmla="*/ 193167 h 552760"/>
                    <a:gd name="connsiteX80" fmla="*/ 388931 w 556182"/>
                    <a:gd name="connsiteY80" fmla="*/ 193167 h 552760"/>
                    <a:gd name="connsiteX81" fmla="*/ 388931 w 556182"/>
                    <a:gd name="connsiteY81" fmla="*/ 300881 h 552760"/>
                    <a:gd name="connsiteX82" fmla="*/ 375983 w 556182"/>
                    <a:gd name="connsiteY82" fmla="*/ 345306 h 552760"/>
                    <a:gd name="connsiteX83" fmla="*/ 336469 w 556182"/>
                    <a:gd name="connsiteY83" fmla="*/ 359594 h 552760"/>
                    <a:gd name="connsiteX84" fmla="*/ 303876 w 556182"/>
                    <a:gd name="connsiteY84" fmla="*/ 353064 h 552760"/>
                    <a:gd name="connsiteX85" fmla="*/ 286519 w 556182"/>
                    <a:gd name="connsiteY85" fmla="*/ 332526 h 552760"/>
                    <a:gd name="connsiteX86" fmla="*/ 281217 w 556182"/>
                    <a:gd name="connsiteY86" fmla="*/ 295077 h 552760"/>
                    <a:gd name="connsiteX87" fmla="*/ 167252 w 556182"/>
                    <a:gd name="connsiteY87" fmla="*/ 193167 h 552760"/>
                    <a:gd name="connsiteX88" fmla="*/ 252977 w 556182"/>
                    <a:gd name="connsiteY88" fmla="*/ 193167 h 552760"/>
                    <a:gd name="connsiteX89" fmla="*/ 252977 w 556182"/>
                    <a:gd name="connsiteY89" fmla="*/ 219063 h 552760"/>
                    <a:gd name="connsiteX90" fmla="*/ 198282 w 556182"/>
                    <a:gd name="connsiteY90" fmla="*/ 219063 h 552760"/>
                    <a:gd name="connsiteX91" fmla="*/ 198282 w 556182"/>
                    <a:gd name="connsiteY91" fmla="*/ 257684 h 552760"/>
                    <a:gd name="connsiteX92" fmla="*/ 247842 w 556182"/>
                    <a:gd name="connsiteY92" fmla="*/ 257684 h 552760"/>
                    <a:gd name="connsiteX93" fmla="*/ 247842 w 556182"/>
                    <a:gd name="connsiteY93" fmla="*/ 283580 h 552760"/>
                    <a:gd name="connsiteX94" fmla="*/ 198282 w 556182"/>
                    <a:gd name="connsiteY94" fmla="*/ 283580 h 552760"/>
                    <a:gd name="connsiteX95" fmla="*/ 198282 w 556182"/>
                    <a:gd name="connsiteY95" fmla="*/ 330907 h 552760"/>
                    <a:gd name="connsiteX96" fmla="*/ 255879 w 556182"/>
                    <a:gd name="connsiteY96" fmla="*/ 330907 h 552760"/>
                    <a:gd name="connsiteX97" fmla="*/ 255879 w 556182"/>
                    <a:gd name="connsiteY97" fmla="*/ 356803 h 552760"/>
                    <a:gd name="connsiteX98" fmla="*/ 167252 w 556182"/>
                    <a:gd name="connsiteY98" fmla="*/ 356803 h 552760"/>
                    <a:gd name="connsiteX99" fmla="*/ 70203 w 556182"/>
                    <a:gd name="connsiteY99" fmla="*/ 120347 h 552760"/>
                    <a:gd name="connsiteX100" fmla="*/ 79099 w 556182"/>
                    <a:gd name="connsiteY100" fmla="*/ 148108 h 552760"/>
                    <a:gd name="connsiteX101" fmla="*/ 108148 w 556182"/>
                    <a:gd name="connsiteY101" fmla="*/ 148108 h 552760"/>
                    <a:gd name="connsiteX102" fmla="*/ 84585 w 556182"/>
                    <a:gd name="connsiteY102" fmla="*/ 165049 h 552760"/>
                    <a:gd name="connsiteX103" fmla="*/ 93418 w 556182"/>
                    <a:gd name="connsiteY103" fmla="*/ 192447 h 552760"/>
                    <a:gd name="connsiteX104" fmla="*/ 70203 w 556182"/>
                    <a:gd name="connsiteY104" fmla="*/ 175506 h 552760"/>
                    <a:gd name="connsiteX105" fmla="*/ 46989 w 556182"/>
                    <a:gd name="connsiteY105" fmla="*/ 192447 h 552760"/>
                    <a:gd name="connsiteX106" fmla="*/ 55823 w 556182"/>
                    <a:gd name="connsiteY106" fmla="*/ 165049 h 552760"/>
                    <a:gd name="connsiteX107" fmla="*/ 32261 w 556182"/>
                    <a:gd name="connsiteY107" fmla="*/ 148108 h 552760"/>
                    <a:gd name="connsiteX108" fmla="*/ 61308 w 556182"/>
                    <a:gd name="connsiteY108" fmla="*/ 148138 h 552760"/>
                    <a:gd name="connsiteX109" fmla="*/ 486322 w 556182"/>
                    <a:gd name="connsiteY109" fmla="*/ 120014 h 552760"/>
                    <a:gd name="connsiteX110" fmla="*/ 495232 w 556182"/>
                    <a:gd name="connsiteY110" fmla="*/ 147774 h 552760"/>
                    <a:gd name="connsiteX111" fmla="*/ 524269 w 556182"/>
                    <a:gd name="connsiteY111" fmla="*/ 147774 h 552760"/>
                    <a:gd name="connsiteX112" fmla="*/ 500689 w 556182"/>
                    <a:gd name="connsiteY112" fmla="*/ 164686 h 552760"/>
                    <a:gd name="connsiteX113" fmla="*/ 509539 w 556182"/>
                    <a:gd name="connsiteY113" fmla="*/ 192082 h 552760"/>
                    <a:gd name="connsiteX114" fmla="*/ 486322 w 556182"/>
                    <a:gd name="connsiteY114" fmla="*/ 175142 h 552760"/>
                    <a:gd name="connsiteX115" fmla="*/ 463111 w 556182"/>
                    <a:gd name="connsiteY115" fmla="*/ 192082 h 552760"/>
                    <a:gd name="connsiteX116" fmla="*/ 471960 w 556182"/>
                    <a:gd name="connsiteY116" fmla="*/ 164686 h 552760"/>
                    <a:gd name="connsiteX117" fmla="*/ 448381 w 556182"/>
                    <a:gd name="connsiteY117" fmla="*/ 147774 h 552760"/>
                    <a:gd name="connsiteX118" fmla="*/ 477416 w 556182"/>
                    <a:gd name="connsiteY118" fmla="*/ 147805 h 552760"/>
                    <a:gd name="connsiteX119" fmla="*/ 398590 w 556182"/>
                    <a:gd name="connsiteY119" fmla="*/ 32276 h 552760"/>
                    <a:gd name="connsiteX120" fmla="*/ 407468 w 556182"/>
                    <a:gd name="connsiteY120" fmla="*/ 60006 h 552760"/>
                    <a:gd name="connsiteX121" fmla="*/ 436559 w 556182"/>
                    <a:gd name="connsiteY121" fmla="*/ 60006 h 552760"/>
                    <a:gd name="connsiteX122" fmla="*/ 412985 w 556182"/>
                    <a:gd name="connsiteY122" fmla="*/ 76978 h 552760"/>
                    <a:gd name="connsiteX123" fmla="*/ 421802 w 556182"/>
                    <a:gd name="connsiteY123" fmla="*/ 104375 h 552760"/>
                    <a:gd name="connsiteX124" fmla="*/ 398618 w 556182"/>
                    <a:gd name="connsiteY124" fmla="*/ 87404 h 552760"/>
                    <a:gd name="connsiteX125" fmla="*/ 375373 w 556182"/>
                    <a:gd name="connsiteY125" fmla="*/ 104375 h 552760"/>
                    <a:gd name="connsiteX126" fmla="*/ 384195 w 556182"/>
                    <a:gd name="connsiteY126" fmla="*/ 76978 h 552760"/>
                    <a:gd name="connsiteX127" fmla="*/ 360644 w 556182"/>
                    <a:gd name="connsiteY127" fmla="*/ 60006 h 552760"/>
                    <a:gd name="connsiteX128" fmla="*/ 389709 w 556182"/>
                    <a:gd name="connsiteY128" fmla="*/ 60066 h 552760"/>
                    <a:gd name="connsiteX129" fmla="*/ 158091 w 556182"/>
                    <a:gd name="connsiteY129" fmla="*/ 32246 h 552760"/>
                    <a:gd name="connsiteX130" fmla="*/ 166987 w 556182"/>
                    <a:gd name="connsiteY130" fmla="*/ 60007 h 552760"/>
                    <a:gd name="connsiteX131" fmla="*/ 196050 w 556182"/>
                    <a:gd name="connsiteY131" fmla="*/ 60007 h 552760"/>
                    <a:gd name="connsiteX132" fmla="*/ 172487 w 556182"/>
                    <a:gd name="connsiteY132" fmla="*/ 76949 h 552760"/>
                    <a:gd name="connsiteX133" fmla="*/ 181307 w 556182"/>
                    <a:gd name="connsiteY133" fmla="*/ 104345 h 552760"/>
                    <a:gd name="connsiteX134" fmla="*/ 158106 w 556182"/>
                    <a:gd name="connsiteY134" fmla="*/ 87404 h 552760"/>
                    <a:gd name="connsiteX135" fmla="*/ 134892 w 556182"/>
                    <a:gd name="connsiteY135" fmla="*/ 104345 h 552760"/>
                    <a:gd name="connsiteX136" fmla="*/ 143711 w 556182"/>
                    <a:gd name="connsiteY136" fmla="*/ 76949 h 552760"/>
                    <a:gd name="connsiteX137" fmla="*/ 120148 w 556182"/>
                    <a:gd name="connsiteY137" fmla="*/ 60007 h 552760"/>
                    <a:gd name="connsiteX138" fmla="*/ 149196 w 556182"/>
                    <a:gd name="connsiteY138" fmla="*/ 60037 h 552760"/>
                    <a:gd name="connsiteX139" fmla="*/ 278241 w 556182"/>
                    <a:gd name="connsiteY139" fmla="*/ 0 h 552760"/>
                    <a:gd name="connsiteX140" fmla="*/ 287137 w 556182"/>
                    <a:gd name="connsiteY140" fmla="*/ 27730 h 552760"/>
                    <a:gd name="connsiteX141" fmla="*/ 316201 w 556182"/>
                    <a:gd name="connsiteY141" fmla="*/ 27730 h 552760"/>
                    <a:gd name="connsiteX142" fmla="*/ 292623 w 556182"/>
                    <a:gd name="connsiteY142" fmla="*/ 44672 h 552760"/>
                    <a:gd name="connsiteX143" fmla="*/ 301456 w 556182"/>
                    <a:gd name="connsiteY143" fmla="*/ 72068 h 552760"/>
                    <a:gd name="connsiteX144" fmla="*/ 278241 w 556182"/>
                    <a:gd name="connsiteY144" fmla="*/ 55128 h 552760"/>
                    <a:gd name="connsiteX145" fmla="*/ 255027 w 556182"/>
                    <a:gd name="connsiteY145" fmla="*/ 72068 h 552760"/>
                    <a:gd name="connsiteX146" fmla="*/ 263861 w 556182"/>
                    <a:gd name="connsiteY146" fmla="*/ 44672 h 552760"/>
                    <a:gd name="connsiteX147" fmla="*/ 240298 w 556182"/>
                    <a:gd name="connsiteY147" fmla="*/ 27730 h 552760"/>
                    <a:gd name="connsiteX148" fmla="*/ 269347 w 556182"/>
                    <a:gd name="connsiteY148" fmla="*/ 27760 h 55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556182" h="552760">
                      <a:moveTo>
                        <a:pt x="278256" y="480661"/>
                      </a:moveTo>
                      <a:lnTo>
                        <a:pt x="287152" y="508422"/>
                      </a:lnTo>
                      <a:lnTo>
                        <a:pt x="316215" y="508422"/>
                      </a:lnTo>
                      <a:lnTo>
                        <a:pt x="292638" y="525362"/>
                      </a:lnTo>
                      <a:lnTo>
                        <a:pt x="301471" y="552760"/>
                      </a:lnTo>
                      <a:lnTo>
                        <a:pt x="278272" y="535820"/>
                      </a:lnTo>
                      <a:lnTo>
                        <a:pt x="255057" y="552760"/>
                      </a:lnTo>
                      <a:lnTo>
                        <a:pt x="263876" y="525362"/>
                      </a:lnTo>
                      <a:lnTo>
                        <a:pt x="240314" y="508422"/>
                      </a:lnTo>
                      <a:lnTo>
                        <a:pt x="269376" y="508455"/>
                      </a:lnTo>
                      <a:close/>
                      <a:moveTo>
                        <a:pt x="398255" y="448779"/>
                      </a:moveTo>
                      <a:lnTo>
                        <a:pt x="407133" y="476512"/>
                      </a:lnTo>
                      <a:lnTo>
                        <a:pt x="436197" y="476512"/>
                      </a:lnTo>
                      <a:lnTo>
                        <a:pt x="412619" y="493453"/>
                      </a:lnTo>
                      <a:lnTo>
                        <a:pt x="421467" y="520851"/>
                      </a:lnTo>
                      <a:lnTo>
                        <a:pt x="398255" y="503906"/>
                      </a:lnTo>
                      <a:lnTo>
                        <a:pt x="375040" y="520851"/>
                      </a:lnTo>
                      <a:lnTo>
                        <a:pt x="383860" y="493453"/>
                      </a:lnTo>
                      <a:lnTo>
                        <a:pt x="360311" y="476512"/>
                      </a:lnTo>
                      <a:lnTo>
                        <a:pt x="389346" y="476540"/>
                      </a:lnTo>
                      <a:close/>
                      <a:moveTo>
                        <a:pt x="158275" y="448779"/>
                      </a:moveTo>
                      <a:lnTo>
                        <a:pt x="167169" y="476512"/>
                      </a:lnTo>
                      <a:lnTo>
                        <a:pt x="196233" y="476512"/>
                      </a:lnTo>
                      <a:lnTo>
                        <a:pt x="172670" y="493453"/>
                      </a:lnTo>
                      <a:lnTo>
                        <a:pt x="181489" y="520851"/>
                      </a:lnTo>
                      <a:lnTo>
                        <a:pt x="158290" y="503906"/>
                      </a:lnTo>
                      <a:lnTo>
                        <a:pt x="135074" y="520851"/>
                      </a:lnTo>
                      <a:lnTo>
                        <a:pt x="143894" y="493453"/>
                      </a:lnTo>
                      <a:lnTo>
                        <a:pt x="120331" y="476512"/>
                      </a:lnTo>
                      <a:lnTo>
                        <a:pt x="149395" y="476540"/>
                      </a:lnTo>
                      <a:close/>
                      <a:moveTo>
                        <a:pt x="486322" y="360679"/>
                      </a:moveTo>
                      <a:lnTo>
                        <a:pt x="495232" y="388442"/>
                      </a:lnTo>
                      <a:lnTo>
                        <a:pt x="524269" y="388442"/>
                      </a:lnTo>
                      <a:lnTo>
                        <a:pt x="500689" y="405382"/>
                      </a:lnTo>
                      <a:lnTo>
                        <a:pt x="509539" y="432780"/>
                      </a:lnTo>
                      <a:lnTo>
                        <a:pt x="486322" y="415807"/>
                      </a:lnTo>
                      <a:lnTo>
                        <a:pt x="463111" y="432780"/>
                      </a:lnTo>
                      <a:lnTo>
                        <a:pt x="471960" y="405382"/>
                      </a:lnTo>
                      <a:lnTo>
                        <a:pt x="448381" y="388442"/>
                      </a:lnTo>
                      <a:lnTo>
                        <a:pt x="477416" y="388470"/>
                      </a:lnTo>
                      <a:close/>
                      <a:moveTo>
                        <a:pt x="70203" y="360679"/>
                      </a:moveTo>
                      <a:lnTo>
                        <a:pt x="79099" y="388442"/>
                      </a:lnTo>
                      <a:lnTo>
                        <a:pt x="108148" y="388442"/>
                      </a:lnTo>
                      <a:lnTo>
                        <a:pt x="84585" y="405382"/>
                      </a:lnTo>
                      <a:lnTo>
                        <a:pt x="93418" y="432780"/>
                      </a:lnTo>
                      <a:lnTo>
                        <a:pt x="70203" y="415807"/>
                      </a:lnTo>
                      <a:lnTo>
                        <a:pt x="46989" y="432780"/>
                      </a:lnTo>
                      <a:lnTo>
                        <a:pt x="55823" y="405382"/>
                      </a:lnTo>
                      <a:lnTo>
                        <a:pt x="32261" y="388442"/>
                      </a:lnTo>
                      <a:lnTo>
                        <a:pt x="61308" y="388470"/>
                      </a:lnTo>
                      <a:close/>
                      <a:moveTo>
                        <a:pt x="37958" y="240331"/>
                      </a:moveTo>
                      <a:lnTo>
                        <a:pt x="46853" y="268092"/>
                      </a:lnTo>
                      <a:lnTo>
                        <a:pt x="75902" y="268092"/>
                      </a:lnTo>
                      <a:lnTo>
                        <a:pt x="52339" y="285034"/>
                      </a:lnTo>
                      <a:lnTo>
                        <a:pt x="61157" y="312430"/>
                      </a:lnTo>
                      <a:lnTo>
                        <a:pt x="37958" y="295490"/>
                      </a:lnTo>
                      <a:lnTo>
                        <a:pt x="14745" y="312430"/>
                      </a:lnTo>
                      <a:lnTo>
                        <a:pt x="23578" y="285034"/>
                      </a:lnTo>
                      <a:lnTo>
                        <a:pt x="0" y="268092"/>
                      </a:lnTo>
                      <a:lnTo>
                        <a:pt x="29064" y="268153"/>
                      </a:lnTo>
                      <a:close/>
                      <a:moveTo>
                        <a:pt x="518208" y="239998"/>
                      </a:moveTo>
                      <a:lnTo>
                        <a:pt x="527118" y="267759"/>
                      </a:lnTo>
                      <a:lnTo>
                        <a:pt x="556182" y="267759"/>
                      </a:lnTo>
                      <a:lnTo>
                        <a:pt x="532603" y="284700"/>
                      </a:lnTo>
                      <a:lnTo>
                        <a:pt x="541420" y="312097"/>
                      </a:lnTo>
                      <a:lnTo>
                        <a:pt x="518208" y="295126"/>
                      </a:lnTo>
                      <a:lnTo>
                        <a:pt x="495020" y="312097"/>
                      </a:lnTo>
                      <a:lnTo>
                        <a:pt x="503840" y="284700"/>
                      </a:lnTo>
                      <a:lnTo>
                        <a:pt x="480262" y="267759"/>
                      </a:lnTo>
                      <a:lnTo>
                        <a:pt x="509326" y="267789"/>
                      </a:lnTo>
                      <a:close/>
                      <a:moveTo>
                        <a:pt x="281217" y="193167"/>
                      </a:moveTo>
                      <a:lnTo>
                        <a:pt x="312248" y="193167"/>
                      </a:lnTo>
                      <a:lnTo>
                        <a:pt x="312248" y="297644"/>
                      </a:lnTo>
                      <a:cubicBezTo>
                        <a:pt x="312248" y="304416"/>
                        <a:pt x="312806" y="310313"/>
                        <a:pt x="313922" y="315336"/>
                      </a:cubicBezTo>
                      <a:cubicBezTo>
                        <a:pt x="315038" y="320359"/>
                        <a:pt x="317271" y="324470"/>
                        <a:pt x="320619" y="327670"/>
                      </a:cubicBezTo>
                      <a:cubicBezTo>
                        <a:pt x="323968" y="330870"/>
                        <a:pt x="328768" y="332470"/>
                        <a:pt x="335018" y="332470"/>
                      </a:cubicBezTo>
                      <a:cubicBezTo>
                        <a:pt x="340302" y="332470"/>
                        <a:pt x="344581" y="331540"/>
                        <a:pt x="347855" y="329679"/>
                      </a:cubicBezTo>
                      <a:cubicBezTo>
                        <a:pt x="351129" y="327819"/>
                        <a:pt x="353622" y="324470"/>
                        <a:pt x="355333" y="319633"/>
                      </a:cubicBezTo>
                      <a:cubicBezTo>
                        <a:pt x="357045" y="314797"/>
                        <a:pt x="357901" y="307988"/>
                        <a:pt x="357901" y="299207"/>
                      </a:cubicBezTo>
                      <a:lnTo>
                        <a:pt x="357901" y="193167"/>
                      </a:lnTo>
                      <a:lnTo>
                        <a:pt x="388931" y="193167"/>
                      </a:lnTo>
                      <a:lnTo>
                        <a:pt x="388931" y="300881"/>
                      </a:lnTo>
                      <a:cubicBezTo>
                        <a:pt x="388931" y="320973"/>
                        <a:pt x="384615" y="335781"/>
                        <a:pt x="375983" y="345306"/>
                      </a:cubicBezTo>
                      <a:cubicBezTo>
                        <a:pt x="367351" y="354831"/>
                        <a:pt x="354180" y="359594"/>
                        <a:pt x="336469" y="359594"/>
                      </a:cubicBezTo>
                      <a:cubicBezTo>
                        <a:pt x="322777" y="359594"/>
                        <a:pt x="311913" y="357417"/>
                        <a:pt x="303876" y="353064"/>
                      </a:cubicBezTo>
                      <a:cubicBezTo>
                        <a:pt x="295839" y="348711"/>
                        <a:pt x="290054" y="341865"/>
                        <a:pt x="286519" y="332526"/>
                      </a:cubicBezTo>
                      <a:cubicBezTo>
                        <a:pt x="282984" y="323187"/>
                        <a:pt x="281217" y="310704"/>
                        <a:pt x="281217" y="295077"/>
                      </a:cubicBezTo>
                      <a:close/>
                      <a:moveTo>
                        <a:pt x="167252" y="193167"/>
                      </a:moveTo>
                      <a:lnTo>
                        <a:pt x="252977" y="193167"/>
                      </a:lnTo>
                      <a:lnTo>
                        <a:pt x="252977" y="219063"/>
                      </a:lnTo>
                      <a:lnTo>
                        <a:pt x="198282" y="219063"/>
                      </a:lnTo>
                      <a:lnTo>
                        <a:pt x="198282" y="257684"/>
                      </a:lnTo>
                      <a:lnTo>
                        <a:pt x="247842" y="257684"/>
                      </a:lnTo>
                      <a:lnTo>
                        <a:pt x="247842" y="283580"/>
                      </a:lnTo>
                      <a:lnTo>
                        <a:pt x="198282" y="283580"/>
                      </a:lnTo>
                      <a:lnTo>
                        <a:pt x="198282" y="330907"/>
                      </a:lnTo>
                      <a:lnTo>
                        <a:pt x="255879" y="330907"/>
                      </a:lnTo>
                      <a:lnTo>
                        <a:pt x="255879" y="356803"/>
                      </a:lnTo>
                      <a:lnTo>
                        <a:pt x="167252" y="356803"/>
                      </a:lnTo>
                      <a:close/>
                      <a:moveTo>
                        <a:pt x="70203" y="120347"/>
                      </a:moveTo>
                      <a:lnTo>
                        <a:pt x="79099" y="148108"/>
                      </a:lnTo>
                      <a:lnTo>
                        <a:pt x="108148" y="148108"/>
                      </a:lnTo>
                      <a:lnTo>
                        <a:pt x="84585" y="165049"/>
                      </a:lnTo>
                      <a:lnTo>
                        <a:pt x="93418" y="192447"/>
                      </a:lnTo>
                      <a:lnTo>
                        <a:pt x="70203" y="175506"/>
                      </a:lnTo>
                      <a:lnTo>
                        <a:pt x="46989" y="192447"/>
                      </a:lnTo>
                      <a:lnTo>
                        <a:pt x="55823" y="165049"/>
                      </a:lnTo>
                      <a:lnTo>
                        <a:pt x="32261" y="148108"/>
                      </a:lnTo>
                      <a:lnTo>
                        <a:pt x="61308" y="148138"/>
                      </a:lnTo>
                      <a:close/>
                      <a:moveTo>
                        <a:pt x="486322" y="120014"/>
                      </a:moveTo>
                      <a:lnTo>
                        <a:pt x="495232" y="147774"/>
                      </a:lnTo>
                      <a:lnTo>
                        <a:pt x="524269" y="147774"/>
                      </a:lnTo>
                      <a:lnTo>
                        <a:pt x="500689" y="164686"/>
                      </a:lnTo>
                      <a:lnTo>
                        <a:pt x="509539" y="192082"/>
                      </a:lnTo>
                      <a:lnTo>
                        <a:pt x="486322" y="175142"/>
                      </a:lnTo>
                      <a:lnTo>
                        <a:pt x="463111" y="192082"/>
                      </a:lnTo>
                      <a:lnTo>
                        <a:pt x="471960" y="164686"/>
                      </a:lnTo>
                      <a:lnTo>
                        <a:pt x="448381" y="147774"/>
                      </a:lnTo>
                      <a:lnTo>
                        <a:pt x="477416" y="147805"/>
                      </a:lnTo>
                      <a:close/>
                      <a:moveTo>
                        <a:pt x="398590" y="32276"/>
                      </a:moveTo>
                      <a:lnTo>
                        <a:pt x="407468" y="60006"/>
                      </a:lnTo>
                      <a:lnTo>
                        <a:pt x="436559" y="60006"/>
                      </a:lnTo>
                      <a:lnTo>
                        <a:pt x="412985" y="76978"/>
                      </a:lnTo>
                      <a:lnTo>
                        <a:pt x="421802" y="104375"/>
                      </a:lnTo>
                      <a:lnTo>
                        <a:pt x="398618" y="87404"/>
                      </a:lnTo>
                      <a:lnTo>
                        <a:pt x="375373" y="104375"/>
                      </a:lnTo>
                      <a:lnTo>
                        <a:pt x="384195" y="76978"/>
                      </a:lnTo>
                      <a:lnTo>
                        <a:pt x="360644" y="60006"/>
                      </a:lnTo>
                      <a:lnTo>
                        <a:pt x="389709" y="60066"/>
                      </a:lnTo>
                      <a:close/>
                      <a:moveTo>
                        <a:pt x="158091" y="32246"/>
                      </a:moveTo>
                      <a:lnTo>
                        <a:pt x="166987" y="60007"/>
                      </a:lnTo>
                      <a:lnTo>
                        <a:pt x="196050" y="60007"/>
                      </a:lnTo>
                      <a:lnTo>
                        <a:pt x="172487" y="76949"/>
                      </a:lnTo>
                      <a:lnTo>
                        <a:pt x="181307" y="104345"/>
                      </a:lnTo>
                      <a:lnTo>
                        <a:pt x="158106" y="87404"/>
                      </a:lnTo>
                      <a:lnTo>
                        <a:pt x="134892" y="104345"/>
                      </a:lnTo>
                      <a:lnTo>
                        <a:pt x="143711" y="76949"/>
                      </a:lnTo>
                      <a:lnTo>
                        <a:pt x="120148" y="60007"/>
                      </a:lnTo>
                      <a:lnTo>
                        <a:pt x="149196" y="60037"/>
                      </a:lnTo>
                      <a:close/>
                      <a:moveTo>
                        <a:pt x="278241" y="0"/>
                      </a:moveTo>
                      <a:lnTo>
                        <a:pt x="287137" y="27730"/>
                      </a:lnTo>
                      <a:lnTo>
                        <a:pt x="316201" y="27730"/>
                      </a:lnTo>
                      <a:lnTo>
                        <a:pt x="292623" y="44672"/>
                      </a:lnTo>
                      <a:lnTo>
                        <a:pt x="301456" y="72068"/>
                      </a:lnTo>
                      <a:lnTo>
                        <a:pt x="278241" y="55128"/>
                      </a:lnTo>
                      <a:lnTo>
                        <a:pt x="255027" y="72068"/>
                      </a:lnTo>
                      <a:lnTo>
                        <a:pt x="263861" y="44672"/>
                      </a:lnTo>
                      <a:lnTo>
                        <a:pt x="240298" y="27730"/>
                      </a:lnTo>
                      <a:lnTo>
                        <a:pt x="269347" y="277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278" name="TextBox 277">
                <a:extLst>
                  <a:ext uri="{FF2B5EF4-FFF2-40B4-BE49-F238E27FC236}">
                    <a16:creationId xmlns:a16="http://schemas.microsoft.com/office/drawing/2014/main" id="{935DD4D8-7D61-7D11-21BC-F97761BF29F5}"/>
                  </a:ext>
                </a:extLst>
              </p:cNvPr>
              <p:cNvSpPr txBox="1"/>
              <p:nvPr/>
            </p:nvSpPr>
            <p:spPr>
              <a:xfrm>
                <a:off x="546100" y="5588628"/>
                <a:ext cx="1407485"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1600"/>
                  </a:spcAft>
                  <a:buClrTx/>
                  <a:buSzTx/>
                  <a:buFontTx/>
                  <a:buNone/>
                  <a:tabLst/>
                  <a:defRPr/>
                </a:pPr>
                <a:r>
                  <a:rPr kumimoji="0" lang="sv-SE" sz="900" b="0" i="0" u="none" strike="noStrike" kern="1200" cap="none" spc="50" normalizeH="0" baseline="0" noProof="0" dirty="0">
                    <a:ln>
                      <a:noFill/>
                    </a:ln>
                    <a:solidFill>
                      <a:schemeClr val="bg1"/>
                    </a:solidFill>
                    <a:effectLst/>
                    <a:uLnTx/>
                    <a:uFillTx/>
                    <a:latin typeface="Aptos" panose="02110004020202020204"/>
                    <a:ea typeface="+mn-ea"/>
                    <a:cs typeface="+mn-cs"/>
                  </a:rPr>
                  <a:t>MED FINANSIELLT</a:t>
                </a:r>
                <a:br>
                  <a:rPr kumimoji="0" lang="sv-SE" sz="900" b="0" i="0" u="none" strike="noStrike" kern="1200" cap="none" spc="50" normalizeH="0" baseline="0" noProof="0" dirty="0">
                    <a:ln>
                      <a:noFill/>
                    </a:ln>
                    <a:solidFill>
                      <a:schemeClr val="bg1"/>
                    </a:solidFill>
                    <a:effectLst/>
                    <a:uLnTx/>
                    <a:uFillTx/>
                    <a:latin typeface="Aptos" panose="02110004020202020204"/>
                    <a:ea typeface="+mn-ea"/>
                    <a:cs typeface="+mn-cs"/>
                  </a:rPr>
                </a:br>
                <a:r>
                  <a:rPr kumimoji="0" lang="sv-SE" sz="900" b="0" i="0" u="none" strike="noStrike" kern="1200" cap="none" spc="50" normalizeH="0" baseline="0" noProof="0" dirty="0">
                    <a:ln>
                      <a:noFill/>
                    </a:ln>
                    <a:solidFill>
                      <a:schemeClr val="bg1"/>
                    </a:solidFill>
                    <a:effectLst/>
                    <a:uLnTx/>
                    <a:uFillTx/>
                    <a:latin typeface="Aptos" panose="02110004020202020204"/>
                    <a:ea typeface="+mn-ea"/>
                    <a:cs typeface="+mn-cs"/>
                  </a:rPr>
                  <a:t>STÖD FRÅN</a:t>
                </a:r>
              </a:p>
            </p:txBody>
          </p:sp>
        </p:grpSp>
      </p:grpSp>
    </p:spTree>
    <p:extLst>
      <p:ext uri="{BB962C8B-B14F-4D97-AF65-F5344CB8AC3E}">
        <p14:creationId xmlns:p14="http://schemas.microsoft.com/office/powerpoint/2010/main" val="202435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0"/>
                                        </p:tgtEl>
                                        <p:attrNameLst>
                                          <p:attrName>style.visibility</p:attrName>
                                        </p:attrNameLst>
                                      </p:cBhvr>
                                      <p:to>
                                        <p:strVal val="visible"/>
                                      </p:to>
                                    </p:set>
                                    <p:animEffect transition="in" filter="fade">
                                      <p:cBhvr>
                                        <p:cTn id="15" dur="500"/>
                                        <p:tgtEl>
                                          <p:spTgt spid="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9FCEA58E-A5BA-4AD5-11FD-E28201662F6A}"/>
            </a:ext>
          </a:extLst>
        </p:cNvPr>
        <p:cNvGrpSpPr/>
        <p:nvPr/>
      </p:nvGrpSpPr>
      <p:grpSpPr>
        <a:xfrm>
          <a:off x="0" y="0"/>
          <a:ext cx="0" cy="0"/>
          <a:chOff x="0" y="0"/>
          <a:chExt cx="0" cy="0"/>
        </a:xfrm>
      </p:grpSpPr>
      <p:pic>
        <p:nvPicPr>
          <p:cNvPr id="118" name="!!Hybrit_blue" descr="A blue sky with a building&#10;&#10;AI-generated content may be incorrect.">
            <a:extLst>
              <a:ext uri="{FF2B5EF4-FFF2-40B4-BE49-F238E27FC236}">
                <a16:creationId xmlns:a16="http://schemas.microsoft.com/office/drawing/2014/main" id="{F57F8FD7-494E-7B1C-F5CA-2BDFC6A5D774}"/>
              </a:ext>
            </a:extLst>
          </p:cNvPr>
          <p:cNvPicPr>
            <a:picLocks noChangeAspect="1"/>
          </p:cNvPicPr>
          <p:nvPr/>
        </p:nvPicPr>
        <p:blipFill rotWithShape="1">
          <a:blip r:embed="rId3"/>
          <a:srcRect/>
          <a:stretch/>
        </p:blipFill>
        <p:spPr>
          <a:xfrm>
            <a:off x="0" y="0"/>
            <a:ext cx="12192000" cy="6858000"/>
          </a:xfrm>
          <a:prstGeom prst="rect">
            <a:avLst/>
          </a:prstGeom>
        </p:spPr>
      </p:pic>
      <p:grpSp>
        <p:nvGrpSpPr>
          <p:cNvPr id="7" name="!!Hybrit_logo">
            <a:extLst>
              <a:ext uri="{FF2B5EF4-FFF2-40B4-BE49-F238E27FC236}">
                <a16:creationId xmlns:a16="http://schemas.microsoft.com/office/drawing/2014/main" id="{08279EFB-ADDB-B093-943A-987C21B94537}"/>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BF5D6E0F-4387-6E91-BE74-85115B72E26E}"/>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9" name="Freeform 8">
              <a:extLst>
                <a:ext uri="{FF2B5EF4-FFF2-40B4-BE49-F238E27FC236}">
                  <a16:creationId xmlns:a16="http://schemas.microsoft.com/office/drawing/2014/main" id="{CA4B0C83-148C-20F0-F787-D04A8462BB21}"/>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0" name="Freeform 9">
              <a:extLst>
                <a:ext uri="{FF2B5EF4-FFF2-40B4-BE49-F238E27FC236}">
                  <a16:creationId xmlns:a16="http://schemas.microsoft.com/office/drawing/2014/main" id="{59A9F4ED-32EC-DABF-C3B9-40E1212BBF6D}"/>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11" name="Freeform 10">
              <a:extLst>
                <a:ext uri="{FF2B5EF4-FFF2-40B4-BE49-F238E27FC236}">
                  <a16:creationId xmlns:a16="http://schemas.microsoft.com/office/drawing/2014/main" id="{E3609A4A-D12B-9F67-79F5-15A9042049C4}"/>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12" name="Freeform 11">
              <a:extLst>
                <a:ext uri="{FF2B5EF4-FFF2-40B4-BE49-F238E27FC236}">
                  <a16:creationId xmlns:a16="http://schemas.microsoft.com/office/drawing/2014/main" id="{0DDDB6A8-48AD-5CDA-0282-1D664D0D2FA2}"/>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pic>
        <p:nvPicPr>
          <p:cNvPr id="2" name="!!Kol" descr="A pile of black rocks&#10;&#10;Description automatically generated">
            <a:extLst>
              <a:ext uri="{FF2B5EF4-FFF2-40B4-BE49-F238E27FC236}">
                <a16:creationId xmlns:a16="http://schemas.microsoft.com/office/drawing/2014/main" id="{E6F91F62-BD50-8457-0B4C-E6B9728EAF42}"/>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TextBox 4">
            <a:extLst>
              <a:ext uri="{FF2B5EF4-FFF2-40B4-BE49-F238E27FC236}">
                <a16:creationId xmlns:a16="http://schemas.microsoft.com/office/drawing/2014/main" id="{685709E6-01E2-467D-5EDC-FA1DCAC1FDDC}"/>
              </a:ext>
            </a:extLst>
          </p:cNvPr>
          <p:cNvSpPr txBox="1"/>
          <p:nvPr/>
        </p:nvSpPr>
        <p:spPr>
          <a:xfrm>
            <a:off x="0" y="488513"/>
            <a:ext cx="6096000" cy="553998"/>
          </a:xfrm>
          <a:prstGeom prst="rect">
            <a:avLst/>
          </a:prstGeom>
          <a:noFill/>
        </p:spPr>
        <p:txBody>
          <a:bodyPr wrap="square" lIns="0" tIns="0" rIns="0" bIns="0">
            <a:spAutoFit/>
          </a:bodyPr>
          <a:lstStyle/>
          <a:p>
            <a:pPr algn="ctr"/>
            <a:r>
              <a:rPr lang="sv-SE" b="1" dirty="0">
                <a:solidFill>
                  <a:schemeClr val="bg1"/>
                </a:solidFill>
                <a:effectLst/>
                <a:latin typeface="Aptos" panose="020B0004020202020204" pitchFamily="34" charset="0"/>
              </a:rPr>
              <a:t>Traditionell </a:t>
            </a:r>
            <a:r>
              <a:rPr lang="sv-SE" b="1" dirty="0" err="1">
                <a:solidFill>
                  <a:schemeClr val="bg1"/>
                </a:solidFill>
                <a:effectLst/>
                <a:latin typeface="Aptos" panose="020B0004020202020204" pitchFamily="34" charset="0"/>
              </a:rPr>
              <a:t>malmbaserad</a:t>
            </a:r>
            <a:endParaRPr lang="sv-SE" b="1" dirty="0">
              <a:solidFill>
                <a:schemeClr val="bg1"/>
              </a:solidFill>
              <a:effectLst/>
              <a:latin typeface="Aptos" panose="020B0004020202020204" pitchFamily="34" charset="0"/>
            </a:endParaRPr>
          </a:p>
          <a:p>
            <a:pPr algn="ctr"/>
            <a:r>
              <a:rPr lang="sv-SE" b="1" dirty="0">
                <a:solidFill>
                  <a:schemeClr val="bg1"/>
                </a:solidFill>
                <a:effectLst/>
                <a:latin typeface="Aptos" panose="020B0004020202020204" pitchFamily="34" charset="0"/>
              </a:rPr>
              <a:t>ståltillverkning</a:t>
            </a:r>
          </a:p>
        </p:txBody>
      </p:sp>
      <p:sp>
        <p:nvSpPr>
          <p:cNvPr id="6" name="!!TextBox 5">
            <a:extLst>
              <a:ext uri="{FF2B5EF4-FFF2-40B4-BE49-F238E27FC236}">
                <a16:creationId xmlns:a16="http://schemas.microsoft.com/office/drawing/2014/main" id="{2ADDAB4C-4686-4203-E0F1-9B6FE525A9C6}"/>
              </a:ext>
            </a:extLst>
          </p:cNvPr>
          <p:cNvSpPr txBox="1"/>
          <p:nvPr/>
        </p:nvSpPr>
        <p:spPr>
          <a:xfrm>
            <a:off x="6096001" y="488513"/>
            <a:ext cx="6096000" cy="276999"/>
          </a:xfrm>
          <a:prstGeom prst="rect">
            <a:avLst/>
          </a:prstGeom>
          <a:noFill/>
        </p:spPr>
        <p:txBody>
          <a:bodyPr wrap="square" lIns="0" tIns="0" rIns="0" bIns="0">
            <a:spAutoFit/>
          </a:bodyPr>
          <a:lstStyle/>
          <a:p>
            <a:pPr algn="ctr"/>
            <a:r>
              <a:rPr lang="sv-SE" b="1" dirty="0">
                <a:solidFill>
                  <a:schemeClr val="bg1"/>
                </a:solidFill>
                <a:effectLst/>
                <a:latin typeface="Aptos" panose="020B0004020202020204" pitchFamily="34" charset="0"/>
              </a:rPr>
              <a:t>HYBRIT®</a:t>
            </a:r>
          </a:p>
        </p:txBody>
      </p:sp>
      <p:grpSp>
        <p:nvGrpSpPr>
          <p:cNvPr id="14" name="!!Stålproduktion">
            <a:extLst>
              <a:ext uri="{FF2B5EF4-FFF2-40B4-BE49-F238E27FC236}">
                <a16:creationId xmlns:a16="http://schemas.microsoft.com/office/drawing/2014/main" id="{BD955584-9B3F-F935-C57B-65B438A1F3CF}"/>
              </a:ext>
            </a:extLst>
          </p:cNvPr>
          <p:cNvGrpSpPr/>
          <p:nvPr/>
        </p:nvGrpSpPr>
        <p:grpSpPr>
          <a:xfrm>
            <a:off x="928206" y="1216249"/>
            <a:ext cx="10353458" cy="4997900"/>
            <a:chOff x="928206" y="1003183"/>
            <a:chExt cx="10353458" cy="4997900"/>
          </a:xfrm>
        </p:grpSpPr>
        <p:sp>
          <p:nvSpPr>
            <p:cNvPr id="16" name="Freeform 15">
              <a:extLst>
                <a:ext uri="{FF2B5EF4-FFF2-40B4-BE49-F238E27FC236}">
                  <a16:creationId xmlns:a16="http://schemas.microsoft.com/office/drawing/2014/main" id="{A97745ED-5444-9443-5F55-57DA1F5B927F}"/>
                </a:ext>
              </a:extLst>
            </p:cNvPr>
            <p:cNvSpPr/>
            <p:nvPr/>
          </p:nvSpPr>
          <p:spPr>
            <a:xfrm>
              <a:off x="3829459" y="1703619"/>
              <a:ext cx="582864" cy="291462"/>
            </a:xfrm>
            <a:custGeom>
              <a:avLst/>
              <a:gdLst>
                <a:gd name="connsiteX0" fmla="*/ 52133 w 625665"/>
                <a:gd name="connsiteY0" fmla="*/ 0 h 312864"/>
                <a:gd name="connsiteX1" fmla="*/ 0 w 625665"/>
                <a:gd name="connsiteY1" fmla="*/ 52133 h 312864"/>
                <a:gd name="connsiteX2" fmla="*/ 0 w 625665"/>
                <a:gd name="connsiteY2" fmla="*/ 260731 h 312864"/>
                <a:gd name="connsiteX3" fmla="*/ 52133 w 625665"/>
                <a:gd name="connsiteY3" fmla="*/ 312864 h 312864"/>
                <a:gd name="connsiteX4" fmla="*/ 573532 w 625665"/>
                <a:gd name="connsiteY4" fmla="*/ 312864 h 312864"/>
                <a:gd name="connsiteX5" fmla="*/ 625665 w 625665"/>
                <a:gd name="connsiteY5" fmla="*/ 260731 h 312864"/>
                <a:gd name="connsiteX6" fmla="*/ 625665 w 625665"/>
                <a:gd name="connsiteY6" fmla="*/ 52133 h 312864"/>
                <a:gd name="connsiteX7" fmla="*/ 573532 w 625665"/>
                <a:gd name="connsiteY7" fmla="*/ 0 h 312864"/>
                <a:gd name="connsiteX8" fmla="*/ 52133 w 625665"/>
                <a:gd name="connsiteY8" fmla="*/ 0 h 31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665" h="312864">
                  <a:moveTo>
                    <a:pt x="52133" y="0"/>
                  </a:moveTo>
                  <a:lnTo>
                    <a:pt x="0" y="52133"/>
                  </a:lnTo>
                  <a:lnTo>
                    <a:pt x="0" y="260731"/>
                  </a:lnTo>
                  <a:lnTo>
                    <a:pt x="52133" y="312864"/>
                  </a:lnTo>
                  <a:lnTo>
                    <a:pt x="573532" y="312864"/>
                  </a:lnTo>
                  <a:lnTo>
                    <a:pt x="625665" y="260731"/>
                  </a:lnTo>
                  <a:lnTo>
                    <a:pt x="625665" y="52133"/>
                  </a:lnTo>
                  <a:lnTo>
                    <a:pt x="573532" y="0"/>
                  </a:lnTo>
                  <a:lnTo>
                    <a:pt x="52133" y="0"/>
                  </a:lnTo>
                  <a:close/>
                </a:path>
              </a:pathLst>
            </a:custGeom>
            <a:solidFill>
              <a:srgbClr val="FFFFFF"/>
            </a:solidFill>
            <a:ln w="0" cap="flat">
              <a:noFill/>
              <a:prstDash val="solid"/>
              <a:miter/>
            </a:ln>
          </p:spPr>
          <p:txBody>
            <a:bodyPr rtlCol="0" anchor="ctr"/>
            <a:lstStyle/>
            <a:p>
              <a:endParaRPr lang="sv-SE"/>
            </a:p>
          </p:txBody>
        </p:sp>
        <p:sp>
          <p:nvSpPr>
            <p:cNvPr id="17" name="Freeform 16">
              <a:extLst>
                <a:ext uri="{FF2B5EF4-FFF2-40B4-BE49-F238E27FC236}">
                  <a16:creationId xmlns:a16="http://schemas.microsoft.com/office/drawing/2014/main" id="{1C7019B5-CCD7-D882-F70E-12318D49C63D}"/>
                </a:ext>
              </a:extLst>
            </p:cNvPr>
            <p:cNvSpPr/>
            <p:nvPr/>
          </p:nvSpPr>
          <p:spPr>
            <a:xfrm>
              <a:off x="4418653" y="1910074"/>
              <a:ext cx="818898" cy="145701"/>
            </a:xfrm>
            <a:custGeom>
              <a:avLst/>
              <a:gdLst>
                <a:gd name="connsiteX0" fmla="*/ 0 w 879030"/>
                <a:gd name="connsiteY0" fmla="*/ 0 h 156400"/>
                <a:gd name="connsiteX1" fmla="*/ 813879 w 879030"/>
                <a:gd name="connsiteY1" fmla="*/ 0 h 156400"/>
                <a:gd name="connsiteX2" fmla="*/ 879030 w 879030"/>
                <a:gd name="connsiteY2" fmla="*/ 65151 h 156400"/>
                <a:gd name="connsiteX3" fmla="*/ 879030 w 879030"/>
                <a:gd name="connsiteY3" fmla="*/ 156401 h 156400"/>
              </a:gdLst>
              <a:ahLst/>
              <a:cxnLst>
                <a:cxn ang="0">
                  <a:pos x="connsiteX0" y="connsiteY0"/>
                </a:cxn>
                <a:cxn ang="0">
                  <a:pos x="connsiteX1" y="connsiteY1"/>
                </a:cxn>
                <a:cxn ang="0">
                  <a:pos x="connsiteX2" y="connsiteY2"/>
                </a:cxn>
                <a:cxn ang="0">
                  <a:pos x="connsiteX3" y="connsiteY3"/>
                </a:cxn>
              </a:cxnLst>
              <a:rect l="l" t="t" r="r" b="b"/>
              <a:pathLst>
                <a:path w="879030" h="156400">
                  <a:moveTo>
                    <a:pt x="0" y="0"/>
                  </a:moveTo>
                  <a:lnTo>
                    <a:pt x="813879" y="0"/>
                  </a:lnTo>
                  <a:lnTo>
                    <a:pt x="879030" y="65151"/>
                  </a:lnTo>
                  <a:lnTo>
                    <a:pt x="879030" y="156401"/>
                  </a:lnTo>
                </a:path>
              </a:pathLst>
            </a:custGeom>
            <a:noFill/>
            <a:ln w="9525" cap="flat">
              <a:solidFill>
                <a:srgbClr val="FFFFFF"/>
              </a:solidFill>
              <a:prstDash val="solid"/>
              <a:miter/>
            </a:ln>
          </p:spPr>
          <p:txBody>
            <a:bodyPr rtlCol="0" anchor="ctr"/>
            <a:lstStyle/>
            <a:p>
              <a:endParaRPr lang="sv-SE"/>
            </a:p>
          </p:txBody>
        </p:sp>
        <p:sp>
          <p:nvSpPr>
            <p:cNvPr id="18" name="Freeform 17">
              <a:extLst>
                <a:ext uri="{FF2B5EF4-FFF2-40B4-BE49-F238E27FC236}">
                  <a16:creationId xmlns:a16="http://schemas.microsoft.com/office/drawing/2014/main" id="{8375C700-B14B-F3D2-F124-FF9410655550}"/>
                </a:ext>
              </a:extLst>
            </p:cNvPr>
            <p:cNvSpPr/>
            <p:nvPr/>
          </p:nvSpPr>
          <p:spPr>
            <a:xfrm>
              <a:off x="4418594" y="1872332"/>
              <a:ext cx="40639" cy="75483"/>
            </a:xfrm>
            <a:custGeom>
              <a:avLst/>
              <a:gdLst>
                <a:gd name="connsiteX0" fmla="*/ 43624 w 43624"/>
                <a:gd name="connsiteY0" fmla="*/ 81026 h 81026"/>
                <a:gd name="connsiteX1" fmla="*/ 0 w 43624"/>
                <a:gd name="connsiteY1" fmla="*/ 40513 h 81026"/>
                <a:gd name="connsiteX2" fmla="*/ 43624 w 43624"/>
                <a:gd name="connsiteY2" fmla="*/ 0 h 81026"/>
              </a:gdLst>
              <a:ahLst/>
              <a:cxnLst>
                <a:cxn ang="0">
                  <a:pos x="connsiteX0" y="connsiteY0"/>
                </a:cxn>
                <a:cxn ang="0">
                  <a:pos x="connsiteX1" y="connsiteY1"/>
                </a:cxn>
                <a:cxn ang="0">
                  <a:pos x="connsiteX2" y="connsiteY2"/>
                </a:cxn>
              </a:cxnLst>
              <a:rect l="l" t="t" r="r" b="b"/>
              <a:pathLst>
                <a:path w="43624" h="81026">
                  <a:moveTo>
                    <a:pt x="43624" y="81026"/>
                  </a:moveTo>
                  <a:lnTo>
                    <a:pt x="0" y="40513"/>
                  </a:lnTo>
                  <a:lnTo>
                    <a:pt x="43624" y="0"/>
                  </a:lnTo>
                </a:path>
              </a:pathLst>
            </a:custGeom>
            <a:noFill/>
            <a:ln w="9525" cap="flat">
              <a:solidFill>
                <a:srgbClr val="FFFFFF"/>
              </a:solidFill>
              <a:prstDash val="solid"/>
              <a:miter/>
            </a:ln>
          </p:spPr>
          <p:txBody>
            <a:bodyPr rtlCol="0" anchor="ctr"/>
            <a:lstStyle/>
            <a:p>
              <a:endParaRPr lang="sv-SE"/>
            </a:p>
          </p:txBody>
        </p:sp>
        <p:sp>
          <p:nvSpPr>
            <p:cNvPr id="19" name="Freeform 18">
              <a:extLst>
                <a:ext uri="{FF2B5EF4-FFF2-40B4-BE49-F238E27FC236}">
                  <a16:creationId xmlns:a16="http://schemas.microsoft.com/office/drawing/2014/main" id="{BFA680D2-0DEA-B9DA-161A-4B3F1FC185D7}"/>
                </a:ext>
              </a:extLst>
            </p:cNvPr>
            <p:cNvSpPr/>
            <p:nvPr/>
          </p:nvSpPr>
          <p:spPr>
            <a:xfrm>
              <a:off x="6955326" y="1910074"/>
              <a:ext cx="818957" cy="145701"/>
            </a:xfrm>
            <a:custGeom>
              <a:avLst/>
              <a:gdLst>
                <a:gd name="connsiteX0" fmla="*/ 879094 w 879094"/>
                <a:gd name="connsiteY0" fmla="*/ 0 h 156400"/>
                <a:gd name="connsiteX1" fmla="*/ 65151 w 879094"/>
                <a:gd name="connsiteY1" fmla="*/ 0 h 156400"/>
                <a:gd name="connsiteX2" fmla="*/ 0 w 879094"/>
                <a:gd name="connsiteY2" fmla="*/ 65151 h 156400"/>
                <a:gd name="connsiteX3" fmla="*/ 0 w 879094"/>
                <a:gd name="connsiteY3" fmla="*/ 156401 h 156400"/>
              </a:gdLst>
              <a:ahLst/>
              <a:cxnLst>
                <a:cxn ang="0">
                  <a:pos x="connsiteX0" y="connsiteY0"/>
                </a:cxn>
                <a:cxn ang="0">
                  <a:pos x="connsiteX1" y="connsiteY1"/>
                </a:cxn>
                <a:cxn ang="0">
                  <a:pos x="connsiteX2" y="connsiteY2"/>
                </a:cxn>
                <a:cxn ang="0">
                  <a:pos x="connsiteX3" y="connsiteY3"/>
                </a:cxn>
              </a:cxnLst>
              <a:rect l="l" t="t" r="r" b="b"/>
              <a:pathLst>
                <a:path w="879094" h="156400">
                  <a:moveTo>
                    <a:pt x="879094" y="0"/>
                  </a:moveTo>
                  <a:lnTo>
                    <a:pt x="65151" y="0"/>
                  </a:lnTo>
                  <a:lnTo>
                    <a:pt x="0" y="65151"/>
                  </a:lnTo>
                  <a:lnTo>
                    <a:pt x="0" y="156401"/>
                  </a:lnTo>
                </a:path>
              </a:pathLst>
            </a:custGeom>
            <a:noFill/>
            <a:ln w="9525" cap="flat">
              <a:solidFill>
                <a:srgbClr val="FFFFFF"/>
              </a:solidFill>
              <a:prstDash val="solid"/>
              <a:miter/>
            </a:ln>
          </p:spPr>
          <p:txBody>
            <a:bodyPr rtlCol="0" anchor="ctr"/>
            <a:lstStyle/>
            <a:p>
              <a:endParaRPr lang="sv-SE"/>
            </a:p>
          </p:txBody>
        </p:sp>
        <p:sp>
          <p:nvSpPr>
            <p:cNvPr id="20" name="Freeform 19">
              <a:extLst>
                <a:ext uri="{FF2B5EF4-FFF2-40B4-BE49-F238E27FC236}">
                  <a16:creationId xmlns:a16="http://schemas.microsoft.com/office/drawing/2014/main" id="{7D33304E-24D7-231B-EDFB-3E2B80CC4D7D}"/>
                </a:ext>
              </a:extLst>
            </p:cNvPr>
            <p:cNvSpPr/>
            <p:nvPr/>
          </p:nvSpPr>
          <p:spPr>
            <a:xfrm>
              <a:off x="7733642" y="1872332"/>
              <a:ext cx="40639" cy="75483"/>
            </a:xfrm>
            <a:custGeom>
              <a:avLst/>
              <a:gdLst>
                <a:gd name="connsiteX0" fmla="*/ 0 w 43624"/>
                <a:gd name="connsiteY0" fmla="*/ 81026 h 81026"/>
                <a:gd name="connsiteX1" fmla="*/ 43624 w 43624"/>
                <a:gd name="connsiteY1" fmla="*/ 40513 h 81026"/>
                <a:gd name="connsiteX2" fmla="*/ 0 w 43624"/>
                <a:gd name="connsiteY2" fmla="*/ 0 h 81026"/>
              </a:gdLst>
              <a:ahLst/>
              <a:cxnLst>
                <a:cxn ang="0">
                  <a:pos x="connsiteX0" y="connsiteY0"/>
                </a:cxn>
                <a:cxn ang="0">
                  <a:pos x="connsiteX1" y="connsiteY1"/>
                </a:cxn>
                <a:cxn ang="0">
                  <a:pos x="connsiteX2" y="connsiteY2"/>
                </a:cxn>
              </a:cxnLst>
              <a:rect l="l" t="t" r="r" b="b"/>
              <a:pathLst>
                <a:path w="43624" h="81026">
                  <a:moveTo>
                    <a:pt x="0" y="81026"/>
                  </a:moveTo>
                  <a:lnTo>
                    <a:pt x="43624" y="40513"/>
                  </a:lnTo>
                  <a:lnTo>
                    <a:pt x="0" y="0"/>
                  </a:lnTo>
                </a:path>
              </a:pathLst>
            </a:custGeom>
            <a:noFill/>
            <a:ln w="9525" cap="flat">
              <a:solidFill>
                <a:srgbClr val="FFFFFF"/>
              </a:solidFill>
              <a:prstDash val="solid"/>
              <a:miter/>
            </a:ln>
          </p:spPr>
          <p:txBody>
            <a:bodyPr rtlCol="0" anchor="ctr"/>
            <a:lstStyle/>
            <a:p>
              <a:endParaRPr lang="sv-SE"/>
            </a:p>
          </p:txBody>
        </p:sp>
        <p:sp>
          <p:nvSpPr>
            <p:cNvPr id="21" name="Freeform 20">
              <a:extLst>
                <a:ext uri="{FF2B5EF4-FFF2-40B4-BE49-F238E27FC236}">
                  <a16:creationId xmlns:a16="http://schemas.microsoft.com/office/drawing/2014/main" id="{86C6FFE3-A2F3-EA00-A784-C273A132F133}"/>
                </a:ext>
              </a:extLst>
            </p:cNvPr>
            <p:cNvSpPr/>
            <p:nvPr/>
          </p:nvSpPr>
          <p:spPr>
            <a:xfrm>
              <a:off x="4418653" y="1479476"/>
              <a:ext cx="1586683" cy="309149"/>
            </a:xfrm>
            <a:custGeom>
              <a:avLst/>
              <a:gdLst>
                <a:gd name="connsiteX0" fmla="*/ 0 w 1703196"/>
                <a:gd name="connsiteY0" fmla="*/ 331851 h 331851"/>
                <a:gd name="connsiteX1" fmla="*/ 1638046 w 1703196"/>
                <a:gd name="connsiteY1" fmla="*/ 331851 h 331851"/>
                <a:gd name="connsiteX2" fmla="*/ 1703197 w 1703196"/>
                <a:gd name="connsiteY2" fmla="*/ 266700 h 331851"/>
                <a:gd name="connsiteX3" fmla="*/ 1703197 w 1703196"/>
                <a:gd name="connsiteY3" fmla="*/ 0 h 331851"/>
              </a:gdLst>
              <a:ahLst/>
              <a:cxnLst>
                <a:cxn ang="0">
                  <a:pos x="connsiteX0" y="connsiteY0"/>
                </a:cxn>
                <a:cxn ang="0">
                  <a:pos x="connsiteX1" y="connsiteY1"/>
                </a:cxn>
                <a:cxn ang="0">
                  <a:pos x="connsiteX2" y="connsiteY2"/>
                </a:cxn>
                <a:cxn ang="0">
                  <a:pos x="connsiteX3" y="connsiteY3"/>
                </a:cxn>
              </a:cxnLst>
              <a:rect l="l" t="t" r="r" b="b"/>
              <a:pathLst>
                <a:path w="1703196" h="331851">
                  <a:moveTo>
                    <a:pt x="0" y="331851"/>
                  </a:moveTo>
                  <a:lnTo>
                    <a:pt x="1638046" y="331851"/>
                  </a:lnTo>
                  <a:lnTo>
                    <a:pt x="1703197" y="266700"/>
                  </a:lnTo>
                  <a:lnTo>
                    <a:pt x="1703197" y="0"/>
                  </a:lnTo>
                </a:path>
              </a:pathLst>
            </a:custGeom>
            <a:noFill/>
            <a:ln w="9525" cap="flat">
              <a:solidFill>
                <a:srgbClr val="FFFFFF"/>
              </a:solidFill>
              <a:prstDash val="solid"/>
              <a:miter/>
            </a:ln>
          </p:spPr>
          <p:txBody>
            <a:bodyPr rtlCol="0" anchor="ctr"/>
            <a:lstStyle/>
            <a:p>
              <a:endParaRPr lang="sv-SE"/>
            </a:p>
          </p:txBody>
        </p:sp>
        <p:sp>
          <p:nvSpPr>
            <p:cNvPr id="29" name="Freeform 28">
              <a:extLst>
                <a:ext uri="{FF2B5EF4-FFF2-40B4-BE49-F238E27FC236}">
                  <a16:creationId xmlns:a16="http://schemas.microsoft.com/office/drawing/2014/main" id="{CAF6FEDB-A6DE-CCE5-4869-24AA0FE97E1C}"/>
                </a:ext>
              </a:extLst>
            </p:cNvPr>
            <p:cNvSpPr/>
            <p:nvPr/>
          </p:nvSpPr>
          <p:spPr>
            <a:xfrm>
              <a:off x="4418594" y="1750884"/>
              <a:ext cx="40639" cy="75483"/>
            </a:xfrm>
            <a:custGeom>
              <a:avLst/>
              <a:gdLst>
                <a:gd name="connsiteX0" fmla="*/ 43624 w 43624"/>
                <a:gd name="connsiteY0" fmla="*/ 0 h 81026"/>
                <a:gd name="connsiteX1" fmla="*/ 0 w 43624"/>
                <a:gd name="connsiteY1" fmla="*/ 40513 h 81026"/>
                <a:gd name="connsiteX2" fmla="*/ 43624 w 43624"/>
                <a:gd name="connsiteY2" fmla="*/ 81026 h 81026"/>
              </a:gdLst>
              <a:ahLst/>
              <a:cxnLst>
                <a:cxn ang="0">
                  <a:pos x="connsiteX0" y="connsiteY0"/>
                </a:cxn>
                <a:cxn ang="0">
                  <a:pos x="connsiteX1" y="connsiteY1"/>
                </a:cxn>
                <a:cxn ang="0">
                  <a:pos x="connsiteX2" y="connsiteY2"/>
                </a:cxn>
              </a:cxnLst>
              <a:rect l="l" t="t" r="r" b="b"/>
              <a:pathLst>
                <a:path w="43624" h="81026">
                  <a:moveTo>
                    <a:pt x="43624" y="0"/>
                  </a:moveTo>
                  <a:lnTo>
                    <a:pt x="0" y="40513"/>
                  </a:lnTo>
                  <a:lnTo>
                    <a:pt x="43624" y="81026"/>
                  </a:lnTo>
                </a:path>
              </a:pathLst>
            </a:custGeom>
            <a:noFill/>
            <a:ln w="9525" cap="flat">
              <a:solidFill>
                <a:srgbClr val="FFFFFF"/>
              </a:solidFill>
              <a:prstDash val="solid"/>
              <a:miter/>
            </a:ln>
          </p:spPr>
          <p:txBody>
            <a:bodyPr rtlCol="0" anchor="ctr"/>
            <a:lstStyle/>
            <a:p>
              <a:endParaRPr lang="sv-SE"/>
            </a:p>
          </p:txBody>
        </p:sp>
        <p:sp>
          <p:nvSpPr>
            <p:cNvPr id="30" name="Freeform 29">
              <a:extLst>
                <a:ext uri="{FF2B5EF4-FFF2-40B4-BE49-F238E27FC236}">
                  <a16:creationId xmlns:a16="http://schemas.microsoft.com/office/drawing/2014/main" id="{D0A42456-BFA0-6C27-EF0F-C1DBF7CB8797}"/>
                </a:ext>
              </a:extLst>
            </p:cNvPr>
            <p:cNvSpPr/>
            <p:nvPr/>
          </p:nvSpPr>
          <p:spPr>
            <a:xfrm>
              <a:off x="6187539" y="1479476"/>
              <a:ext cx="1586743" cy="309149"/>
            </a:xfrm>
            <a:custGeom>
              <a:avLst/>
              <a:gdLst>
                <a:gd name="connsiteX0" fmla="*/ 1703260 w 1703260"/>
                <a:gd name="connsiteY0" fmla="*/ 331851 h 331851"/>
                <a:gd name="connsiteX1" fmla="*/ 65151 w 1703260"/>
                <a:gd name="connsiteY1" fmla="*/ 331851 h 331851"/>
                <a:gd name="connsiteX2" fmla="*/ 0 w 1703260"/>
                <a:gd name="connsiteY2" fmla="*/ 266700 h 331851"/>
                <a:gd name="connsiteX3" fmla="*/ 0 w 1703260"/>
                <a:gd name="connsiteY3" fmla="*/ 0 h 331851"/>
              </a:gdLst>
              <a:ahLst/>
              <a:cxnLst>
                <a:cxn ang="0">
                  <a:pos x="connsiteX0" y="connsiteY0"/>
                </a:cxn>
                <a:cxn ang="0">
                  <a:pos x="connsiteX1" y="connsiteY1"/>
                </a:cxn>
                <a:cxn ang="0">
                  <a:pos x="connsiteX2" y="connsiteY2"/>
                </a:cxn>
                <a:cxn ang="0">
                  <a:pos x="connsiteX3" y="connsiteY3"/>
                </a:cxn>
              </a:cxnLst>
              <a:rect l="l" t="t" r="r" b="b"/>
              <a:pathLst>
                <a:path w="1703260" h="331851">
                  <a:moveTo>
                    <a:pt x="1703260" y="331851"/>
                  </a:moveTo>
                  <a:lnTo>
                    <a:pt x="65151" y="331851"/>
                  </a:lnTo>
                  <a:lnTo>
                    <a:pt x="0" y="266700"/>
                  </a:lnTo>
                  <a:lnTo>
                    <a:pt x="0" y="0"/>
                  </a:lnTo>
                </a:path>
              </a:pathLst>
            </a:custGeom>
            <a:noFill/>
            <a:ln w="9525" cap="flat">
              <a:solidFill>
                <a:srgbClr val="FFFFFF"/>
              </a:solidFill>
              <a:prstDash val="solid"/>
              <a:miter/>
            </a:ln>
          </p:spPr>
          <p:txBody>
            <a:bodyPr rtlCol="0" anchor="ctr"/>
            <a:lstStyle/>
            <a:p>
              <a:endParaRPr lang="sv-SE"/>
            </a:p>
          </p:txBody>
        </p:sp>
        <p:sp>
          <p:nvSpPr>
            <p:cNvPr id="31" name="Freeform 30">
              <a:extLst>
                <a:ext uri="{FF2B5EF4-FFF2-40B4-BE49-F238E27FC236}">
                  <a16:creationId xmlns:a16="http://schemas.microsoft.com/office/drawing/2014/main" id="{D0ADD1B5-2DB5-9851-7BB0-5EDB13A70B34}"/>
                </a:ext>
              </a:extLst>
            </p:cNvPr>
            <p:cNvSpPr/>
            <p:nvPr/>
          </p:nvSpPr>
          <p:spPr>
            <a:xfrm>
              <a:off x="7733642" y="1750884"/>
              <a:ext cx="40639" cy="75483"/>
            </a:xfrm>
            <a:custGeom>
              <a:avLst/>
              <a:gdLst>
                <a:gd name="connsiteX0" fmla="*/ 0 w 43624"/>
                <a:gd name="connsiteY0" fmla="*/ 0 h 81026"/>
                <a:gd name="connsiteX1" fmla="*/ 43624 w 43624"/>
                <a:gd name="connsiteY1" fmla="*/ 40513 h 81026"/>
                <a:gd name="connsiteX2" fmla="*/ 0 w 43624"/>
                <a:gd name="connsiteY2" fmla="*/ 81026 h 81026"/>
              </a:gdLst>
              <a:ahLst/>
              <a:cxnLst>
                <a:cxn ang="0">
                  <a:pos x="connsiteX0" y="connsiteY0"/>
                </a:cxn>
                <a:cxn ang="0">
                  <a:pos x="connsiteX1" y="connsiteY1"/>
                </a:cxn>
                <a:cxn ang="0">
                  <a:pos x="connsiteX2" y="connsiteY2"/>
                </a:cxn>
              </a:cxnLst>
              <a:rect l="l" t="t" r="r" b="b"/>
              <a:pathLst>
                <a:path w="43624" h="81026">
                  <a:moveTo>
                    <a:pt x="0" y="0"/>
                  </a:moveTo>
                  <a:lnTo>
                    <a:pt x="43624" y="40513"/>
                  </a:lnTo>
                  <a:lnTo>
                    <a:pt x="0" y="81026"/>
                  </a:lnTo>
                </a:path>
              </a:pathLst>
            </a:custGeom>
            <a:noFill/>
            <a:ln w="9525" cap="flat">
              <a:solidFill>
                <a:srgbClr val="FFFFFF"/>
              </a:solidFill>
              <a:prstDash val="solid"/>
              <a:miter/>
            </a:ln>
          </p:spPr>
          <p:txBody>
            <a:bodyPr rtlCol="0" anchor="ctr"/>
            <a:lstStyle/>
            <a:p>
              <a:endParaRPr lang="sv-SE"/>
            </a:p>
          </p:txBody>
        </p:sp>
        <p:sp>
          <p:nvSpPr>
            <p:cNvPr id="35" name="Freeform 34">
              <a:extLst>
                <a:ext uri="{FF2B5EF4-FFF2-40B4-BE49-F238E27FC236}">
                  <a16:creationId xmlns:a16="http://schemas.microsoft.com/office/drawing/2014/main" id="{B1DA9BA8-B396-C256-4F70-256CFF8AF546}"/>
                </a:ext>
              </a:extLst>
            </p:cNvPr>
            <p:cNvSpPr/>
            <p:nvPr/>
          </p:nvSpPr>
          <p:spPr>
            <a:xfrm>
              <a:off x="3513743" y="1552061"/>
              <a:ext cx="315715" cy="236565"/>
            </a:xfrm>
            <a:custGeom>
              <a:avLst/>
              <a:gdLst>
                <a:gd name="connsiteX0" fmla="*/ 0 w 338899"/>
                <a:gd name="connsiteY0" fmla="*/ 0 h 253936"/>
                <a:gd name="connsiteX1" fmla="*/ 0 w 338899"/>
                <a:gd name="connsiteY1" fmla="*/ 188785 h 253936"/>
                <a:gd name="connsiteX2" fmla="*/ 65151 w 338899"/>
                <a:gd name="connsiteY2" fmla="*/ 253937 h 253936"/>
                <a:gd name="connsiteX3" fmla="*/ 338900 w 338899"/>
                <a:gd name="connsiteY3" fmla="*/ 253937 h 253936"/>
              </a:gdLst>
              <a:ahLst/>
              <a:cxnLst>
                <a:cxn ang="0">
                  <a:pos x="connsiteX0" y="connsiteY0"/>
                </a:cxn>
                <a:cxn ang="0">
                  <a:pos x="connsiteX1" y="connsiteY1"/>
                </a:cxn>
                <a:cxn ang="0">
                  <a:pos x="connsiteX2" y="connsiteY2"/>
                </a:cxn>
                <a:cxn ang="0">
                  <a:pos x="connsiteX3" y="connsiteY3"/>
                </a:cxn>
              </a:cxnLst>
              <a:rect l="l" t="t" r="r" b="b"/>
              <a:pathLst>
                <a:path w="338899" h="253936">
                  <a:moveTo>
                    <a:pt x="0" y="0"/>
                  </a:moveTo>
                  <a:lnTo>
                    <a:pt x="0" y="188785"/>
                  </a:lnTo>
                  <a:lnTo>
                    <a:pt x="65151" y="253937"/>
                  </a:lnTo>
                  <a:lnTo>
                    <a:pt x="338900" y="253937"/>
                  </a:lnTo>
                </a:path>
              </a:pathLst>
            </a:custGeom>
            <a:noFill/>
            <a:ln w="9525" cap="flat">
              <a:solidFill>
                <a:srgbClr val="FFFFFF"/>
              </a:solidFill>
              <a:prstDash val="solid"/>
              <a:miter/>
            </a:ln>
          </p:spPr>
          <p:txBody>
            <a:bodyPr rtlCol="0" anchor="ctr"/>
            <a:lstStyle/>
            <a:p>
              <a:endParaRPr lang="sv-SE"/>
            </a:p>
          </p:txBody>
        </p:sp>
        <p:sp>
          <p:nvSpPr>
            <p:cNvPr id="36" name="Freeform 35">
              <a:extLst>
                <a:ext uri="{FF2B5EF4-FFF2-40B4-BE49-F238E27FC236}">
                  <a16:creationId xmlns:a16="http://schemas.microsoft.com/office/drawing/2014/main" id="{C6A14EED-B968-5B48-1395-FDD9720FE873}"/>
                </a:ext>
              </a:extLst>
            </p:cNvPr>
            <p:cNvSpPr/>
            <p:nvPr/>
          </p:nvSpPr>
          <p:spPr>
            <a:xfrm>
              <a:off x="3476001" y="1552061"/>
              <a:ext cx="75482" cy="40581"/>
            </a:xfrm>
            <a:custGeom>
              <a:avLst/>
              <a:gdLst>
                <a:gd name="connsiteX0" fmla="*/ 81026 w 81025"/>
                <a:gd name="connsiteY0" fmla="*/ 43561 h 43561"/>
                <a:gd name="connsiteX1" fmla="*/ 40513 w 81025"/>
                <a:gd name="connsiteY1" fmla="*/ 0 h 43561"/>
                <a:gd name="connsiteX2" fmla="*/ 0 w 81025"/>
                <a:gd name="connsiteY2" fmla="*/ 43561 h 43561"/>
              </a:gdLst>
              <a:ahLst/>
              <a:cxnLst>
                <a:cxn ang="0">
                  <a:pos x="connsiteX0" y="connsiteY0"/>
                </a:cxn>
                <a:cxn ang="0">
                  <a:pos x="connsiteX1" y="connsiteY1"/>
                </a:cxn>
                <a:cxn ang="0">
                  <a:pos x="connsiteX2" y="connsiteY2"/>
                </a:cxn>
              </a:cxnLst>
              <a:rect l="l" t="t" r="r" b="b"/>
              <a:pathLst>
                <a:path w="81025" h="43561">
                  <a:moveTo>
                    <a:pt x="81026" y="43561"/>
                  </a:moveTo>
                  <a:lnTo>
                    <a:pt x="40513" y="0"/>
                  </a:lnTo>
                  <a:lnTo>
                    <a:pt x="0" y="43561"/>
                  </a:lnTo>
                </a:path>
              </a:pathLst>
            </a:custGeom>
            <a:noFill/>
            <a:ln w="9525" cap="flat">
              <a:solidFill>
                <a:srgbClr val="FFFFFF"/>
              </a:solidFill>
              <a:prstDash val="solid"/>
              <a:miter/>
            </a:ln>
          </p:spPr>
          <p:txBody>
            <a:bodyPr rtlCol="0" anchor="ctr"/>
            <a:lstStyle/>
            <a:p>
              <a:endParaRPr lang="sv-SE"/>
            </a:p>
          </p:txBody>
        </p:sp>
        <p:sp>
          <p:nvSpPr>
            <p:cNvPr id="37" name="Freeform 36">
              <a:extLst>
                <a:ext uri="{FF2B5EF4-FFF2-40B4-BE49-F238E27FC236}">
                  <a16:creationId xmlns:a16="http://schemas.microsoft.com/office/drawing/2014/main" id="{8CE1B53D-143B-C2DF-DA1C-0FBDDDD0A095}"/>
                </a:ext>
              </a:extLst>
            </p:cNvPr>
            <p:cNvSpPr/>
            <p:nvPr/>
          </p:nvSpPr>
          <p:spPr>
            <a:xfrm>
              <a:off x="3513743" y="4619420"/>
              <a:ext cx="276909" cy="236565"/>
            </a:xfrm>
            <a:custGeom>
              <a:avLst/>
              <a:gdLst>
                <a:gd name="connsiteX0" fmla="*/ 0 w 297243"/>
                <a:gd name="connsiteY0" fmla="*/ 0 h 253936"/>
                <a:gd name="connsiteX1" fmla="*/ 0 w 297243"/>
                <a:gd name="connsiteY1" fmla="*/ 188722 h 253936"/>
                <a:gd name="connsiteX2" fmla="*/ 65151 w 297243"/>
                <a:gd name="connsiteY2" fmla="*/ 253937 h 253936"/>
                <a:gd name="connsiteX3" fmla="*/ 297244 w 297243"/>
                <a:gd name="connsiteY3" fmla="*/ 253937 h 253936"/>
              </a:gdLst>
              <a:ahLst/>
              <a:cxnLst>
                <a:cxn ang="0">
                  <a:pos x="connsiteX0" y="connsiteY0"/>
                </a:cxn>
                <a:cxn ang="0">
                  <a:pos x="connsiteX1" y="connsiteY1"/>
                </a:cxn>
                <a:cxn ang="0">
                  <a:pos x="connsiteX2" y="connsiteY2"/>
                </a:cxn>
                <a:cxn ang="0">
                  <a:pos x="connsiteX3" y="connsiteY3"/>
                </a:cxn>
              </a:cxnLst>
              <a:rect l="l" t="t" r="r" b="b"/>
              <a:pathLst>
                <a:path w="297243" h="253936">
                  <a:moveTo>
                    <a:pt x="0" y="0"/>
                  </a:moveTo>
                  <a:lnTo>
                    <a:pt x="0" y="188722"/>
                  </a:lnTo>
                  <a:lnTo>
                    <a:pt x="65151" y="253937"/>
                  </a:lnTo>
                  <a:lnTo>
                    <a:pt x="297244" y="253937"/>
                  </a:lnTo>
                </a:path>
              </a:pathLst>
            </a:custGeom>
            <a:noFill/>
            <a:ln w="9525" cap="flat">
              <a:solidFill>
                <a:srgbClr val="FFFFFF"/>
              </a:solidFill>
              <a:prstDash val="solid"/>
              <a:miter/>
            </a:ln>
          </p:spPr>
          <p:txBody>
            <a:bodyPr rtlCol="0" anchor="ctr"/>
            <a:lstStyle/>
            <a:p>
              <a:endParaRPr lang="sv-SE"/>
            </a:p>
          </p:txBody>
        </p:sp>
        <p:sp>
          <p:nvSpPr>
            <p:cNvPr id="44" name="Freeform 43">
              <a:extLst>
                <a:ext uri="{FF2B5EF4-FFF2-40B4-BE49-F238E27FC236}">
                  <a16:creationId xmlns:a16="http://schemas.microsoft.com/office/drawing/2014/main" id="{216E7FA8-047C-CB27-1CFC-458BF83AE785}"/>
                </a:ext>
              </a:extLst>
            </p:cNvPr>
            <p:cNvSpPr/>
            <p:nvPr/>
          </p:nvSpPr>
          <p:spPr>
            <a:xfrm>
              <a:off x="3476001" y="4619420"/>
              <a:ext cx="75482" cy="40581"/>
            </a:xfrm>
            <a:custGeom>
              <a:avLst/>
              <a:gdLst>
                <a:gd name="connsiteX0" fmla="*/ 81026 w 81025"/>
                <a:gd name="connsiteY0" fmla="*/ 43561 h 43561"/>
                <a:gd name="connsiteX1" fmla="*/ 40513 w 81025"/>
                <a:gd name="connsiteY1" fmla="*/ 0 h 43561"/>
                <a:gd name="connsiteX2" fmla="*/ 0 w 81025"/>
                <a:gd name="connsiteY2" fmla="*/ 43561 h 43561"/>
              </a:gdLst>
              <a:ahLst/>
              <a:cxnLst>
                <a:cxn ang="0">
                  <a:pos x="connsiteX0" y="connsiteY0"/>
                </a:cxn>
                <a:cxn ang="0">
                  <a:pos x="connsiteX1" y="connsiteY1"/>
                </a:cxn>
                <a:cxn ang="0">
                  <a:pos x="connsiteX2" y="connsiteY2"/>
                </a:cxn>
              </a:cxnLst>
              <a:rect l="l" t="t" r="r" b="b"/>
              <a:pathLst>
                <a:path w="81025" h="43561">
                  <a:moveTo>
                    <a:pt x="81026" y="43561"/>
                  </a:moveTo>
                  <a:lnTo>
                    <a:pt x="40513" y="0"/>
                  </a:lnTo>
                  <a:lnTo>
                    <a:pt x="0" y="43561"/>
                  </a:lnTo>
                </a:path>
              </a:pathLst>
            </a:custGeom>
            <a:noFill/>
            <a:ln w="9525" cap="flat">
              <a:solidFill>
                <a:srgbClr val="FFFFFF"/>
              </a:solidFill>
              <a:prstDash val="solid"/>
              <a:miter/>
            </a:ln>
          </p:spPr>
          <p:txBody>
            <a:bodyPr rtlCol="0" anchor="ctr"/>
            <a:lstStyle/>
            <a:p>
              <a:endParaRPr lang="sv-SE"/>
            </a:p>
          </p:txBody>
        </p:sp>
        <p:sp>
          <p:nvSpPr>
            <p:cNvPr id="45" name="Freeform 44">
              <a:extLst>
                <a:ext uri="{FF2B5EF4-FFF2-40B4-BE49-F238E27FC236}">
                  <a16:creationId xmlns:a16="http://schemas.microsoft.com/office/drawing/2014/main" id="{714FF36B-8969-4AEB-007E-83033F65B0D7}"/>
                </a:ext>
              </a:extLst>
            </p:cNvPr>
            <p:cNvSpPr/>
            <p:nvPr/>
          </p:nvSpPr>
          <p:spPr>
            <a:xfrm>
              <a:off x="3513743" y="4916680"/>
              <a:ext cx="607178" cy="500106"/>
            </a:xfrm>
            <a:custGeom>
              <a:avLst/>
              <a:gdLst>
                <a:gd name="connsiteX0" fmla="*/ 427609 w 651764"/>
                <a:gd name="connsiteY0" fmla="*/ 0 h 536829"/>
                <a:gd name="connsiteX1" fmla="*/ 65215 w 651764"/>
                <a:gd name="connsiteY1" fmla="*/ 0 h 536829"/>
                <a:gd name="connsiteX2" fmla="*/ 0 w 651764"/>
                <a:gd name="connsiteY2" fmla="*/ 65215 h 536829"/>
                <a:gd name="connsiteX3" fmla="*/ 0 w 651764"/>
                <a:gd name="connsiteY3" fmla="*/ 256794 h 536829"/>
                <a:gd name="connsiteX4" fmla="*/ 65215 w 651764"/>
                <a:gd name="connsiteY4" fmla="*/ 321945 h 536829"/>
                <a:gd name="connsiteX5" fmla="*/ 586550 w 651764"/>
                <a:gd name="connsiteY5" fmla="*/ 321945 h 536829"/>
                <a:gd name="connsiteX6" fmla="*/ 651764 w 651764"/>
                <a:gd name="connsiteY6" fmla="*/ 387160 h 536829"/>
                <a:gd name="connsiteX7" fmla="*/ 651764 w 651764"/>
                <a:gd name="connsiteY7" fmla="*/ 536829 h 53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764" h="536829">
                  <a:moveTo>
                    <a:pt x="427609" y="0"/>
                  </a:moveTo>
                  <a:lnTo>
                    <a:pt x="65215" y="0"/>
                  </a:lnTo>
                  <a:lnTo>
                    <a:pt x="0" y="65215"/>
                  </a:lnTo>
                  <a:lnTo>
                    <a:pt x="0" y="256794"/>
                  </a:lnTo>
                  <a:lnTo>
                    <a:pt x="65215" y="321945"/>
                  </a:lnTo>
                  <a:lnTo>
                    <a:pt x="586550" y="321945"/>
                  </a:lnTo>
                  <a:lnTo>
                    <a:pt x="651764" y="387160"/>
                  </a:lnTo>
                  <a:lnTo>
                    <a:pt x="651764" y="536829"/>
                  </a:lnTo>
                </a:path>
              </a:pathLst>
            </a:custGeom>
            <a:noFill/>
            <a:ln w="9525" cap="flat">
              <a:solidFill>
                <a:srgbClr val="FFFFFF"/>
              </a:solidFill>
              <a:prstDash val="solid"/>
              <a:miter/>
            </a:ln>
          </p:spPr>
          <p:txBody>
            <a:bodyPr rtlCol="0" anchor="ctr"/>
            <a:lstStyle/>
            <a:p>
              <a:endParaRPr lang="sv-SE"/>
            </a:p>
          </p:txBody>
        </p:sp>
        <p:sp>
          <p:nvSpPr>
            <p:cNvPr id="46" name="Freeform 45">
              <a:extLst>
                <a:ext uri="{FF2B5EF4-FFF2-40B4-BE49-F238E27FC236}">
                  <a16:creationId xmlns:a16="http://schemas.microsoft.com/office/drawing/2014/main" id="{DD1D6260-DF74-48C9-6282-32BF09F2E234}"/>
                </a:ext>
              </a:extLst>
            </p:cNvPr>
            <p:cNvSpPr/>
            <p:nvPr/>
          </p:nvSpPr>
          <p:spPr>
            <a:xfrm>
              <a:off x="4083179" y="5376204"/>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a:p>
          </p:txBody>
        </p:sp>
        <p:sp>
          <p:nvSpPr>
            <p:cNvPr id="47" name="Freeform 46">
              <a:extLst>
                <a:ext uri="{FF2B5EF4-FFF2-40B4-BE49-F238E27FC236}">
                  <a16:creationId xmlns:a16="http://schemas.microsoft.com/office/drawing/2014/main" id="{95ACCF60-404B-A518-34FE-660507A608C8}"/>
                </a:ext>
              </a:extLst>
            </p:cNvPr>
            <p:cNvSpPr/>
            <p:nvPr/>
          </p:nvSpPr>
          <p:spPr>
            <a:xfrm>
              <a:off x="3874366" y="2715188"/>
              <a:ext cx="489390" cy="1153543"/>
            </a:xfrm>
            <a:custGeom>
              <a:avLst/>
              <a:gdLst>
                <a:gd name="connsiteX0" fmla="*/ 3929 w 525327"/>
                <a:gd name="connsiteY0" fmla="*/ 456184 h 1238250"/>
                <a:gd name="connsiteX1" fmla="*/ 525327 w 525327"/>
                <a:gd name="connsiteY1" fmla="*/ 456184 h 1238250"/>
                <a:gd name="connsiteX2" fmla="*/ 525327 w 525327"/>
                <a:gd name="connsiteY2" fmla="*/ 977582 h 1238250"/>
                <a:gd name="connsiteX3" fmla="*/ 394963 w 525327"/>
                <a:gd name="connsiteY3" fmla="*/ 1107946 h 1238250"/>
                <a:gd name="connsiteX4" fmla="*/ 394963 w 525327"/>
                <a:gd name="connsiteY4" fmla="*/ 1238250 h 1238250"/>
                <a:gd name="connsiteX5" fmla="*/ 134295 w 525327"/>
                <a:gd name="connsiteY5" fmla="*/ 1238250 h 1238250"/>
                <a:gd name="connsiteX6" fmla="*/ 134295 w 525327"/>
                <a:gd name="connsiteY6" fmla="*/ 1107947 h 1238250"/>
                <a:gd name="connsiteX7" fmla="*/ 92135 w 525327"/>
                <a:gd name="connsiteY7" fmla="*/ 1065788 h 1238250"/>
                <a:gd name="connsiteX8" fmla="*/ 69071 w 525327"/>
                <a:gd name="connsiteY8" fmla="*/ 1088851 h 1238250"/>
                <a:gd name="connsiteX9" fmla="*/ 23003 w 525327"/>
                <a:gd name="connsiteY9" fmla="*/ 1042783 h 1238250"/>
                <a:gd name="connsiteX10" fmla="*/ 46067 w 525327"/>
                <a:gd name="connsiteY10" fmla="*/ 1019719 h 1238250"/>
                <a:gd name="connsiteX11" fmla="*/ 3929 w 525327"/>
                <a:gd name="connsiteY11" fmla="*/ 977582 h 1238250"/>
                <a:gd name="connsiteX12" fmla="*/ 134295 w 525327"/>
                <a:gd name="connsiteY12" fmla="*/ 0 h 1238250"/>
                <a:gd name="connsiteX13" fmla="*/ 394962 w 525327"/>
                <a:gd name="connsiteY13" fmla="*/ 0 h 1238250"/>
                <a:gd name="connsiteX14" fmla="*/ 297172 w 525327"/>
                <a:gd name="connsiteY14" fmla="*/ 146732 h 1238250"/>
                <a:gd name="connsiteX15" fmla="*/ 297172 w 525327"/>
                <a:gd name="connsiteY15" fmla="*/ 228028 h 1238250"/>
                <a:gd name="connsiteX16" fmla="*/ 525327 w 525327"/>
                <a:gd name="connsiteY16" fmla="*/ 456183 h 1238250"/>
                <a:gd name="connsiteX17" fmla="*/ 3929 w 525327"/>
                <a:gd name="connsiteY17" fmla="*/ 456183 h 1238250"/>
                <a:gd name="connsiteX18" fmla="*/ 111262 w 525327"/>
                <a:gd name="connsiteY18" fmla="*/ 348877 h 1238250"/>
                <a:gd name="connsiteX19" fmla="*/ 0 w 525327"/>
                <a:gd name="connsiteY19" fmla="*/ 237615 h 1238250"/>
                <a:gd name="connsiteX20" fmla="*/ 46068 w 525327"/>
                <a:gd name="connsiteY20" fmla="*/ 191546 h 1238250"/>
                <a:gd name="connsiteX21" fmla="*/ 157336 w 525327"/>
                <a:gd name="connsiteY21" fmla="*/ 302814 h 1238250"/>
                <a:gd name="connsiteX22" fmla="*/ 232021 w 525327"/>
                <a:gd name="connsiteY22" fmla="*/ 228147 h 1238250"/>
                <a:gd name="connsiteX23" fmla="*/ 232021 w 525327"/>
                <a:gd name="connsiteY23" fmla="*/ 146566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5327" h="1238250">
                  <a:moveTo>
                    <a:pt x="3929" y="456184"/>
                  </a:moveTo>
                  <a:lnTo>
                    <a:pt x="525327" y="456184"/>
                  </a:lnTo>
                  <a:lnTo>
                    <a:pt x="525327" y="977582"/>
                  </a:lnTo>
                  <a:lnTo>
                    <a:pt x="394963" y="1107946"/>
                  </a:lnTo>
                  <a:lnTo>
                    <a:pt x="394963" y="1238250"/>
                  </a:lnTo>
                  <a:lnTo>
                    <a:pt x="134295" y="1238250"/>
                  </a:lnTo>
                  <a:lnTo>
                    <a:pt x="134295" y="1107947"/>
                  </a:lnTo>
                  <a:lnTo>
                    <a:pt x="92135" y="1065788"/>
                  </a:lnTo>
                  <a:lnTo>
                    <a:pt x="69071" y="1088851"/>
                  </a:lnTo>
                  <a:lnTo>
                    <a:pt x="23003" y="1042783"/>
                  </a:lnTo>
                  <a:lnTo>
                    <a:pt x="46067" y="1019719"/>
                  </a:lnTo>
                  <a:lnTo>
                    <a:pt x="3929" y="977582"/>
                  </a:lnTo>
                  <a:close/>
                  <a:moveTo>
                    <a:pt x="134295" y="0"/>
                  </a:moveTo>
                  <a:lnTo>
                    <a:pt x="394962" y="0"/>
                  </a:lnTo>
                  <a:lnTo>
                    <a:pt x="297172" y="146732"/>
                  </a:lnTo>
                  <a:lnTo>
                    <a:pt x="297172" y="228028"/>
                  </a:lnTo>
                  <a:lnTo>
                    <a:pt x="525327" y="456183"/>
                  </a:lnTo>
                  <a:lnTo>
                    <a:pt x="3929" y="456183"/>
                  </a:lnTo>
                  <a:lnTo>
                    <a:pt x="111262" y="348877"/>
                  </a:lnTo>
                  <a:lnTo>
                    <a:pt x="0" y="237615"/>
                  </a:lnTo>
                  <a:lnTo>
                    <a:pt x="46068" y="191546"/>
                  </a:lnTo>
                  <a:lnTo>
                    <a:pt x="157336" y="302814"/>
                  </a:lnTo>
                  <a:lnTo>
                    <a:pt x="232021" y="228147"/>
                  </a:lnTo>
                  <a:lnTo>
                    <a:pt x="232021" y="146566"/>
                  </a:lnTo>
                  <a:close/>
                </a:path>
              </a:pathLst>
            </a:custGeom>
            <a:solidFill>
              <a:srgbClr val="FFFFFF"/>
            </a:solidFill>
            <a:ln w="0" cap="flat">
              <a:noFill/>
              <a:prstDash val="solid"/>
              <a:miter/>
            </a:ln>
          </p:spPr>
          <p:txBody>
            <a:bodyPr rtlCol="0" anchor="ctr"/>
            <a:lstStyle/>
            <a:p>
              <a:endParaRPr lang="sv-SE"/>
            </a:p>
          </p:txBody>
        </p:sp>
        <p:sp>
          <p:nvSpPr>
            <p:cNvPr id="48" name="Freeform 47">
              <a:extLst>
                <a:ext uri="{FF2B5EF4-FFF2-40B4-BE49-F238E27FC236}">
                  <a16:creationId xmlns:a16="http://schemas.microsoft.com/office/drawing/2014/main" id="{E878F9F1-540D-B12E-BF4D-4EBB19D4C3B1}"/>
                </a:ext>
              </a:extLst>
            </p:cNvPr>
            <p:cNvSpPr/>
            <p:nvPr/>
          </p:nvSpPr>
          <p:spPr>
            <a:xfrm>
              <a:off x="3790653" y="4491702"/>
              <a:ext cx="603450" cy="576773"/>
            </a:xfrm>
            <a:custGeom>
              <a:avLst/>
              <a:gdLst>
                <a:gd name="connsiteX0" fmla="*/ 289306 w 647763"/>
                <a:gd name="connsiteY0" fmla="*/ 0 h 619126"/>
                <a:gd name="connsiteX1" fmla="*/ 419672 w 647763"/>
                <a:gd name="connsiteY1" fmla="*/ 0 h 619126"/>
                <a:gd name="connsiteX2" fmla="*/ 419672 w 647763"/>
                <a:gd name="connsiteY2" fmla="*/ 65151 h 619126"/>
                <a:gd name="connsiteX3" fmla="*/ 484822 w 647763"/>
                <a:gd name="connsiteY3" fmla="*/ 65151 h 619126"/>
                <a:gd name="connsiteX4" fmla="*/ 484823 w 647763"/>
                <a:gd name="connsiteY4" fmla="*/ 65151 h 619126"/>
                <a:gd name="connsiteX5" fmla="*/ 484823 w 647763"/>
                <a:gd name="connsiteY5" fmla="*/ 65152 h 619126"/>
                <a:gd name="connsiteX6" fmla="*/ 615187 w 647763"/>
                <a:gd name="connsiteY6" fmla="*/ 195516 h 619126"/>
                <a:gd name="connsiteX7" fmla="*/ 484823 w 647763"/>
                <a:gd name="connsiteY7" fmla="*/ 195516 h 619126"/>
                <a:gd name="connsiteX8" fmla="*/ 484823 w 647763"/>
                <a:gd name="connsiteY8" fmla="*/ 195517 h 619126"/>
                <a:gd name="connsiteX9" fmla="*/ 615187 w 647763"/>
                <a:gd name="connsiteY9" fmla="*/ 195517 h 619126"/>
                <a:gd name="connsiteX10" fmla="*/ 615187 w 647763"/>
                <a:gd name="connsiteY10" fmla="*/ 325819 h 619126"/>
                <a:gd name="connsiteX11" fmla="*/ 647763 w 647763"/>
                <a:gd name="connsiteY11" fmla="*/ 325819 h 619126"/>
                <a:gd name="connsiteX12" fmla="*/ 647763 w 647763"/>
                <a:gd name="connsiteY12" fmla="*/ 456185 h 619126"/>
                <a:gd name="connsiteX13" fmla="*/ 615187 w 647763"/>
                <a:gd name="connsiteY13" fmla="*/ 456185 h 619126"/>
                <a:gd name="connsiteX14" fmla="*/ 615187 w 647763"/>
                <a:gd name="connsiteY14" fmla="*/ 586550 h 619126"/>
                <a:gd name="connsiteX15" fmla="*/ 615315 w 647763"/>
                <a:gd name="connsiteY15" fmla="*/ 586550 h 619126"/>
                <a:gd name="connsiteX16" fmla="*/ 582739 w 647763"/>
                <a:gd name="connsiteY16" fmla="*/ 619126 h 619126"/>
                <a:gd name="connsiteX17" fmla="*/ 582739 w 647763"/>
                <a:gd name="connsiteY17" fmla="*/ 586550 h 619126"/>
                <a:gd name="connsiteX18" fmla="*/ 582549 w 647763"/>
                <a:gd name="connsiteY18" fmla="*/ 586550 h 619126"/>
                <a:gd name="connsiteX19" fmla="*/ 582549 w 647763"/>
                <a:gd name="connsiteY19" fmla="*/ 619126 h 619126"/>
                <a:gd name="connsiteX20" fmla="*/ 126365 w 647763"/>
                <a:gd name="connsiteY20" fmla="*/ 619126 h 619126"/>
                <a:gd name="connsiteX21" fmla="*/ 93789 w 647763"/>
                <a:gd name="connsiteY21" fmla="*/ 586550 h 619126"/>
                <a:gd name="connsiteX22" fmla="*/ 93789 w 647763"/>
                <a:gd name="connsiteY22" fmla="*/ 488824 h 619126"/>
                <a:gd name="connsiteX23" fmla="*/ 0 w 647763"/>
                <a:gd name="connsiteY23" fmla="*/ 488824 h 619126"/>
                <a:gd name="connsiteX24" fmla="*/ 0 w 647763"/>
                <a:gd name="connsiteY24" fmla="*/ 358458 h 619126"/>
                <a:gd name="connsiteX25" fmla="*/ 93789 w 647763"/>
                <a:gd name="connsiteY25" fmla="*/ 358458 h 619126"/>
                <a:gd name="connsiteX26" fmla="*/ 93789 w 647763"/>
                <a:gd name="connsiteY26" fmla="*/ 195517 h 619126"/>
                <a:gd name="connsiteX27" fmla="*/ 224155 w 647763"/>
                <a:gd name="connsiteY27" fmla="*/ 195517 h 619126"/>
                <a:gd name="connsiteX28" fmla="*/ 224155 w 647763"/>
                <a:gd name="connsiteY28" fmla="*/ 195516 h 619126"/>
                <a:gd name="connsiteX29" fmla="*/ 93789 w 647763"/>
                <a:gd name="connsiteY29" fmla="*/ 195516 h 619126"/>
                <a:gd name="connsiteX30" fmla="*/ 224155 w 647763"/>
                <a:gd name="connsiteY30" fmla="*/ 65151 h 619126"/>
                <a:gd name="connsiteX31" fmla="*/ 289306 w 647763"/>
                <a:gd name="connsiteY31" fmla="*/ 65151 h 61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47763" h="619126">
                  <a:moveTo>
                    <a:pt x="289306" y="0"/>
                  </a:moveTo>
                  <a:lnTo>
                    <a:pt x="419672" y="0"/>
                  </a:lnTo>
                  <a:lnTo>
                    <a:pt x="419672" y="65151"/>
                  </a:lnTo>
                  <a:lnTo>
                    <a:pt x="484822" y="65151"/>
                  </a:lnTo>
                  <a:lnTo>
                    <a:pt x="484823" y="65151"/>
                  </a:lnTo>
                  <a:lnTo>
                    <a:pt x="484823" y="65152"/>
                  </a:lnTo>
                  <a:lnTo>
                    <a:pt x="615187" y="195516"/>
                  </a:lnTo>
                  <a:lnTo>
                    <a:pt x="484823" y="195516"/>
                  </a:lnTo>
                  <a:lnTo>
                    <a:pt x="484823" y="195517"/>
                  </a:lnTo>
                  <a:lnTo>
                    <a:pt x="615187" y="195517"/>
                  </a:lnTo>
                  <a:lnTo>
                    <a:pt x="615187" y="325819"/>
                  </a:lnTo>
                  <a:lnTo>
                    <a:pt x="647763" y="325819"/>
                  </a:lnTo>
                  <a:lnTo>
                    <a:pt x="647763" y="456185"/>
                  </a:lnTo>
                  <a:lnTo>
                    <a:pt x="615187" y="456185"/>
                  </a:lnTo>
                  <a:lnTo>
                    <a:pt x="615187" y="586550"/>
                  </a:lnTo>
                  <a:lnTo>
                    <a:pt x="615315" y="586550"/>
                  </a:lnTo>
                  <a:lnTo>
                    <a:pt x="582739" y="619126"/>
                  </a:lnTo>
                  <a:lnTo>
                    <a:pt x="582739" y="586550"/>
                  </a:lnTo>
                  <a:lnTo>
                    <a:pt x="582549" y="586550"/>
                  </a:lnTo>
                  <a:lnTo>
                    <a:pt x="582549" y="619126"/>
                  </a:lnTo>
                  <a:lnTo>
                    <a:pt x="126365" y="619126"/>
                  </a:lnTo>
                  <a:lnTo>
                    <a:pt x="93789" y="586550"/>
                  </a:lnTo>
                  <a:lnTo>
                    <a:pt x="93789" y="488824"/>
                  </a:lnTo>
                  <a:lnTo>
                    <a:pt x="0" y="488824"/>
                  </a:lnTo>
                  <a:lnTo>
                    <a:pt x="0" y="358458"/>
                  </a:lnTo>
                  <a:lnTo>
                    <a:pt x="93789" y="358458"/>
                  </a:lnTo>
                  <a:lnTo>
                    <a:pt x="93789" y="195517"/>
                  </a:lnTo>
                  <a:lnTo>
                    <a:pt x="224155" y="195517"/>
                  </a:lnTo>
                  <a:lnTo>
                    <a:pt x="224155" y="195516"/>
                  </a:lnTo>
                  <a:lnTo>
                    <a:pt x="93789" y="195516"/>
                  </a:lnTo>
                  <a:lnTo>
                    <a:pt x="224155" y="65151"/>
                  </a:lnTo>
                  <a:lnTo>
                    <a:pt x="289306" y="65151"/>
                  </a:lnTo>
                  <a:close/>
                </a:path>
              </a:pathLst>
            </a:custGeom>
            <a:solidFill>
              <a:srgbClr val="FFFFFF"/>
            </a:solidFill>
            <a:ln w="0" cap="flat">
              <a:noFill/>
              <a:prstDash val="solid"/>
              <a:miter/>
            </a:ln>
          </p:spPr>
          <p:txBody>
            <a:bodyPr rtlCol="0" anchor="ctr"/>
            <a:lstStyle/>
            <a:p>
              <a:endParaRPr lang="sv-SE"/>
            </a:p>
          </p:txBody>
        </p:sp>
        <p:sp>
          <p:nvSpPr>
            <p:cNvPr id="49" name="Freeform 48">
              <a:extLst>
                <a:ext uri="{FF2B5EF4-FFF2-40B4-BE49-F238E27FC236}">
                  <a16:creationId xmlns:a16="http://schemas.microsoft.com/office/drawing/2014/main" id="{2DB24798-C475-A15A-BA7B-2DC7CDB89DC8}"/>
                </a:ext>
              </a:extLst>
            </p:cNvPr>
            <p:cNvSpPr/>
            <p:nvPr/>
          </p:nvSpPr>
          <p:spPr>
            <a:xfrm>
              <a:off x="3931326" y="4305776"/>
              <a:ext cx="124404" cy="124404"/>
            </a:xfrm>
            <a:custGeom>
              <a:avLst/>
              <a:gdLst>
                <a:gd name="connsiteX0" fmla="*/ 0 w 133540"/>
                <a:gd name="connsiteY0" fmla="*/ 0 h 133540"/>
                <a:gd name="connsiteX1" fmla="*/ 133541 w 133540"/>
                <a:gd name="connsiteY1" fmla="*/ 133540 h 133540"/>
              </a:gdLst>
              <a:ahLst/>
              <a:cxnLst>
                <a:cxn ang="0">
                  <a:pos x="connsiteX0" y="connsiteY0"/>
                </a:cxn>
                <a:cxn ang="0">
                  <a:pos x="connsiteX1" y="connsiteY1"/>
                </a:cxn>
              </a:cxnLst>
              <a:rect l="l" t="t" r="r" b="b"/>
              <a:pathLst>
                <a:path w="133540" h="133540">
                  <a:moveTo>
                    <a:pt x="0" y="0"/>
                  </a:moveTo>
                  <a:lnTo>
                    <a:pt x="133541" y="133540"/>
                  </a:lnTo>
                </a:path>
              </a:pathLst>
            </a:custGeom>
            <a:ln w="9525" cap="flat">
              <a:solidFill>
                <a:srgbClr val="FFFFFF"/>
              </a:solidFill>
              <a:prstDash val="solid"/>
              <a:miter/>
            </a:ln>
          </p:spPr>
          <p:txBody>
            <a:bodyPr rtlCol="0" anchor="ctr"/>
            <a:lstStyle/>
            <a:p>
              <a:endParaRPr lang="sv-SE"/>
            </a:p>
          </p:txBody>
        </p:sp>
        <p:sp>
          <p:nvSpPr>
            <p:cNvPr id="50" name="Freeform 49">
              <a:extLst>
                <a:ext uri="{FF2B5EF4-FFF2-40B4-BE49-F238E27FC236}">
                  <a16:creationId xmlns:a16="http://schemas.microsoft.com/office/drawing/2014/main" id="{A25D7BBB-0FAB-8598-5B28-8A027314200C}"/>
                </a:ext>
              </a:extLst>
            </p:cNvPr>
            <p:cNvSpPr/>
            <p:nvPr/>
          </p:nvSpPr>
          <p:spPr>
            <a:xfrm>
              <a:off x="4000360" y="4374811"/>
              <a:ext cx="55370" cy="55369"/>
            </a:xfrm>
            <a:custGeom>
              <a:avLst/>
              <a:gdLst>
                <a:gd name="connsiteX0" fmla="*/ 57277 w 59436"/>
                <a:gd name="connsiteY0" fmla="*/ 0 h 59435"/>
                <a:gd name="connsiteX1" fmla="*/ 59436 w 59436"/>
                <a:gd name="connsiteY1" fmla="*/ 59436 h 59435"/>
                <a:gd name="connsiteX2" fmla="*/ 0 w 59436"/>
                <a:gd name="connsiteY2" fmla="*/ 57277 h 59435"/>
              </a:gdLst>
              <a:ahLst/>
              <a:cxnLst>
                <a:cxn ang="0">
                  <a:pos x="connsiteX0" y="connsiteY0"/>
                </a:cxn>
                <a:cxn ang="0">
                  <a:pos x="connsiteX1" y="connsiteY1"/>
                </a:cxn>
                <a:cxn ang="0">
                  <a:pos x="connsiteX2" y="connsiteY2"/>
                </a:cxn>
              </a:cxnLst>
              <a:rect l="l" t="t" r="r" b="b"/>
              <a:pathLst>
                <a:path w="59436" h="59435">
                  <a:moveTo>
                    <a:pt x="57277" y="0"/>
                  </a:moveTo>
                  <a:lnTo>
                    <a:pt x="59436" y="59436"/>
                  </a:lnTo>
                  <a:lnTo>
                    <a:pt x="0" y="57277"/>
                  </a:lnTo>
                </a:path>
              </a:pathLst>
            </a:custGeom>
            <a:noFill/>
            <a:ln w="9525" cap="flat">
              <a:solidFill>
                <a:srgbClr val="FFFFFF"/>
              </a:solidFill>
              <a:prstDash val="solid"/>
              <a:miter/>
            </a:ln>
          </p:spPr>
          <p:txBody>
            <a:bodyPr rtlCol="0" anchor="ctr"/>
            <a:lstStyle/>
            <a:p>
              <a:endParaRPr lang="sv-SE"/>
            </a:p>
          </p:txBody>
        </p:sp>
        <p:sp>
          <p:nvSpPr>
            <p:cNvPr id="51" name="Freeform 50">
              <a:extLst>
                <a:ext uri="{FF2B5EF4-FFF2-40B4-BE49-F238E27FC236}">
                  <a16:creationId xmlns:a16="http://schemas.microsoft.com/office/drawing/2014/main" id="{DCFF6409-17B8-70DC-E903-90D84C313F2B}"/>
                </a:ext>
              </a:extLst>
            </p:cNvPr>
            <p:cNvSpPr/>
            <p:nvPr/>
          </p:nvSpPr>
          <p:spPr>
            <a:xfrm>
              <a:off x="4186051" y="2525592"/>
              <a:ext cx="124404" cy="124404"/>
            </a:xfrm>
            <a:custGeom>
              <a:avLst/>
              <a:gdLst>
                <a:gd name="connsiteX0" fmla="*/ 133541 w 133540"/>
                <a:gd name="connsiteY0" fmla="*/ 0 h 133540"/>
                <a:gd name="connsiteX1" fmla="*/ 0 w 133540"/>
                <a:gd name="connsiteY1" fmla="*/ 133540 h 133540"/>
              </a:gdLst>
              <a:ahLst/>
              <a:cxnLst>
                <a:cxn ang="0">
                  <a:pos x="connsiteX0" y="connsiteY0"/>
                </a:cxn>
                <a:cxn ang="0">
                  <a:pos x="connsiteX1" y="connsiteY1"/>
                </a:cxn>
              </a:cxnLst>
              <a:rect l="l" t="t" r="r" b="b"/>
              <a:pathLst>
                <a:path w="133540" h="133540">
                  <a:moveTo>
                    <a:pt x="133541" y="0"/>
                  </a:moveTo>
                  <a:lnTo>
                    <a:pt x="0" y="133540"/>
                  </a:lnTo>
                </a:path>
              </a:pathLst>
            </a:custGeom>
            <a:ln w="9525" cap="flat">
              <a:solidFill>
                <a:srgbClr val="FFFFFF"/>
              </a:solidFill>
              <a:prstDash val="solid"/>
              <a:miter/>
            </a:ln>
          </p:spPr>
          <p:txBody>
            <a:bodyPr rtlCol="0" anchor="ctr"/>
            <a:lstStyle/>
            <a:p>
              <a:endParaRPr lang="sv-SE"/>
            </a:p>
          </p:txBody>
        </p:sp>
        <p:sp>
          <p:nvSpPr>
            <p:cNvPr id="52" name="Freeform 51">
              <a:extLst>
                <a:ext uri="{FF2B5EF4-FFF2-40B4-BE49-F238E27FC236}">
                  <a16:creationId xmlns:a16="http://schemas.microsoft.com/office/drawing/2014/main" id="{10C03758-B029-8BDD-0BD7-24BDC42E3BB7}"/>
                </a:ext>
              </a:extLst>
            </p:cNvPr>
            <p:cNvSpPr/>
            <p:nvPr/>
          </p:nvSpPr>
          <p:spPr>
            <a:xfrm>
              <a:off x="4186051" y="2594628"/>
              <a:ext cx="55369" cy="55369"/>
            </a:xfrm>
            <a:custGeom>
              <a:avLst/>
              <a:gdLst>
                <a:gd name="connsiteX0" fmla="*/ 2159 w 59435"/>
                <a:gd name="connsiteY0" fmla="*/ 0 h 59435"/>
                <a:gd name="connsiteX1" fmla="*/ 0 w 59435"/>
                <a:gd name="connsiteY1" fmla="*/ 59436 h 59435"/>
                <a:gd name="connsiteX2" fmla="*/ 59436 w 59435"/>
                <a:gd name="connsiteY2" fmla="*/ 57277 h 59435"/>
              </a:gdLst>
              <a:ahLst/>
              <a:cxnLst>
                <a:cxn ang="0">
                  <a:pos x="connsiteX0" y="connsiteY0"/>
                </a:cxn>
                <a:cxn ang="0">
                  <a:pos x="connsiteX1" y="connsiteY1"/>
                </a:cxn>
                <a:cxn ang="0">
                  <a:pos x="connsiteX2" y="connsiteY2"/>
                </a:cxn>
              </a:cxnLst>
              <a:rect l="l" t="t" r="r" b="b"/>
              <a:pathLst>
                <a:path w="59435" h="59435">
                  <a:moveTo>
                    <a:pt x="2159" y="0"/>
                  </a:moveTo>
                  <a:lnTo>
                    <a:pt x="0" y="59436"/>
                  </a:lnTo>
                  <a:lnTo>
                    <a:pt x="59436" y="57277"/>
                  </a:lnTo>
                </a:path>
              </a:pathLst>
            </a:custGeom>
            <a:noFill/>
            <a:ln w="9525" cap="flat">
              <a:solidFill>
                <a:srgbClr val="FFFFFF"/>
              </a:solidFill>
              <a:prstDash val="solid"/>
              <a:miter/>
            </a:ln>
          </p:spPr>
          <p:txBody>
            <a:bodyPr rtlCol="0" anchor="ctr"/>
            <a:lstStyle/>
            <a:p>
              <a:endParaRPr lang="sv-SE"/>
            </a:p>
          </p:txBody>
        </p:sp>
        <p:sp>
          <p:nvSpPr>
            <p:cNvPr id="53" name="Freeform 52">
              <a:extLst>
                <a:ext uri="{FF2B5EF4-FFF2-40B4-BE49-F238E27FC236}">
                  <a16:creationId xmlns:a16="http://schemas.microsoft.com/office/drawing/2014/main" id="{CF40AE9C-E23A-6E4D-DA45-BA11581CD917}"/>
                </a:ext>
              </a:extLst>
            </p:cNvPr>
            <p:cNvSpPr/>
            <p:nvPr/>
          </p:nvSpPr>
          <p:spPr>
            <a:xfrm>
              <a:off x="3641461" y="2897329"/>
              <a:ext cx="479460" cy="242836"/>
            </a:xfrm>
            <a:custGeom>
              <a:avLst/>
              <a:gdLst>
                <a:gd name="connsiteX0" fmla="*/ 0 w 514667"/>
                <a:gd name="connsiteY0" fmla="*/ 0 h 260667"/>
                <a:gd name="connsiteX1" fmla="*/ 253936 w 514667"/>
                <a:gd name="connsiteY1" fmla="*/ 0 h 260667"/>
                <a:gd name="connsiteX2" fmla="*/ 514667 w 514667"/>
                <a:gd name="connsiteY2" fmla="*/ 260667 h 260667"/>
              </a:gdLst>
              <a:ahLst/>
              <a:cxnLst>
                <a:cxn ang="0">
                  <a:pos x="connsiteX0" y="connsiteY0"/>
                </a:cxn>
                <a:cxn ang="0">
                  <a:pos x="connsiteX1" y="connsiteY1"/>
                </a:cxn>
                <a:cxn ang="0">
                  <a:pos x="connsiteX2" y="connsiteY2"/>
                </a:cxn>
              </a:cxnLst>
              <a:rect l="l" t="t" r="r" b="b"/>
              <a:pathLst>
                <a:path w="514667" h="260667">
                  <a:moveTo>
                    <a:pt x="0" y="0"/>
                  </a:moveTo>
                  <a:lnTo>
                    <a:pt x="253936" y="0"/>
                  </a:lnTo>
                  <a:lnTo>
                    <a:pt x="514667" y="260667"/>
                  </a:lnTo>
                </a:path>
              </a:pathLst>
            </a:custGeom>
            <a:noFill/>
            <a:ln w="9525" cap="flat">
              <a:solidFill>
                <a:srgbClr val="FFFFFF"/>
              </a:solidFill>
              <a:prstDash val="solid"/>
              <a:miter/>
            </a:ln>
          </p:spPr>
          <p:txBody>
            <a:bodyPr rtlCol="0" anchor="ctr"/>
            <a:lstStyle/>
            <a:p>
              <a:endParaRPr lang="sv-SE"/>
            </a:p>
          </p:txBody>
        </p:sp>
        <p:sp>
          <p:nvSpPr>
            <p:cNvPr id="54" name="Freeform 53">
              <a:extLst>
                <a:ext uri="{FF2B5EF4-FFF2-40B4-BE49-F238E27FC236}">
                  <a16:creationId xmlns:a16="http://schemas.microsoft.com/office/drawing/2014/main" id="{9BB2C352-D015-1268-6AC1-31796EA6D674}"/>
                </a:ext>
              </a:extLst>
            </p:cNvPr>
            <p:cNvSpPr/>
            <p:nvPr/>
          </p:nvSpPr>
          <p:spPr>
            <a:xfrm>
              <a:off x="3641461" y="2859588"/>
              <a:ext cx="40580" cy="75483"/>
            </a:xfrm>
            <a:custGeom>
              <a:avLst/>
              <a:gdLst>
                <a:gd name="connsiteX0" fmla="*/ 43561 w 43560"/>
                <a:gd name="connsiteY0" fmla="*/ 81026 h 81026"/>
                <a:gd name="connsiteX1" fmla="*/ 0 w 43560"/>
                <a:gd name="connsiteY1" fmla="*/ 40513 h 81026"/>
                <a:gd name="connsiteX2" fmla="*/ 43561 w 43560"/>
                <a:gd name="connsiteY2" fmla="*/ 0 h 81026"/>
              </a:gdLst>
              <a:ahLst/>
              <a:cxnLst>
                <a:cxn ang="0">
                  <a:pos x="connsiteX0" y="connsiteY0"/>
                </a:cxn>
                <a:cxn ang="0">
                  <a:pos x="connsiteX1" y="connsiteY1"/>
                </a:cxn>
                <a:cxn ang="0">
                  <a:pos x="connsiteX2" y="connsiteY2"/>
                </a:cxn>
              </a:cxnLst>
              <a:rect l="l" t="t" r="r" b="b"/>
              <a:pathLst>
                <a:path w="43560" h="81026">
                  <a:moveTo>
                    <a:pt x="43561" y="81026"/>
                  </a:moveTo>
                  <a:lnTo>
                    <a:pt x="0" y="40513"/>
                  </a:lnTo>
                  <a:lnTo>
                    <a:pt x="43561" y="0"/>
                  </a:lnTo>
                </a:path>
              </a:pathLst>
            </a:custGeom>
            <a:noFill/>
            <a:ln w="9525" cap="flat">
              <a:solidFill>
                <a:srgbClr val="FFFFFF"/>
              </a:solidFill>
              <a:prstDash val="solid"/>
              <a:miter/>
            </a:ln>
          </p:spPr>
          <p:txBody>
            <a:bodyPr rtlCol="0" anchor="ctr"/>
            <a:lstStyle/>
            <a:p>
              <a:endParaRPr lang="sv-SE"/>
            </a:p>
          </p:txBody>
        </p:sp>
        <p:sp>
          <p:nvSpPr>
            <p:cNvPr id="55" name="Freeform 54">
              <a:extLst>
                <a:ext uri="{FF2B5EF4-FFF2-40B4-BE49-F238E27FC236}">
                  <a16:creationId xmlns:a16="http://schemas.microsoft.com/office/drawing/2014/main" id="{0423A31A-8F7D-7252-6595-3DBC104ABFF5}"/>
                </a:ext>
              </a:extLst>
            </p:cNvPr>
            <p:cNvSpPr/>
            <p:nvPr/>
          </p:nvSpPr>
          <p:spPr>
            <a:xfrm>
              <a:off x="3695885" y="3712913"/>
              <a:ext cx="216570" cy="34429"/>
            </a:xfrm>
            <a:custGeom>
              <a:avLst/>
              <a:gdLst>
                <a:gd name="connsiteX0" fmla="*/ 0 w 232473"/>
                <a:gd name="connsiteY0" fmla="*/ 36957 h 36957"/>
                <a:gd name="connsiteX1" fmla="*/ 195516 w 232473"/>
                <a:gd name="connsiteY1" fmla="*/ 36957 h 36957"/>
                <a:gd name="connsiteX2" fmla="*/ 232473 w 232473"/>
                <a:gd name="connsiteY2" fmla="*/ 0 h 36957"/>
              </a:gdLst>
              <a:ahLst/>
              <a:cxnLst>
                <a:cxn ang="0">
                  <a:pos x="connsiteX0" y="connsiteY0"/>
                </a:cxn>
                <a:cxn ang="0">
                  <a:pos x="connsiteX1" y="connsiteY1"/>
                </a:cxn>
                <a:cxn ang="0">
                  <a:pos x="connsiteX2" y="connsiteY2"/>
                </a:cxn>
              </a:cxnLst>
              <a:rect l="l" t="t" r="r" b="b"/>
              <a:pathLst>
                <a:path w="232473" h="36957">
                  <a:moveTo>
                    <a:pt x="0" y="36957"/>
                  </a:moveTo>
                  <a:lnTo>
                    <a:pt x="195516" y="36957"/>
                  </a:lnTo>
                  <a:lnTo>
                    <a:pt x="232473" y="0"/>
                  </a:lnTo>
                </a:path>
              </a:pathLst>
            </a:custGeom>
            <a:noFill/>
            <a:ln w="9525" cap="flat">
              <a:solidFill>
                <a:srgbClr val="FFFFFF"/>
              </a:solidFill>
              <a:prstDash val="solid"/>
              <a:miter/>
            </a:ln>
          </p:spPr>
          <p:txBody>
            <a:bodyPr rtlCol="0" anchor="ctr"/>
            <a:lstStyle/>
            <a:p>
              <a:endParaRPr lang="sv-SE"/>
            </a:p>
          </p:txBody>
        </p:sp>
        <p:sp>
          <p:nvSpPr>
            <p:cNvPr id="56" name="Freeform 55">
              <a:extLst>
                <a:ext uri="{FF2B5EF4-FFF2-40B4-BE49-F238E27FC236}">
                  <a16:creationId xmlns:a16="http://schemas.microsoft.com/office/drawing/2014/main" id="{5788E401-A3A1-1294-B6B0-ED23E1D83A46}"/>
                </a:ext>
              </a:extLst>
            </p:cNvPr>
            <p:cNvSpPr/>
            <p:nvPr/>
          </p:nvSpPr>
          <p:spPr>
            <a:xfrm>
              <a:off x="3857085" y="3712913"/>
              <a:ext cx="55369" cy="55369"/>
            </a:xfrm>
            <a:custGeom>
              <a:avLst/>
              <a:gdLst>
                <a:gd name="connsiteX0" fmla="*/ 57277 w 59435"/>
                <a:gd name="connsiteY0" fmla="*/ 59436 h 59435"/>
                <a:gd name="connsiteX1" fmla="*/ 59436 w 59435"/>
                <a:gd name="connsiteY1" fmla="*/ 0 h 59435"/>
                <a:gd name="connsiteX2" fmla="*/ 0 w 59435"/>
                <a:gd name="connsiteY2" fmla="*/ 2159 h 59435"/>
              </a:gdLst>
              <a:ahLst/>
              <a:cxnLst>
                <a:cxn ang="0">
                  <a:pos x="connsiteX0" y="connsiteY0"/>
                </a:cxn>
                <a:cxn ang="0">
                  <a:pos x="connsiteX1" y="connsiteY1"/>
                </a:cxn>
                <a:cxn ang="0">
                  <a:pos x="connsiteX2" y="connsiteY2"/>
                </a:cxn>
              </a:cxnLst>
              <a:rect l="l" t="t" r="r" b="b"/>
              <a:pathLst>
                <a:path w="59435" h="59435">
                  <a:moveTo>
                    <a:pt x="57277" y="59436"/>
                  </a:moveTo>
                  <a:lnTo>
                    <a:pt x="59436" y="0"/>
                  </a:lnTo>
                  <a:lnTo>
                    <a:pt x="0" y="2159"/>
                  </a:lnTo>
                </a:path>
              </a:pathLst>
            </a:custGeom>
            <a:noFill/>
            <a:ln w="9525" cap="flat">
              <a:solidFill>
                <a:srgbClr val="FFFFFF"/>
              </a:solidFill>
              <a:prstDash val="solid"/>
              <a:miter/>
            </a:ln>
          </p:spPr>
          <p:txBody>
            <a:bodyPr rtlCol="0" anchor="ctr"/>
            <a:lstStyle/>
            <a:p>
              <a:endParaRPr lang="sv-SE"/>
            </a:p>
          </p:txBody>
        </p:sp>
        <p:sp>
          <p:nvSpPr>
            <p:cNvPr id="57" name="Freeform 56">
              <a:extLst>
                <a:ext uri="{FF2B5EF4-FFF2-40B4-BE49-F238E27FC236}">
                  <a16:creationId xmlns:a16="http://schemas.microsoft.com/office/drawing/2014/main" id="{DC0B8934-8041-5908-B54C-A062C70B3AC0}"/>
                </a:ext>
              </a:extLst>
            </p:cNvPr>
            <p:cNvSpPr/>
            <p:nvPr/>
          </p:nvSpPr>
          <p:spPr>
            <a:xfrm>
              <a:off x="4102345" y="3484217"/>
              <a:ext cx="37150" cy="1186788"/>
            </a:xfrm>
            <a:custGeom>
              <a:avLst/>
              <a:gdLst>
                <a:gd name="connsiteX0" fmla="*/ 39878 w 39878"/>
                <a:gd name="connsiteY0" fmla="*/ 1234059 h 1273936"/>
                <a:gd name="connsiteX1" fmla="*/ 0 w 39878"/>
                <a:gd name="connsiteY1" fmla="*/ 1273937 h 1273936"/>
                <a:gd name="connsiteX2" fmla="*/ 39878 w 39878"/>
                <a:gd name="connsiteY2" fmla="*/ 1210754 h 1273936"/>
                <a:gd name="connsiteX3" fmla="*/ 0 w 39878"/>
                <a:gd name="connsiteY3" fmla="*/ 1250696 h 1273936"/>
                <a:gd name="connsiteX4" fmla="*/ 39878 w 39878"/>
                <a:gd name="connsiteY4" fmla="*/ 1187450 h 1273936"/>
                <a:gd name="connsiteX5" fmla="*/ 0 w 39878"/>
                <a:gd name="connsiteY5" fmla="*/ 1227328 h 1273936"/>
                <a:gd name="connsiteX6" fmla="*/ 39878 w 39878"/>
                <a:gd name="connsiteY6" fmla="*/ 1164209 h 1273936"/>
                <a:gd name="connsiteX7" fmla="*/ 0 w 39878"/>
                <a:gd name="connsiteY7" fmla="*/ 1204087 h 1273936"/>
                <a:gd name="connsiteX8" fmla="*/ 39878 w 39878"/>
                <a:gd name="connsiteY8" fmla="*/ 1140904 h 1273936"/>
                <a:gd name="connsiteX9" fmla="*/ 0 w 39878"/>
                <a:gd name="connsiteY9" fmla="*/ 1180783 h 1273936"/>
                <a:gd name="connsiteX10" fmla="*/ 39878 w 39878"/>
                <a:gd name="connsiteY10" fmla="*/ 1117600 h 1273936"/>
                <a:gd name="connsiteX11" fmla="*/ 0 w 39878"/>
                <a:gd name="connsiteY11" fmla="*/ 1157478 h 1273936"/>
                <a:gd name="connsiteX12" fmla="*/ 39878 w 39878"/>
                <a:gd name="connsiteY12" fmla="*/ 1094359 h 1273936"/>
                <a:gd name="connsiteX13" fmla="*/ 0 w 39878"/>
                <a:gd name="connsiteY13" fmla="*/ 1134237 h 1273936"/>
                <a:gd name="connsiteX14" fmla="*/ 39878 w 39878"/>
                <a:gd name="connsiteY14" fmla="*/ 1071054 h 1273936"/>
                <a:gd name="connsiteX15" fmla="*/ 0 w 39878"/>
                <a:gd name="connsiteY15" fmla="*/ 1110933 h 1273936"/>
                <a:gd name="connsiteX16" fmla="*/ 39878 w 39878"/>
                <a:gd name="connsiteY16" fmla="*/ 1047750 h 1273936"/>
                <a:gd name="connsiteX17" fmla="*/ 0 w 39878"/>
                <a:gd name="connsiteY17" fmla="*/ 1087628 h 1273936"/>
                <a:gd name="connsiteX18" fmla="*/ 39878 w 39878"/>
                <a:gd name="connsiteY18" fmla="*/ 1024446 h 1273936"/>
                <a:gd name="connsiteX19" fmla="*/ 0 w 39878"/>
                <a:gd name="connsiteY19" fmla="*/ 1064387 h 1273936"/>
                <a:gd name="connsiteX20" fmla="*/ 39878 w 39878"/>
                <a:gd name="connsiteY20" fmla="*/ 1001204 h 1273936"/>
                <a:gd name="connsiteX21" fmla="*/ 0 w 39878"/>
                <a:gd name="connsiteY21" fmla="*/ 1041083 h 1273936"/>
                <a:gd name="connsiteX22" fmla="*/ 39878 w 39878"/>
                <a:gd name="connsiteY22" fmla="*/ 977900 h 1273936"/>
                <a:gd name="connsiteX23" fmla="*/ 0 w 39878"/>
                <a:gd name="connsiteY23" fmla="*/ 1017778 h 1273936"/>
                <a:gd name="connsiteX24" fmla="*/ 39878 w 39878"/>
                <a:gd name="connsiteY24" fmla="*/ 954596 h 1273936"/>
                <a:gd name="connsiteX25" fmla="*/ 0 w 39878"/>
                <a:gd name="connsiteY25" fmla="*/ 994473 h 1273936"/>
                <a:gd name="connsiteX26" fmla="*/ 39878 w 39878"/>
                <a:gd name="connsiteY26" fmla="*/ 931354 h 1273936"/>
                <a:gd name="connsiteX27" fmla="*/ 0 w 39878"/>
                <a:gd name="connsiteY27" fmla="*/ 971233 h 1273936"/>
                <a:gd name="connsiteX28" fmla="*/ 39878 w 39878"/>
                <a:gd name="connsiteY28" fmla="*/ 908050 h 1273936"/>
                <a:gd name="connsiteX29" fmla="*/ 0 w 39878"/>
                <a:gd name="connsiteY29" fmla="*/ 947928 h 1273936"/>
                <a:gd name="connsiteX30" fmla="*/ 39878 w 39878"/>
                <a:gd name="connsiteY30" fmla="*/ 884746 h 1273936"/>
                <a:gd name="connsiteX31" fmla="*/ 0 w 39878"/>
                <a:gd name="connsiteY31" fmla="*/ 924623 h 1273936"/>
                <a:gd name="connsiteX32" fmla="*/ 39878 w 39878"/>
                <a:gd name="connsiteY32" fmla="*/ 861504 h 1273936"/>
                <a:gd name="connsiteX33" fmla="*/ 0 w 39878"/>
                <a:gd name="connsiteY33" fmla="*/ 901383 h 1273936"/>
                <a:gd name="connsiteX34" fmla="*/ 39878 w 39878"/>
                <a:gd name="connsiteY34" fmla="*/ 838200 h 1273936"/>
                <a:gd name="connsiteX35" fmla="*/ 0 w 39878"/>
                <a:gd name="connsiteY35" fmla="*/ 878141 h 1273936"/>
                <a:gd name="connsiteX36" fmla="*/ 39878 w 39878"/>
                <a:gd name="connsiteY36" fmla="*/ 814896 h 1273936"/>
                <a:gd name="connsiteX37" fmla="*/ 0 w 39878"/>
                <a:gd name="connsiteY37" fmla="*/ 854773 h 1273936"/>
                <a:gd name="connsiteX38" fmla="*/ 39878 w 39878"/>
                <a:gd name="connsiteY38" fmla="*/ 791654 h 1273936"/>
                <a:gd name="connsiteX39" fmla="*/ 0 w 39878"/>
                <a:gd name="connsiteY39" fmla="*/ 831533 h 1273936"/>
                <a:gd name="connsiteX40" fmla="*/ 39878 w 39878"/>
                <a:gd name="connsiteY40" fmla="*/ 768350 h 1273936"/>
                <a:gd name="connsiteX41" fmla="*/ 0 w 39878"/>
                <a:gd name="connsiteY41" fmla="*/ 808228 h 1273936"/>
                <a:gd name="connsiteX42" fmla="*/ 39878 w 39878"/>
                <a:gd name="connsiteY42" fmla="*/ 745046 h 1273936"/>
                <a:gd name="connsiteX43" fmla="*/ 0 w 39878"/>
                <a:gd name="connsiteY43" fmla="*/ 784923 h 1273936"/>
                <a:gd name="connsiteX44" fmla="*/ 39878 w 39878"/>
                <a:gd name="connsiteY44" fmla="*/ 721804 h 1273936"/>
                <a:gd name="connsiteX45" fmla="*/ 0 w 39878"/>
                <a:gd name="connsiteY45" fmla="*/ 761683 h 1273936"/>
                <a:gd name="connsiteX46" fmla="*/ 39878 w 39878"/>
                <a:gd name="connsiteY46" fmla="*/ 698500 h 1273936"/>
                <a:gd name="connsiteX47" fmla="*/ 0 w 39878"/>
                <a:gd name="connsiteY47" fmla="*/ 738378 h 1273936"/>
                <a:gd name="connsiteX48" fmla="*/ 39878 w 39878"/>
                <a:gd name="connsiteY48" fmla="*/ 675196 h 1273936"/>
                <a:gd name="connsiteX49" fmla="*/ 0 w 39878"/>
                <a:gd name="connsiteY49" fmla="*/ 715073 h 1273936"/>
                <a:gd name="connsiteX50" fmla="*/ 39878 w 39878"/>
                <a:gd name="connsiteY50" fmla="*/ 651954 h 1273936"/>
                <a:gd name="connsiteX51" fmla="*/ 0 w 39878"/>
                <a:gd name="connsiteY51" fmla="*/ 691896 h 1273936"/>
                <a:gd name="connsiteX52" fmla="*/ 39878 w 39878"/>
                <a:gd name="connsiteY52" fmla="*/ 628650 h 1273936"/>
                <a:gd name="connsiteX53" fmla="*/ 0 w 39878"/>
                <a:gd name="connsiteY53" fmla="*/ 668528 h 1273936"/>
                <a:gd name="connsiteX54" fmla="*/ 39878 w 39878"/>
                <a:gd name="connsiteY54" fmla="*/ 605346 h 1273936"/>
                <a:gd name="connsiteX55" fmla="*/ 0 w 39878"/>
                <a:gd name="connsiteY55" fmla="*/ 645223 h 1273936"/>
                <a:gd name="connsiteX56" fmla="*/ 39878 w 39878"/>
                <a:gd name="connsiteY56" fmla="*/ 582104 h 1273936"/>
                <a:gd name="connsiteX57" fmla="*/ 0 w 39878"/>
                <a:gd name="connsiteY57" fmla="*/ 621983 h 1273936"/>
                <a:gd name="connsiteX58" fmla="*/ 39878 w 39878"/>
                <a:gd name="connsiteY58" fmla="*/ 558800 h 1273936"/>
                <a:gd name="connsiteX59" fmla="*/ 0 w 39878"/>
                <a:gd name="connsiteY59" fmla="*/ 598678 h 1273936"/>
                <a:gd name="connsiteX60" fmla="*/ 39878 w 39878"/>
                <a:gd name="connsiteY60" fmla="*/ 535559 h 1273936"/>
                <a:gd name="connsiteX61" fmla="*/ 0 w 39878"/>
                <a:gd name="connsiteY61" fmla="*/ 575437 h 1273936"/>
                <a:gd name="connsiteX62" fmla="*/ 39878 w 39878"/>
                <a:gd name="connsiteY62" fmla="*/ 512254 h 1273936"/>
                <a:gd name="connsiteX63" fmla="*/ 0 w 39878"/>
                <a:gd name="connsiteY63" fmla="*/ 552133 h 1273936"/>
                <a:gd name="connsiteX64" fmla="*/ 39878 w 39878"/>
                <a:gd name="connsiteY64" fmla="*/ 488950 h 1273936"/>
                <a:gd name="connsiteX65" fmla="*/ 0 w 39878"/>
                <a:gd name="connsiteY65" fmla="*/ 528828 h 1273936"/>
                <a:gd name="connsiteX66" fmla="*/ 39878 w 39878"/>
                <a:gd name="connsiteY66" fmla="*/ 465646 h 1273936"/>
                <a:gd name="connsiteX67" fmla="*/ 0 w 39878"/>
                <a:gd name="connsiteY67" fmla="*/ 505587 h 1273936"/>
                <a:gd name="connsiteX68" fmla="*/ 39878 w 39878"/>
                <a:gd name="connsiteY68" fmla="*/ 442404 h 1273936"/>
                <a:gd name="connsiteX69" fmla="*/ 0 w 39878"/>
                <a:gd name="connsiteY69" fmla="*/ 482283 h 1273936"/>
                <a:gd name="connsiteX70" fmla="*/ 39878 w 39878"/>
                <a:gd name="connsiteY70" fmla="*/ 419100 h 1273936"/>
                <a:gd name="connsiteX71" fmla="*/ 0 w 39878"/>
                <a:gd name="connsiteY71" fmla="*/ 458978 h 1273936"/>
                <a:gd name="connsiteX72" fmla="*/ 39878 w 39878"/>
                <a:gd name="connsiteY72" fmla="*/ 395796 h 1273936"/>
                <a:gd name="connsiteX73" fmla="*/ 0 w 39878"/>
                <a:gd name="connsiteY73" fmla="*/ 435673 h 1273936"/>
                <a:gd name="connsiteX74" fmla="*/ 39878 w 39878"/>
                <a:gd name="connsiteY74" fmla="*/ 372554 h 1273936"/>
                <a:gd name="connsiteX75" fmla="*/ 0 w 39878"/>
                <a:gd name="connsiteY75" fmla="*/ 412433 h 1273936"/>
                <a:gd name="connsiteX76" fmla="*/ 39878 w 39878"/>
                <a:gd name="connsiteY76" fmla="*/ 349250 h 1273936"/>
                <a:gd name="connsiteX77" fmla="*/ 0 w 39878"/>
                <a:gd name="connsiteY77" fmla="*/ 389128 h 1273936"/>
                <a:gd name="connsiteX78" fmla="*/ 39878 w 39878"/>
                <a:gd name="connsiteY78" fmla="*/ 325946 h 1273936"/>
                <a:gd name="connsiteX79" fmla="*/ 0 w 39878"/>
                <a:gd name="connsiteY79" fmla="*/ 365823 h 1273936"/>
                <a:gd name="connsiteX80" fmla="*/ 39878 w 39878"/>
                <a:gd name="connsiteY80" fmla="*/ 302704 h 1273936"/>
                <a:gd name="connsiteX81" fmla="*/ 0 w 39878"/>
                <a:gd name="connsiteY81" fmla="*/ 342583 h 1273936"/>
                <a:gd name="connsiteX82" fmla="*/ 39878 w 39878"/>
                <a:gd name="connsiteY82" fmla="*/ 279400 h 1273936"/>
                <a:gd name="connsiteX83" fmla="*/ 0 w 39878"/>
                <a:gd name="connsiteY83" fmla="*/ 319341 h 1273936"/>
                <a:gd name="connsiteX84" fmla="*/ 39878 w 39878"/>
                <a:gd name="connsiteY84" fmla="*/ 256096 h 1273936"/>
                <a:gd name="connsiteX85" fmla="*/ 0 w 39878"/>
                <a:gd name="connsiteY85" fmla="*/ 295973 h 1273936"/>
                <a:gd name="connsiteX86" fmla="*/ 39878 w 39878"/>
                <a:gd name="connsiteY86" fmla="*/ 232854 h 1273936"/>
                <a:gd name="connsiteX87" fmla="*/ 0 w 39878"/>
                <a:gd name="connsiteY87" fmla="*/ 272733 h 1273936"/>
                <a:gd name="connsiteX88" fmla="*/ 39878 w 39878"/>
                <a:gd name="connsiteY88" fmla="*/ 209550 h 1273936"/>
                <a:gd name="connsiteX89" fmla="*/ 0 w 39878"/>
                <a:gd name="connsiteY89" fmla="*/ 249428 h 1273936"/>
                <a:gd name="connsiteX90" fmla="*/ 39878 w 39878"/>
                <a:gd name="connsiteY90" fmla="*/ 186246 h 1273936"/>
                <a:gd name="connsiteX91" fmla="*/ 0 w 39878"/>
                <a:gd name="connsiteY91" fmla="*/ 226123 h 1273936"/>
                <a:gd name="connsiteX92" fmla="*/ 39878 w 39878"/>
                <a:gd name="connsiteY92" fmla="*/ 163004 h 1273936"/>
                <a:gd name="connsiteX93" fmla="*/ 0 w 39878"/>
                <a:gd name="connsiteY93" fmla="*/ 202883 h 1273936"/>
                <a:gd name="connsiteX94" fmla="*/ 39878 w 39878"/>
                <a:gd name="connsiteY94" fmla="*/ 139700 h 1273936"/>
                <a:gd name="connsiteX95" fmla="*/ 0 w 39878"/>
                <a:gd name="connsiteY95" fmla="*/ 179578 h 1273936"/>
                <a:gd name="connsiteX96" fmla="*/ 39878 w 39878"/>
                <a:gd name="connsiteY96" fmla="*/ 116396 h 1273936"/>
                <a:gd name="connsiteX97" fmla="*/ 0 w 39878"/>
                <a:gd name="connsiteY97" fmla="*/ 156273 h 1273936"/>
                <a:gd name="connsiteX98" fmla="*/ 39878 w 39878"/>
                <a:gd name="connsiteY98" fmla="*/ 93154 h 1273936"/>
                <a:gd name="connsiteX99" fmla="*/ 0 w 39878"/>
                <a:gd name="connsiteY99" fmla="*/ 133033 h 1273936"/>
                <a:gd name="connsiteX100" fmla="*/ 39878 w 39878"/>
                <a:gd name="connsiteY100" fmla="*/ 69850 h 1273936"/>
                <a:gd name="connsiteX101" fmla="*/ 0 w 39878"/>
                <a:gd name="connsiteY101" fmla="*/ 109728 h 1273936"/>
                <a:gd name="connsiteX102" fmla="*/ 39878 w 39878"/>
                <a:gd name="connsiteY102" fmla="*/ 46546 h 1273936"/>
                <a:gd name="connsiteX103" fmla="*/ 0 w 39878"/>
                <a:gd name="connsiteY103" fmla="*/ 86423 h 1273936"/>
                <a:gd name="connsiteX104" fmla="*/ 39878 w 39878"/>
                <a:gd name="connsiteY104" fmla="*/ 23304 h 1273936"/>
                <a:gd name="connsiteX105" fmla="*/ 0 w 39878"/>
                <a:gd name="connsiteY105" fmla="*/ 63183 h 1273936"/>
                <a:gd name="connsiteX106" fmla="*/ 39878 w 39878"/>
                <a:gd name="connsiteY106" fmla="*/ 0 h 1273936"/>
                <a:gd name="connsiteX107" fmla="*/ 0 w 39878"/>
                <a:gd name="connsiteY107" fmla="*/ 39878 h 127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9878" h="1273936">
                  <a:moveTo>
                    <a:pt x="39878" y="1234059"/>
                  </a:moveTo>
                  <a:lnTo>
                    <a:pt x="0" y="1273937"/>
                  </a:lnTo>
                  <a:moveTo>
                    <a:pt x="39878" y="1210754"/>
                  </a:moveTo>
                  <a:lnTo>
                    <a:pt x="0" y="1250696"/>
                  </a:lnTo>
                  <a:moveTo>
                    <a:pt x="39878" y="1187450"/>
                  </a:moveTo>
                  <a:lnTo>
                    <a:pt x="0" y="1227328"/>
                  </a:lnTo>
                  <a:moveTo>
                    <a:pt x="39878" y="1164209"/>
                  </a:moveTo>
                  <a:lnTo>
                    <a:pt x="0" y="1204087"/>
                  </a:lnTo>
                  <a:moveTo>
                    <a:pt x="39878" y="1140904"/>
                  </a:moveTo>
                  <a:lnTo>
                    <a:pt x="0" y="1180783"/>
                  </a:lnTo>
                  <a:moveTo>
                    <a:pt x="39878" y="1117600"/>
                  </a:moveTo>
                  <a:lnTo>
                    <a:pt x="0" y="1157478"/>
                  </a:lnTo>
                  <a:moveTo>
                    <a:pt x="39878" y="1094359"/>
                  </a:moveTo>
                  <a:lnTo>
                    <a:pt x="0" y="1134237"/>
                  </a:lnTo>
                  <a:moveTo>
                    <a:pt x="39878" y="1071054"/>
                  </a:moveTo>
                  <a:lnTo>
                    <a:pt x="0" y="1110933"/>
                  </a:lnTo>
                  <a:moveTo>
                    <a:pt x="39878" y="1047750"/>
                  </a:moveTo>
                  <a:lnTo>
                    <a:pt x="0" y="1087628"/>
                  </a:lnTo>
                  <a:moveTo>
                    <a:pt x="39878" y="1024446"/>
                  </a:moveTo>
                  <a:lnTo>
                    <a:pt x="0" y="1064387"/>
                  </a:lnTo>
                  <a:moveTo>
                    <a:pt x="39878" y="1001204"/>
                  </a:moveTo>
                  <a:lnTo>
                    <a:pt x="0" y="1041083"/>
                  </a:lnTo>
                  <a:moveTo>
                    <a:pt x="39878" y="977900"/>
                  </a:moveTo>
                  <a:lnTo>
                    <a:pt x="0" y="1017778"/>
                  </a:lnTo>
                  <a:moveTo>
                    <a:pt x="39878" y="954596"/>
                  </a:moveTo>
                  <a:lnTo>
                    <a:pt x="0" y="994473"/>
                  </a:lnTo>
                  <a:moveTo>
                    <a:pt x="39878" y="931354"/>
                  </a:moveTo>
                  <a:lnTo>
                    <a:pt x="0" y="971233"/>
                  </a:lnTo>
                  <a:moveTo>
                    <a:pt x="39878" y="908050"/>
                  </a:moveTo>
                  <a:lnTo>
                    <a:pt x="0" y="947928"/>
                  </a:lnTo>
                  <a:moveTo>
                    <a:pt x="39878" y="884746"/>
                  </a:moveTo>
                  <a:lnTo>
                    <a:pt x="0" y="924623"/>
                  </a:lnTo>
                  <a:moveTo>
                    <a:pt x="39878" y="861504"/>
                  </a:moveTo>
                  <a:lnTo>
                    <a:pt x="0" y="901383"/>
                  </a:lnTo>
                  <a:moveTo>
                    <a:pt x="39878" y="838200"/>
                  </a:moveTo>
                  <a:lnTo>
                    <a:pt x="0" y="878141"/>
                  </a:lnTo>
                  <a:moveTo>
                    <a:pt x="39878" y="814896"/>
                  </a:moveTo>
                  <a:lnTo>
                    <a:pt x="0" y="854773"/>
                  </a:lnTo>
                  <a:moveTo>
                    <a:pt x="39878" y="791654"/>
                  </a:moveTo>
                  <a:lnTo>
                    <a:pt x="0" y="831533"/>
                  </a:lnTo>
                  <a:moveTo>
                    <a:pt x="39878" y="768350"/>
                  </a:moveTo>
                  <a:lnTo>
                    <a:pt x="0" y="808228"/>
                  </a:lnTo>
                  <a:moveTo>
                    <a:pt x="39878" y="745046"/>
                  </a:moveTo>
                  <a:lnTo>
                    <a:pt x="0" y="784923"/>
                  </a:lnTo>
                  <a:moveTo>
                    <a:pt x="39878" y="721804"/>
                  </a:moveTo>
                  <a:lnTo>
                    <a:pt x="0" y="761683"/>
                  </a:lnTo>
                  <a:moveTo>
                    <a:pt x="39878" y="698500"/>
                  </a:moveTo>
                  <a:lnTo>
                    <a:pt x="0" y="738378"/>
                  </a:lnTo>
                  <a:moveTo>
                    <a:pt x="39878" y="675196"/>
                  </a:moveTo>
                  <a:lnTo>
                    <a:pt x="0" y="715073"/>
                  </a:lnTo>
                  <a:moveTo>
                    <a:pt x="39878" y="651954"/>
                  </a:moveTo>
                  <a:lnTo>
                    <a:pt x="0" y="691896"/>
                  </a:lnTo>
                  <a:moveTo>
                    <a:pt x="39878" y="628650"/>
                  </a:moveTo>
                  <a:lnTo>
                    <a:pt x="0" y="668528"/>
                  </a:lnTo>
                  <a:moveTo>
                    <a:pt x="39878" y="605346"/>
                  </a:moveTo>
                  <a:lnTo>
                    <a:pt x="0" y="645223"/>
                  </a:lnTo>
                  <a:moveTo>
                    <a:pt x="39878" y="582104"/>
                  </a:moveTo>
                  <a:lnTo>
                    <a:pt x="0" y="621983"/>
                  </a:lnTo>
                  <a:moveTo>
                    <a:pt x="39878" y="558800"/>
                  </a:moveTo>
                  <a:lnTo>
                    <a:pt x="0" y="598678"/>
                  </a:lnTo>
                  <a:moveTo>
                    <a:pt x="39878" y="535559"/>
                  </a:moveTo>
                  <a:lnTo>
                    <a:pt x="0" y="575437"/>
                  </a:lnTo>
                  <a:moveTo>
                    <a:pt x="39878" y="512254"/>
                  </a:moveTo>
                  <a:lnTo>
                    <a:pt x="0" y="552133"/>
                  </a:lnTo>
                  <a:moveTo>
                    <a:pt x="39878" y="488950"/>
                  </a:moveTo>
                  <a:lnTo>
                    <a:pt x="0" y="528828"/>
                  </a:lnTo>
                  <a:moveTo>
                    <a:pt x="39878" y="465646"/>
                  </a:moveTo>
                  <a:lnTo>
                    <a:pt x="0" y="505587"/>
                  </a:lnTo>
                  <a:moveTo>
                    <a:pt x="39878" y="442404"/>
                  </a:moveTo>
                  <a:lnTo>
                    <a:pt x="0" y="482283"/>
                  </a:lnTo>
                  <a:moveTo>
                    <a:pt x="39878" y="419100"/>
                  </a:moveTo>
                  <a:lnTo>
                    <a:pt x="0" y="458978"/>
                  </a:lnTo>
                  <a:moveTo>
                    <a:pt x="39878" y="395796"/>
                  </a:moveTo>
                  <a:lnTo>
                    <a:pt x="0" y="435673"/>
                  </a:lnTo>
                  <a:moveTo>
                    <a:pt x="39878" y="372554"/>
                  </a:moveTo>
                  <a:lnTo>
                    <a:pt x="0" y="412433"/>
                  </a:lnTo>
                  <a:moveTo>
                    <a:pt x="39878" y="349250"/>
                  </a:moveTo>
                  <a:lnTo>
                    <a:pt x="0" y="389128"/>
                  </a:lnTo>
                  <a:moveTo>
                    <a:pt x="39878" y="325946"/>
                  </a:moveTo>
                  <a:lnTo>
                    <a:pt x="0" y="365823"/>
                  </a:lnTo>
                  <a:moveTo>
                    <a:pt x="39878" y="302704"/>
                  </a:moveTo>
                  <a:lnTo>
                    <a:pt x="0" y="342583"/>
                  </a:lnTo>
                  <a:moveTo>
                    <a:pt x="39878" y="279400"/>
                  </a:moveTo>
                  <a:lnTo>
                    <a:pt x="0" y="319341"/>
                  </a:lnTo>
                  <a:moveTo>
                    <a:pt x="39878" y="256096"/>
                  </a:moveTo>
                  <a:lnTo>
                    <a:pt x="0" y="295973"/>
                  </a:lnTo>
                  <a:moveTo>
                    <a:pt x="39878" y="232854"/>
                  </a:moveTo>
                  <a:lnTo>
                    <a:pt x="0" y="272733"/>
                  </a:lnTo>
                  <a:moveTo>
                    <a:pt x="39878" y="209550"/>
                  </a:moveTo>
                  <a:lnTo>
                    <a:pt x="0" y="249428"/>
                  </a:lnTo>
                  <a:moveTo>
                    <a:pt x="39878" y="186246"/>
                  </a:moveTo>
                  <a:lnTo>
                    <a:pt x="0" y="226123"/>
                  </a:lnTo>
                  <a:moveTo>
                    <a:pt x="39878" y="163004"/>
                  </a:moveTo>
                  <a:lnTo>
                    <a:pt x="0" y="202883"/>
                  </a:lnTo>
                  <a:moveTo>
                    <a:pt x="39878" y="139700"/>
                  </a:moveTo>
                  <a:lnTo>
                    <a:pt x="0" y="179578"/>
                  </a:lnTo>
                  <a:moveTo>
                    <a:pt x="39878" y="116396"/>
                  </a:moveTo>
                  <a:lnTo>
                    <a:pt x="0" y="156273"/>
                  </a:lnTo>
                  <a:moveTo>
                    <a:pt x="39878" y="93154"/>
                  </a:moveTo>
                  <a:lnTo>
                    <a:pt x="0" y="133033"/>
                  </a:lnTo>
                  <a:moveTo>
                    <a:pt x="39878" y="69850"/>
                  </a:moveTo>
                  <a:lnTo>
                    <a:pt x="0" y="109728"/>
                  </a:lnTo>
                  <a:moveTo>
                    <a:pt x="39878" y="46546"/>
                  </a:moveTo>
                  <a:lnTo>
                    <a:pt x="0" y="86423"/>
                  </a:lnTo>
                  <a:moveTo>
                    <a:pt x="39878" y="23304"/>
                  </a:moveTo>
                  <a:lnTo>
                    <a:pt x="0" y="63183"/>
                  </a:lnTo>
                  <a:moveTo>
                    <a:pt x="39878" y="0"/>
                  </a:moveTo>
                  <a:lnTo>
                    <a:pt x="0" y="39878"/>
                  </a:lnTo>
                </a:path>
              </a:pathLst>
            </a:custGeom>
            <a:noFill/>
            <a:ln w="8573" cap="flat">
              <a:solidFill>
                <a:srgbClr val="FFFFFF"/>
              </a:solidFill>
              <a:prstDash val="solid"/>
              <a:miter/>
            </a:ln>
          </p:spPr>
          <p:txBody>
            <a:bodyPr rtlCol="0" anchor="ctr"/>
            <a:lstStyle/>
            <a:p>
              <a:endParaRPr lang="sv-SE"/>
            </a:p>
          </p:txBody>
        </p:sp>
        <p:sp>
          <p:nvSpPr>
            <p:cNvPr id="58" name="Freeform 57">
              <a:extLst>
                <a:ext uri="{FF2B5EF4-FFF2-40B4-BE49-F238E27FC236}">
                  <a16:creationId xmlns:a16="http://schemas.microsoft.com/office/drawing/2014/main" id="{D66EF2AD-5E9A-A87C-FD0F-BCE3346D798F}"/>
                </a:ext>
              </a:extLst>
            </p:cNvPr>
            <p:cNvSpPr/>
            <p:nvPr/>
          </p:nvSpPr>
          <p:spPr>
            <a:xfrm>
              <a:off x="3710526" y="5423056"/>
              <a:ext cx="820729" cy="268390"/>
            </a:xfrm>
            <a:custGeom>
              <a:avLst/>
              <a:gdLst>
                <a:gd name="connsiteX0" fmla="*/ 0 w 521398"/>
                <a:gd name="connsiteY0" fmla="*/ 0 h 260667"/>
                <a:gd name="connsiteX1" fmla="*/ 521398 w 521398"/>
                <a:gd name="connsiteY1" fmla="*/ 0 h 260667"/>
                <a:gd name="connsiteX2" fmla="*/ 521398 w 521398"/>
                <a:gd name="connsiteY2" fmla="*/ 260668 h 260667"/>
                <a:gd name="connsiteX3" fmla="*/ 0 w 521398"/>
                <a:gd name="connsiteY3" fmla="*/ 260668 h 260667"/>
              </a:gdLst>
              <a:ahLst/>
              <a:cxnLst>
                <a:cxn ang="0">
                  <a:pos x="connsiteX0" y="connsiteY0"/>
                </a:cxn>
                <a:cxn ang="0">
                  <a:pos x="connsiteX1" y="connsiteY1"/>
                </a:cxn>
                <a:cxn ang="0">
                  <a:pos x="connsiteX2" y="connsiteY2"/>
                </a:cxn>
                <a:cxn ang="0">
                  <a:pos x="connsiteX3" y="connsiteY3"/>
                </a:cxn>
              </a:cxnLst>
              <a:rect l="l" t="t" r="r" b="b"/>
              <a:pathLst>
                <a:path w="521398" h="260667">
                  <a:moveTo>
                    <a:pt x="0" y="0"/>
                  </a:moveTo>
                  <a:lnTo>
                    <a:pt x="521398" y="0"/>
                  </a:lnTo>
                  <a:lnTo>
                    <a:pt x="521398" y="260668"/>
                  </a:lnTo>
                  <a:lnTo>
                    <a:pt x="0" y="260668"/>
                  </a:lnTo>
                  <a:close/>
                </a:path>
              </a:pathLst>
            </a:custGeom>
            <a:solidFill>
              <a:srgbClr val="FFFFFF"/>
            </a:solidFill>
            <a:ln w="0" cap="flat">
              <a:noFill/>
              <a:prstDash val="solid"/>
              <a:miter/>
            </a:ln>
          </p:spPr>
          <p:txBody>
            <a:bodyPr rtlCol="0" anchor="ctr"/>
            <a:lstStyle/>
            <a:p>
              <a:endParaRPr lang="sv-SE"/>
            </a:p>
          </p:txBody>
        </p:sp>
        <p:sp>
          <p:nvSpPr>
            <p:cNvPr id="59" name="Freeform 58">
              <a:extLst>
                <a:ext uri="{FF2B5EF4-FFF2-40B4-BE49-F238E27FC236}">
                  <a16:creationId xmlns:a16="http://schemas.microsoft.com/office/drawing/2014/main" id="{06183AA0-2E4A-A69F-F6E8-0FB0D05BBA49}"/>
                </a:ext>
              </a:extLst>
            </p:cNvPr>
            <p:cNvSpPr/>
            <p:nvPr/>
          </p:nvSpPr>
          <p:spPr>
            <a:xfrm>
              <a:off x="5900076" y="1189653"/>
              <a:ext cx="392724" cy="294566"/>
            </a:xfrm>
            <a:custGeom>
              <a:avLst/>
              <a:gdLst>
                <a:gd name="connsiteX0" fmla="*/ 260667 w 521334"/>
                <a:gd name="connsiteY0" fmla="*/ 0 h 391033"/>
                <a:gd name="connsiteX1" fmla="*/ 0 w 521334"/>
                <a:gd name="connsiteY1" fmla="*/ 391033 h 391033"/>
                <a:gd name="connsiteX2" fmla="*/ 521335 w 521334"/>
                <a:gd name="connsiteY2" fmla="*/ 391033 h 391033"/>
                <a:gd name="connsiteX3" fmla="*/ 260667 w 521334"/>
                <a:gd name="connsiteY3" fmla="*/ 0 h 391033"/>
              </a:gdLst>
              <a:ahLst/>
              <a:cxnLst>
                <a:cxn ang="0">
                  <a:pos x="connsiteX0" y="connsiteY0"/>
                </a:cxn>
                <a:cxn ang="0">
                  <a:pos x="connsiteX1" y="connsiteY1"/>
                </a:cxn>
                <a:cxn ang="0">
                  <a:pos x="connsiteX2" y="connsiteY2"/>
                </a:cxn>
                <a:cxn ang="0">
                  <a:pos x="connsiteX3" y="connsiteY3"/>
                </a:cxn>
              </a:cxnLst>
              <a:rect l="l" t="t" r="r" b="b"/>
              <a:pathLst>
                <a:path w="521334" h="391033">
                  <a:moveTo>
                    <a:pt x="260667" y="0"/>
                  </a:moveTo>
                  <a:lnTo>
                    <a:pt x="0" y="391033"/>
                  </a:lnTo>
                  <a:lnTo>
                    <a:pt x="521335" y="391033"/>
                  </a:lnTo>
                  <a:lnTo>
                    <a:pt x="260667" y="0"/>
                  </a:lnTo>
                  <a:close/>
                </a:path>
              </a:pathLst>
            </a:custGeom>
            <a:solidFill>
              <a:srgbClr val="FFFFFF"/>
            </a:solidFill>
            <a:ln w="0" cap="flat">
              <a:noFill/>
              <a:prstDash val="solid"/>
              <a:miter/>
            </a:ln>
          </p:spPr>
          <p:txBody>
            <a:bodyPr rtlCol="0" anchor="ctr"/>
            <a:lstStyle/>
            <a:p>
              <a:endParaRPr lang="sv-SE"/>
            </a:p>
          </p:txBody>
        </p:sp>
        <p:sp>
          <p:nvSpPr>
            <p:cNvPr id="60" name="Freeform 59">
              <a:extLst>
                <a:ext uri="{FF2B5EF4-FFF2-40B4-BE49-F238E27FC236}">
                  <a16:creationId xmlns:a16="http://schemas.microsoft.com/office/drawing/2014/main" id="{0D3B2C71-6E2C-D60F-2FF6-0DF7B354C3F2}"/>
                </a:ext>
              </a:extLst>
            </p:cNvPr>
            <p:cNvSpPr/>
            <p:nvPr/>
          </p:nvSpPr>
          <p:spPr>
            <a:xfrm>
              <a:off x="7780553" y="1703619"/>
              <a:ext cx="582864" cy="291462"/>
            </a:xfrm>
            <a:custGeom>
              <a:avLst/>
              <a:gdLst>
                <a:gd name="connsiteX0" fmla="*/ 573532 w 625665"/>
                <a:gd name="connsiteY0" fmla="*/ 0 h 312864"/>
                <a:gd name="connsiteX1" fmla="*/ 625666 w 625665"/>
                <a:gd name="connsiteY1" fmla="*/ 52133 h 312864"/>
                <a:gd name="connsiteX2" fmla="*/ 625666 w 625665"/>
                <a:gd name="connsiteY2" fmla="*/ 260731 h 312864"/>
                <a:gd name="connsiteX3" fmla="*/ 573532 w 625665"/>
                <a:gd name="connsiteY3" fmla="*/ 312864 h 312864"/>
                <a:gd name="connsiteX4" fmla="*/ 52134 w 625665"/>
                <a:gd name="connsiteY4" fmla="*/ 312864 h 312864"/>
                <a:gd name="connsiteX5" fmla="*/ 0 w 625665"/>
                <a:gd name="connsiteY5" fmla="*/ 260731 h 312864"/>
                <a:gd name="connsiteX6" fmla="*/ 0 w 625665"/>
                <a:gd name="connsiteY6" fmla="*/ 52133 h 312864"/>
                <a:gd name="connsiteX7" fmla="*/ 52134 w 625665"/>
                <a:gd name="connsiteY7" fmla="*/ 0 h 312864"/>
                <a:gd name="connsiteX8" fmla="*/ 573532 w 625665"/>
                <a:gd name="connsiteY8" fmla="*/ 0 h 31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665" h="312864">
                  <a:moveTo>
                    <a:pt x="573532" y="0"/>
                  </a:moveTo>
                  <a:lnTo>
                    <a:pt x="625666" y="52133"/>
                  </a:lnTo>
                  <a:lnTo>
                    <a:pt x="625666" y="260731"/>
                  </a:lnTo>
                  <a:lnTo>
                    <a:pt x="573532" y="312864"/>
                  </a:lnTo>
                  <a:lnTo>
                    <a:pt x="52134" y="312864"/>
                  </a:lnTo>
                  <a:lnTo>
                    <a:pt x="0" y="260731"/>
                  </a:lnTo>
                  <a:lnTo>
                    <a:pt x="0" y="52133"/>
                  </a:lnTo>
                  <a:lnTo>
                    <a:pt x="52134" y="0"/>
                  </a:lnTo>
                  <a:lnTo>
                    <a:pt x="573532" y="0"/>
                  </a:lnTo>
                  <a:close/>
                </a:path>
              </a:pathLst>
            </a:custGeom>
            <a:solidFill>
              <a:srgbClr val="FFFFFF"/>
            </a:solidFill>
            <a:ln w="0" cap="flat">
              <a:noFill/>
              <a:prstDash val="solid"/>
              <a:miter/>
            </a:ln>
          </p:spPr>
          <p:txBody>
            <a:bodyPr rtlCol="0" anchor="ctr"/>
            <a:lstStyle/>
            <a:p>
              <a:endParaRPr lang="sv-SE"/>
            </a:p>
          </p:txBody>
        </p:sp>
        <p:sp>
          <p:nvSpPr>
            <p:cNvPr id="61" name="Freeform 60">
              <a:extLst>
                <a:ext uri="{FF2B5EF4-FFF2-40B4-BE49-F238E27FC236}">
                  <a16:creationId xmlns:a16="http://schemas.microsoft.com/office/drawing/2014/main" id="{0EFB388E-FDE7-764B-1B2D-B331A2C08401}"/>
                </a:ext>
              </a:extLst>
            </p:cNvPr>
            <p:cNvSpPr/>
            <p:nvPr/>
          </p:nvSpPr>
          <p:spPr>
            <a:xfrm>
              <a:off x="7586285" y="4886332"/>
              <a:ext cx="485670" cy="530452"/>
            </a:xfrm>
            <a:custGeom>
              <a:avLst/>
              <a:gdLst>
                <a:gd name="connsiteX0" fmla="*/ 297180 w 521334"/>
                <a:gd name="connsiteY0" fmla="*/ 0 h 569404"/>
                <a:gd name="connsiteX1" fmla="*/ 65151 w 521334"/>
                <a:gd name="connsiteY1" fmla="*/ 0 h 569404"/>
                <a:gd name="connsiteX2" fmla="*/ 0 w 521334"/>
                <a:gd name="connsiteY2" fmla="*/ 65151 h 569404"/>
                <a:gd name="connsiteX3" fmla="*/ 0 w 521334"/>
                <a:gd name="connsiteY3" fmla="*/ 289370 h 569404"/>
                <a:gd name="connsiteX4" fmla="*/ 65151 w 521334"/>
                <a:gd name="connsiteY4" fmla="*/ 354521 h 569404"/>
                <a:gd name="connsiteX5" fmla="*/ 456184 w 521334"/>
                <a:gd name="connsiteY5" fmla="*/ 354521 h 569404"/>
                <a:gd name="connsiteX6" fmla="*/ 521335 w 521334"/>
                <a:gd name="connsiteY6" fmla="*/ 419735 h 569404"/>
                <a:gd name="connsiteX7" fmla="*/ 521335 w 521334"/>
                <a:gd name="connsiteY7" fmla="*/ 569405 h 569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334" h="569404">
                  <a:moveTo>
                    <a:pt x="297180" y="0"/>
                  </a:moveTo>
                  <a:lnTo>
                    <a:pt x="65151" y="0"/>
                  </a:lnTo>
                  <a:lnTo>
                    <a:pt x="0" y="65151"/>
                  </a:lnTo>
                  <a:lnTo>
                    <a:pt x="0" y="289370"/>
                  </a:lnTo>
                  <a:lnTo>
                    <a:pt x="65151" y="354521"/>
                  </a:lnTo>
                  <a:lnTo>
                    <a:pt x="456184" y="354521"/>
                  </a:lnTo>
                  <a:lnTo>
                    <a:pt x="521335" y="419735"/>
                  </a:lnTo>
                  <a:lnTo>
                    <a:pt x="521335" y="569405"/>
                  </a:lnTo>
                </a:path>
              </a:pathLst>
            </a:custGeom>
            <a:noFill/>
            <a:ln w="9525" cap="flat">
              <a:solidFill>
                <a:srgbClr val="FFFFFF"/>
              </a:solidFill>
              <a:prstDash val="solid"/>
              <a:miter/>
            </a:ln>
          </p:spPr>
          <p:txBody>
            <a:bodyPr rtlCol="0" anchor="ctr"/>
            <a:lstStyle/>
            <a:p>
              <a:endParaRPr lang="sv-SE"/>
            </a:p>
          </p:txBody>
        </p:sp>
        <p:sp>
          <p:nvSpPr>
            <p:cNvPr id="62" name="Freeform 61">
              <a:extLst>
                <a:ext uri="{FF2B5EF4-FFF2-40B4-BE49-F238E27FC236}">
                  <a16:creationId xmlns:a16="http://schemas.microsoft.com/office/drawing/2014/main" id="{F624B92B-89CB-0E5D-7894-D503470473D5}"/>
                </a:ext>
              </a:extLst>
            </p:cNvPr>
            <p:cNvSpPr/>
            <p:nvPr/>
          </p:nvSpPr>
          <p:spPr>
            <a:xfrm>
              <a:off x="8034214" y="5376204"/>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a:p>
          </p:txBody>
        </p:sp>
        <p:sp>
          <p:nvSpPr>
            <p:cNvPr id="63" name="Freeform 62">
              <a:extLst>
                <a:ext uri="{FF2B5EF4-FFF2-40B4-BE49-F238E27FC236}">
                  <a16:creationId xmlns:a16="http://schemas.microsoft.com/office/drawing/2014/main" id="{A71C7A4D-C600-EEB4-3E6C-5E14998721BF}"/>
                </a:ext>
              </a:extLst>
            </p:cNvPr>
            <p:cNvSpPr/>
            <p:nvPr/>
          </p:nvSpPr>
          <p:spPr>
            <a:xfrm>
              <a:off x="7889814" y="2715188"/>
              <a:ext cx="450178" cy="1351480"/>
            </a:xfrm>
            <a:custGeom>
              <a:avLst/>
              <a:gdLst>
                <a:gd name="connsiteX0" fmla="*/ 65214 w 483235"/>
                <a:gd name="connsiteY0" fmla="*/ 0 h 1450721"/>
                <a:gd name="connsiteX1" fmla="*/ 325881 w 483235"/>
                <a:gd name="connsiteY1" fmla="*/ 0 h 1450721"/>
                <a:gd name="connsiteX2" fmla="*/ 228092 w 483235"/>
                <a:gd name="connsiteY2" fmla="*/ 146659 h 1450721"/>
                <a:gd name="connsiteX3" fmla="*/ 228092 w 483235"/>
                <a:gd name="connsiteY3" fmla="*/ 195516 h 1450721"/>
                <a:gd name="connsiteX4" fmla="*/ 293306 w 483235"/>
                <a:gd name="connsiteY4" fmla="*/ 195516 h 1450721"/>
                <a:gd name="connsiteX5" fmla="*/ 293307 w 483235"/>
                <a:gd name="connsiteY5" fmla="*/ 195516 h 1450721"/>
                <a:gd name="connsiteX6" fmla="*/ 293307 w 483235"/>
                <a:gd name="connsiteY6" fmla="*/ 195517 h 1450721"/>
                <a:gd name="connsiteX7" fmla="*/ 391033 w 483235"/>
                <a:gd name="connsiteY7" fmla="*/ 293243 h 1450721"/>
                <a:gd name="connsiteX8" fmla="*/ 391033 w 483235"/>
                <a:gd name="connsiteY8" fmla="*/ 377606 h 1450721"/>
                <a:gd name="connsiteX9" fmla="*/ 437167 w 483235"/>
                <a:gd name="connsiteY9" fmla="*/ 331472 h 1450721"/>
                <a:gd name="connsiteX10" fmla="*/ 483235 w 483235"/>
                <a:gd name="connsiteY10" fmla="*/ 377541 h 1450721"/>
                <a:gd name="connsiteX11" fmla="*/ 391033 w 483235"/>
                <a:gd name="connsiteY11" fmla="*/ 469743 h 1450721"/>
                <a:gd name="connsiteX12" fmla="*/ 391033 w 483235"/>
                <a:gd name="connsiteY12" fmla="*/ 898901 h 1450721"/>
                <a:gd name="connsiteX13" fmla="*/ 483193 w 483235"/>
                <a:gd name="connsiteY13" fmla="*/ 991061 h 1450721"/>
                <a:gd name="connsiteX14" fmla="*/ 437124 w 483235"/>
                <a:gd name="connsiteY14" fmla="*/ 1037130 h 1450721"/>
                <a:gd name="connsiteX15" fmla="*/ 391033 w 483235"/>
                <a:gd name="connsiteY15" fmla="*/ 991038 h 1450721"/>
                <a:gd name="connsiteX16" fmla="*/ 391033 w 483235"/>
                <a:gd name="connsiteY16" fmla="*/ 1075308 h 1450721"/>
                <a:gd name="connsiteX17" fmla="*/ 391033 w 483235"/>
                <a:gd name="connsiteY17" fmla="*/ 1075309 h 1450721"/>
                <a:gd name="connsiteX18" fmla="*/ 391032 w 483235"/>
                <a:gd name="connsiteY18" fmla="*/ 1075309 h 1450721"/>
                <a:gd name="connsiteX19" fmla="*/ 260730 w 483235"/>
                <a:gd name="connsiteY19" fmla="*/ 1249073 h 1450721"/>
                <a:gd name="connsiteX20" fmla="*/ 260730 w 483235"/>
                <a:gd name="connsiteY20" fmla="*/ 1450721 h 1450721"/>
                <a:gd name="connsiteX21" fmla="*/ 130365 w 483235"/>
                <a:gd name="connsiteY21" fmla="*/ 1450721 h 1450721"/>
                <a:gd name="connsiteX22" fmla="*/ 130365 w 483235"/>
                <a:gd name="connsiteY22" fmla="*/ 1249157 h 1450721"/>
                <a:gd name="connsiteX23" fmla="*/ 1 w 483235"/>
                <a:gd name="connsiteY23" fmla="*/ 1075309 h 1450721"/>
                <a:gd name="connsiteX24" fmla="*/ 0 w 483235"/>
                <a:gd name="connsiteY24" fmla="*/ 1075309 h 1450721"/>
                <a:gd name="connsiteX25" fmla="*/ 0 w 483235"/>
                <a:gd name="connsiteY25" fmla="*/ 1075308 h 1450721"/>
                <a:gd name="connsiteX26" fmla="*/ 0 w 483235"/>
                <a:gd name="connsiteY26" fmla="*/ 293243 h 1450721"/>
                <a:gd name="connsiteX27" fmla="*/ 97790 w 483235"/>
                <a:gd name="connsiteY27" fmla="*/ 195516 h 1450721"/>
                <a:gd name="connsiteX28" fmla="*/ 162941 w 483235"/>
                <a:gd name="connsiteY28" fmla="*/ 195516 h 1450721"/>
                <a:gd name="connsiteX29" fmla="*/ 162941 w 483235"/>
                <a:gd name="connsiteY29" fmla="*/ 146639 h 145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3235" h="1450721">
                  <a:moveTo>
                    <a:pt x="65214" y="0"/>
                  </a:moveTo>
                  <a:lnTo>
                    <a:pt x="325881" y="0"/>
                  </a:lnTo>
                  <a:lnTo>
                    <a:pt x="228092" y="146659"/>
                  </a:lnTo>
                  <a:lnTo>
                    <a:pt x="228092" y="195516"/>
                  </a:lnTo>
                  <a:lnTo>
                    <a:pt x="293306" y="195516"/>
                  </a:lnTo>
                  <a:lnTo>
                    <a:pt x="293307" y="195516"/>
                  </a:lnTo>
                  <a:lnTo>
                    <a:pt x="293307" y="195517"/>
                  </a:lnTo>
                  <a:lnTo>
                    <a:pt x="391033" y="293243"/>
                  </a:lnTo>
                  <a:lnTo>
                    <a:pt x="391033" y="377606"/>
                  </a:lnTo>
                  <a:lnTo>
                    <a:pt x="437167" y="331472"/>
                  </a:lnTo>
                  <a:lnTo>
                    <a:pt x="483235" y="377541"/>
                  </a:lnTo>
                  <a:lnTo>
                    <a:pt x="391033" y="469743"/>
                  </a:lnTo>
                  <a:lnTo>
                    <a:pt x="391033" y="898901"/>
                  </a:lnTo>
                  <a:lnTo>
                    <a:pt x="483193" y="991061"/>
                  </a:lnTo>
                  <a:lnTo>
                    <a:pt x="437124" y="1037130"/>
                  </a:lnTo>
                  <a:lnTo>
                    <a:pt x="391033" y="991038"/>
                  </a:lnTo>
                  <a:lnTo>
                    <a:pt x="391033" y="1075308"/>
                  </a:lnTo>
                  <a:lnTo>
                    <a:pt x="391033" y="1075309"/>
                  </a:lnTo>
                  <a:lnTo>
                    <a:pt x="391032" y="1075309"/>
                  </a:lnTo>
                  <a:lnTo>
                    <a:pt x="260730" y="1249073"/>
                  </a:lnTo>
                  <a:lnTo>
                    <a:pt x="260730" y="1450721"/>
                  </a:lnTo>
                  <a:lnTo>
                    <a:pt x="130365" y="1450721"/>
                  </a:lnTo>
                  <a:lnTo>
                    <a:pt x="130365" y="1249157"/>
                  </a:lnTo>
                  <a:lnTo>
                    <a:pt x="1" y="1075309"/>
                  </a:lnTo>
                  <a:lnTo>
                    <a:pt x="0" y="1075309"/>
                  </a:lnTo>
                  <a:lnTo>
                    <a:pt x="0" y="1075308"/>
                  </a:lnTo>
                  <a:lnTo>
                    <a:pt x="0" y="293243"/>
                  </a:lnTo>
                  <a:lnTo>
                    <a:pt x="97790" y="195516"/>
                  </a:lnTo>
                  <a:lnTo>
                    <a:pt x="162941" y="195516"/>
                  </a:lnTo>
                  <a:lnTo>
                    <a:pt x="162941" y="146639"/>
                  </a:lnTo>
                  <a:close/>
                </a:path>
              </a:pathLst>
            </a:custGeom>
            <a:solidFill>
              <a:srgbClr val="FFFFFF"/>
            </a:solidFill>
            <a:ln w="0" cap="flat">
              <a:noFill/>
              <a:prstDash val="solid"/>
              <a:miter/>
            </a:ln>
          </p:spPr>
          <p:txBody>
            <a:bodyPr rtlCol="0" anchor="ctr"/>
            <a:lstStyle/>
            <a:p>
              <a:endParaRPr lang="sv-SE"/>
            </a:p>
          </p:txBody>
        </p:sp>
        <p:sp>
          <p:nvSpPr>
            <p:cNvPr id="64" name="Freeform 63">
              <a:extLst>
                <a:ext uri="{FF2B5EF4-FFF2-40B4-BE49-F238E27FC236}">
                  <a16:creationId xmlns:a16="http://schemas.microsoft.com/office/drawing/2014/main" id="{902F2FA2-71EE-1034-53F6-6B89310087FB}"/>
                </a:ext>
              </a:extLst>
            </p:cNvPr>
            <p:cNvSpPr/>
            <p:nvPr/>
          </p:nvSpPr>
          <p:spPr>
            <a:xfrm>
              <a:off x="7738020" y="4613092"/>
              <a:ext cx="607237" cy="455443"/>
            </a:xfrm>
            <a:custGeom>
              <a:avLst/>
              <a:gdLst>
                <a:gd name="connsiteX0" fmla="*/ 97790 w 651827"/>
                <a:gd name="connsiteY0" fmla="*/ 32576 h 488887"/>
                <a:gd name="connsiteX1" fmla="*/ 97790 w 651827"/>
                <a:gd name="connsiteY1" fmla="*/ 32639 h 488887"/>
                <a:gd name="connsiteX2" fmla="*/ 619188 w 651827"/>
                <a:gd name="connsiteY2" fmla="*/ 32639 h 488887"/>
                <a:gd name="connsiteX3" fmla="*/ 619188 w 651827"/>
                <a:gd name="connsiteY3" fmla="*/ 32576 h 488887"/>
                <a:gd name="connsiteX4" fmla="*/ 97790 w 651827"/>
                <a:gd name="connsiteY4" fmla="*/ 0 h 488887"/>
                <a:gd name="connsiteX5" fmla="*/ 619188 w 651827"/>
                <a:gd name="connsiteY5" fmla="*/ 0 h 488887"/>
                <a:gd name="connsiteX6" fmla="*/ 619189 w 651827"/>
                <a:gd name="connsiteY6" fmla="*/ 0 h 488887"/>
                <a:gd name="connsiteX7" fmla="*/ 619189 w 651827"/>
                <a:gd name="connsiteY7" fmla="*/ 1 h 488887"/>
                <a:gd name="connsiteX8" fmla="*/ 651764 w 651827"/>
                <a:gd name="connsiteY8" fmla="*/ 32639 h 488887"/>
                <a:gd name="connsiteX9" fmla="*/ 651764 w 651827"/>
                <a:gd name="connsiteY9" fmla="*/ 65214 h 488887"/>
                <a:gd name="connsiteX10" fmla="*/ 619189 w 651827"/>
                <a:gd name="connsiteY10" fmla="*/ 65214 h 488887"/>
                <a:gd name="connsiteX11" fmla="*/ 619189 w 651827"/>
                <a:gd name="connsiteY11" fmla="*/ 195517 h 488887"/>
                <a:gd name="connsiteX12" fmla="*/ 651827 w 651827"/>
                <a:gd name="connsiteY12" fmla="*/ 195517 h 488887"/>
                <a:gd name="connsiteX13" fmla="*/ 651827 w 651827"/>
                <a:gd name="connsiteY13" fmla="*/ 325883 h 488887"/>
                <a:gd name="connsiteX14" fmla="*/ 619189 w 651827"/>
                <a:gd name="connsiteY14" fmla="*/ 325883 h 488887"/>
                <a:gd name="connsiteX15" fmla="*/ 619189 w 651827"/>
                <a:gd name="connsiteY15" fmla="*/ 391096 h 488887"/>
                <a:gd name="connsiteX16" fmla="*/ 619315 w 651827"/>
                <a:gd name="connsiteY16" fmla="*/ 391096 h 488887"/>
                <a:gd name="connsiteX17" fmla="*/ 521398 w 651827"/>
                <a:gd name="connsiteY17" fmla="*/ 488823 h 488887"/>
                <a:gd name="connsiteX18" fmla="*/ 521398 w 651827"/>
                <a:gd name="connsiteY18" fmla="*/ 488887 h 488887"/>
                <a:gd name="connsiteX19" fmla="*/ 195516 w 651827"/>
                <a:gd name="connsiteY19" fmla="*/ 488887 h 488887"/>
                <a:gd name="connsiteX20" fmla="*/ 195516 w 651827"/>
                <a:gd name="connsiteY20" fmla="*/ 488822 h 488887"/>
                <a:gd name="connsiteX21" fmla="*/ 97791 w 651827"/>
                <a:gd name="connsiteY21" fmla="*/ 391097 h 488887"/>
                <a:gd name="connsiteX22" fmla="*/ 97790 w 651827"/>
                <a:gd name="connsiteY22" fmla="*/ 391097 h 488887"/>
                <a:gd name="connsiteX23" fmla="*/ 97790 w 651827"/>
                <a:gd name="connsiteY23" fmla="*/ 391096 h 488887"/>
                <a:gd name="connsiteX24" fmla="*/ 97790 w 651827"/>
                <a:gd name="connsiteY24" fmla="*/ 358522 h 488887"/>
                <a:gd name="connsiteX25" fmla="*/ 0 w 651827"/>
                <a:gd name="connsiteY25" fmla="*/ 358522 h 488887"/>
                <a:gd name="connsiteX26" fmla="*/ 0 w 651827"/>
                <a:gd name="connsiteY26" fmla="*/ 228156 h 488887"/>
                <a:gd name="connsiteX27" fmla="*/ 97790 w 651827"/>
                <a:gd name="connsiteY27" fmla="*/ 228156 h 488887"/>
                <a:gd name="connsiteX28" fmla="*/ 97790 w 651827"/>
                <a:gd name="connsiteY28" fmla="*/ 65214 h 488887"/>
                <a:gd name="connsiteX29" fmla="*/ 65214 w 651827"/>
                <a:gd name="connsiteY29" fmla="*/ 65214 h 488887"/>
                <a:gd name="connsiteX30" fmla="*/ 65214 w 651827"/>
                <a:gd name="connsiteY30" fmla="*/ 32639 h 4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1827" h="488887">
                  <a:moveTo>
                    <a:pt x="97790" y="32576"/>
                  </a:moveTo>
                  <a:lnTo>
                    <a:pt x="97790" y="32639"/>
                  </a:lnTo>
                  <a:lnTo>
                    <a:pt x="619188" y="32639"/>
                  </a:lnTo>
                  <a:lnTo>
                    <a:pt x="619188" y="32576"/>
                  </a:lnTo>
                  <a:close/>
                  <a:moveTo>
                    <a:pt x="97790" y="0"/>
                  </a:moveTo>
                  <a:lnTo>
                    <a:pt x="619188" y="0"/>
                  </a:lnTo>
                  <a:lnTo>
                    <a:pt x="619189" y="0"/>
                  </a:lnTo>
                  <a:lnTo>
                    <a:pt x="619189" y="1"/>
                  </a:lnTo>
                  <a:lnTo>
                    <a:pt x="651764" y="32639"/>
                  </a:lnTo>
                  <a:lnTo>
                    <a:pt x="651764" y="65214"/>
                  </a:lnTo>
                  <a:lnTo>
                    <a:pt x="619189" y="65214"/>
                  </a:lnTo>
                  <a:lnTo>
                    <a:pt x="619189" y="195517"/>
                  </a:lnTo>
                  <a:lnTo>
                    <a:pt x="651827" y="195517"/>
                  </a:lnTo>
                  <a:lnTo>
                    <a:pt x="651827" y="325883"/>
                  </a:lnTo>
                  <a:lnTo>
                    <a:pt x="619189" y="325883"/>
                  </a:lnTo>
                  <a:lnTo>
                    <a:pt x="619189" y="391096"/>
                  </a:lnTo>
                  <a:lnTo>
                    <a:pt x="619315" y="391096"/>
                  </a:lnTo>
                  <a:lnTo>
                    <a:pt x="521398" y="488823"/>
                  </a:lnTo>
                  <a:lnTo>
                    <a:pt x="521398" y="488887"/>
                  </a:lnTo>
                  <a:lnTo>
                    <a:pt x="195516" y="488887"/>
                  </a:lnTo>
                  <a:lnTo>
                    <a:pt x="195516" y="488822"/>
                  </a:lnTo>
                  <a:lnTo>
                    <a:pt x="97791" y="391097"/>
                  </a:lnTo>
                  <a:lnTo>
                    <a:pt x="97790" y="391097"/>
                  </a:lnTo>
                  <a:lnTo>
                    <a:pt x="97790" y="391096"/>
                  </a:lnTo>
                  <a:lnTo>
                    <a:pt x="97790" y="358522"/>
                  </a:lnTo>
                  <a:lnTo>
                    <a:pt x="0" y="358522"/>
                  </a:lnTo>
                  <a:lnTo>
                    <a:pt x="0" y="228156"/>
                  </a:lnTo>
                  <a:lnTo>
                    <a:pt x="97790" y="228156"/>
                  </a:lnTo>
                  <a:lnTo>
                    <a:pt x="97790" y="65214"/>
                  </a:lnTo>
                  <a:lnTo>
                    <a:pt x="65214" y="65214"/>
                  </a:lnTo>
                  <a:lnTo>
                    <a:pt x="65214" y="32639"/>
                  </a:lnTo>
                  <a:close/>
                </a:path>
              </a:pathLst>
            </a:custGeom>
            <a:solidFill>
              <a:srgbClr val="FFFFFF"/>
            </a:solidFill>
            <a:ln w="0" cap="flat">
              <a:noFill/>
              <a:prstDash val="solid"/>
              <a:miter/>
            </a:ln>
          </p:spPr>
          <p:txBody>
            <a:bodyPr rtlCol="0" anchor="ctr"/>
            <a:lstStyle/>
            <a:p>
              <a:endParaRPr lang="sv-SE"/>
            </a:p>
          </p:txBody>
        </p:sp>
        <p:sp>
          <p:nvSpPr>
            <p:cNvPr id="65" name="Freeform 64">
              <a:extLst>
                <a:ext uri="{FF2B5EF4-FFF2-40B4-BE49-F238E27FC236}">
                  <a16:creationId xmlns:a16="http://schemas.microsoft.com/office/drawing/2014/main" id="{B1C9A324-4117-6115-D4DA-2C431645B40D}"/>
                </a:ext>
              </a:extLst>
            </p:cNvPr>
            <p:cNvSpPr/>
            <p:nvPr/>
          </p:nvSpPr>
          <p:spPr>
            <a:xfrm>
              <a:off x="8318518" y="2897329"/>
              <a:ext cx="202550" cy="148067"/>
            </a:xfrm>
            <a:custGeom>
              <a:avLst/>
              <a:gdLst>
                <a:gd name="connsiteX0" fmla="*/ 217424 w 217423"/>
                <a:gd name="connsiteY0" fmla="*/ 0 h 158940"/>
                <a:gd name="connsiteX1" fmla="*/ 159004 w 217423"/>
                <a:gd name="connsiteY1" fmla="*/ 0 h 158940"/>
                <a:gd name="connsiteX2" fmla="*/ 0 w 217423"/>
                <a:gd name="connsiteY2" fmla="*/ 158941 h 158940"/>
              </a:gdLst>
              <a:ahLst/>
              <a:cxnLst>
                <a:cxn ang="0">
                  <a:pos x="connsiteX0" y="connsiteY0"/>
                </a:cxn>
                <a:cxn ang="0">
                  <a:pos x="connsiteX1" y="connsiteY1"/>
                </a:cxn>
                <a:cxn ang="0">
                  <a:pos x="connsiteX2" y="connsiteY2"/>
                </a:cxn>
              </a:cxnLst>
              <a:rect l="l" t="t" r="r" b="b"/>
              <a:pathLst>
                <a:path w="217423" h="158940">
                  <a:moveTo>
                    <a:pt x="217424" y="0"/>
                  </a:moveTo>
                  <a:lnTo>
                    <a:pt x="159004" y="0"/>
                  </a:lnTo>
                  <a:lnTo>
                    <a:pt x="0" y="158941"/>
                  </a:lnTo>
                </a:path>
              </a:pathLst>
            </a:custGeom>
            <a:noFill/>
            <a:ln w="9525" cap="flat">
              <a:solidFill>
                <a:srgbClr val="FFFFFF"/>
              </a:solidFill>
              <a:prstDash val="solid"/>
              <a:miter/>
            </a:ln>
          </p:spPr>
          <p:txBody>
            <a:bodyPr rtlCol="0" anchor="ctr"/>
            <a:lstStyle/>
            <a:p>
              <a:endParaRPr lang="sv-SE"/>
            </a:p>
          </p:txBody>
        </p:sp>
        <p:sp>
          <p:nvSpPr>
            <p:cNvPr id="66" name="Freeform 65">
              <a:extLst>
                <a:ext uri="{FF2B5EF4-FFF2-40B4-BE49-F238E27FC236}">
                  <a16:creationId xmlns:a16="http://schemas.microsoft.com/office/drawing/2014/main" id="{928EBAAF-2F20-7F90-E01A-CE3E60B7DE80}"/>
                </a:ext>
              </a:extLst>
            </p:cNvPr>
            <p:cNvSpPr/>
            <p:nvPr/>
          </p:nvSpPr>
          <p:spPr>
            <a:xfrm>
              <a:off x="8480488" y="2859588"/>
              <a:ext cx="40580" cy="75483"/>
            </a:xfrm>
            <a:custGeom>
              <a:avLst/>
              <a:gdLst>
                <a:gd name="connsiteX0" fmla="*/ 0 w 43560"/>
                <a:gd name="connsiteY0" fmla="*/ 81026 h 81026"/>
                <a:gd name="connsiteX1" fmla="*/ 43561 w 43560"/>
                <a:gd name="connsiteY1" fmla="*/ 40513 h 81026"/>
                <a:gd name="connsiteX2" fmla="*/ 0 w 43560"/>
                <a:gd name="connsiteY2" fmla="*/ 0 h 81026"/>
              </a:gdLst>
              <a:ahLst/>
              <a:cxnLst>
                <a:cxn ang="0">
                  <a:pos x="connsiteX0" y="connsiteY0"/>
                </a:cxn>
                <a:cxn ang="0">
                  <a:pos x="connsiteX1" y="connsiteY1"/>
                </a:cxn>
                <a:cxn ang="0">
                  <a:pos x="connsiteX2" y="connsiteY2"/>
                </a:cxn>
              </a:cxnLst>
              <a:rect l="l" t="t" r="r" b="b"/>
              <a:pathLst>
                <a:path w="43560" h="81026">
                  <a:moveTo>
                    <a:pt x="0" y="81026"/>
                  </a:moveTo>
                  <a:lnTo>
                    <a:pt x="43561" y="40513"/>
                  </a:lnTo>
                  <a:lnTo>
                    <a:pt x="0" y="0"/>
                  </a:lnTo>
                </a:path>
              </a:pathLst>
            </a:custGeom>
            <a:noFill/>
            <a:ln w="9525" cap="flat">
              <a:solidFill>
                <a:srgbClr val="FFFFFF"/>
              </a:solidFill>
              <a:prstDash val="solid"/>
              <a:miter/>
            </a:ln>
          </p:spPr>
          <p:txBody>
            <a:bodyPr rtlCol="0" anchor="ctr"/>
            <a:lstStyle/>
            <a:p>
              <a:endParaRPr lang="sv-SE"/>
            </a:p>
          </p:txBody>
        </p:sp>
        <p:sp>
          <p:nvSpPr>
            <p:cNvPr id="67" name="Freeform 66">
              <a:extLst>
                <a:ext uri="{FF2B5EF4-FFF2-40B4-BE49-F238E27FC236}">
                  <a16:creationId xmlns:a16="http://schemas.microsoft.com/office/drawing/2014/main" id="{D8338400-686D-BA30-D737-6C3795950E5B}"/>
                </a:ext>
              </a:extLst>
            </p:cNvPr>
            <p:cNvSpPr/>
            <p:nvPr/>
          </p:nvSpPr>
          <p:spPr>
            <a:xfrm>
              <a:off x="8322955" y="3664405"/>
              <a:ext cx="204384" cy="143631"/>
            </a:xfrm>
            <a:custGeom>
              <a:avLst/>
              <a:gdLst>
                <a:gd name="connsiteX0" fmla="*/ 219393 w 219392"/>
                <a:gd name="connsiteY0" fmla="*/ 154178 h 154178"/>
                <a:gd name="connsiteX1" fmla="*/ 154242 w 219392"/>
                <a:gd name="connsiteY1" fmla="*/ 154178 h 154178"/>
                <a:gd name="connsiteX2" fmla="*/ 0 w 219392"/>
                <a:gd name="connsiteY2" fmla="*/ 0 h 154178"/>
              </a:gdLst>
              <a:ahLst/>
              <a:cxnLst>
                <a:cxn ang="0">
                  <a:pos x="connsiteX0" y="connsiteY0"/>
                </a:cxn>
                <a:cxn ang="0">
                  <a:pos x="connsiteX1" y="connsiteY1"/>
                </a:cxn>
                <a:cxn ang="0">
                  <a:pos x="connsiteX2" y="connsiteY2"/>
                </a:cxn>
              </a:cxnLst>
              <a:rect l="l" t="t" r="r" b="b"/>
              <a:pathLst>
                <a:path w="219392" h="154178">
                  <a:moveTo>
                    <a:pt x="219393" y="154178"/>
                  </a:moveTo>
                  <a:lnTo>
                    <a:pt x="154242" y="154178"/>
                  </a:lnTo>
                  <a:lnTo>
                    <a:pt x="0" y="0"/>
                  </a:lnTo>
                </a:path>
              </a:pathLst>
            </a:custGeom>
            <a:noFill/>
            <a:ln w="9525" cap="flat">
              <a:solidFill>
                <a:srgbClr val="FFFFFF"/>
              </a:solidFill>
              <a:prstDash val="solid"/>
              <a:miter/>
            </a:ln>
          </p:spPr>
          <p:txBody>
            <a:bodyPr rtlCol="0" anchor="ctr"/>
            <a:lstStyle/>
            <a:p>
              <a:endParaRPr lang="sv-SE"/>
            </a:p>
          </p:txBody>
        </p:sp>
        <p:sp>
          <p:nvSpPr>
            <p:cNvPr id="68" name="Freeform 67">
              <a:extLst>
                <a:ext uri="{FF2B5EF4-FFF2-40B4-BE49-F238E27FC236}">
                  <a16:creationId xmlns:a16="http://schemas.microsoft.com/office/drawing/2014/main" id="{293A3395-C02C-5D22-3EBB-A66646C32D08}"/>
                </a:ext>
              </a:extLst>
            </p:cNvPr>
            <p:cNvSpPr/>
            <p:nvPr/>
          </p:nvSpPr>
          <p:spPr>
            <a:xfrm>
              <a:off x="8322955" y="3664405"/>
              <a:ext cx="55428" cy="55370"/>
            </a:xfrm>
            <a:custGeom>
              <a:avLst/>
              <a:gdLst>
                <a:gd name="connsiteX0" fmla="*/ 2159 w 59499"/>
                <a:gd name="connsiteY0" fmla="*/ 59436 h 59436"/>
                <a:gd name="connsiteX1" fmla="*/ 0 w 59499"/>
                <a:gd name="connsiteY1" fmla="*/ 0 h 59436"/>
                <a:gd name="connsiteX2" fmla="*/ 59499 w 59499"/>
                <a:gd name="connsiteY2" fmla="*/ 2159 h 59436"/>
              </a:gdLst>
              <a:ahLst/>
              <a:cxnLst>
                <a:cxn ang="0">
                  <a:pos x="connsiteX0" y="connsiteY0"/>
                </a:cxn>
                <a:cxn ang="0">
                  <a:pos x="connsiteX1" y="connsiteY1"/>
                </a:cxn>
                <a:cxn ang="0">
                  <a:pos x="connsiteX2" y="connsiteY2"/>
                </a:cxn>
              </a:cxnLst>
              <a:rect l="l" t="t" r="r" b="b"/>
              <a:pathLst>
                <a:path w="59499" h="59436">
                  <a:moveTo>
                    <a:pt x="2159" y="59436"/>
                  </a:moveTo>
                  <a:lnTo>
                    <a:pt x="0" y="0"/>
                  </a:lnTo>
                  <a:lnTo>
                    <a:pt x="59499" y="2159"/>
                  </a:lnTo>
                </a:path>
              </a:pathLst>
            </a:custGeom>
            <a:noFill/>
            <a:ln w="9525" cap="flat">
              <a:solidFill>
                <a:srgbClr val="FFFFFF"/>
              </a:solidFill>
              <a:prstDash val="solid"/>
              <a:miter/>
            </a:ln>
          </p:spPr>
          <p:txBody>
            <a:bodyPr rtlCol="0" anchor="ctr"/>
            <a:lstStyle/>
            <a:p>
              <a:endParaRPr lang="sv-SE"/>
            </a:p>
          </p:txBody>
        </p:sp>
        <p:sp>
          <p:nvSpPr>
            <p:cNvPr id="69" name="Freeform 68">
              <a:extLst>
                <a:ext uri="{FF2B5EF4-FFF2-40B4-BE49-F238E27FC236}">
                  <a16:creationId xmlns:a16="http://schemas.microsoft.com/office/drawing/2014/main" id="{B181F6BA-0C33-CDD0-2859-86E190CC9CEB}"/>
                </a:ext>
              </a:extLst>
            </p:cNvPr>
            <p:cNvSpPr/>
            <p:nvPr/>
          </p:nvSpPr>
          <p:spPr>
            <a:xfrm>
              <a:off x="9095930" y="3415671"/>
              <a:ext cx="540153" cy="364283"/>
            </a:xfrm>
            <a:custGeom>
              <a:avLst/>
              <a:gdLst>
                <a:gd name="connsiteX0" fmla="*/ 0 w 579818"/>
                <a:gd name="connsiteY0" fmla="*/ 391033 h 391033"/>
                <a:gd name="connsiteX1" fmla="*/ 398082 w 579818"/>
                <a:gd name="connsiteY1" fmla="*/ 391033 h 391033"/>
                <a:gd name="connsiteX2" fmla="*/ 463296 w 579818"/>
                <a:gd name="connsiteY2" fmla="*/ 325882 h 391033"/>
                <a:gd name="connsiteX3" fmla="*/ 463296 w 579818"/>
                <a:gd name="connsiteY3" fmla="*/ 65151 h 391033"/>
                <a:gd name="connsiteX4" fmla="*/ 521526 w 579818"/>
                <a:gd name="connsiteY4" fmla="*/ 0 h 391033"/>
                <a:gd name="connsiteX5" fmla="*/ 579819 w 579818"/>
                <a:gd name="connsiteY5" fmla="*/ 0 h 39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818" h="391033">
                  <a:moveTo>
                    <a:pt x="0" y="391033"/>
                  </a:moveTo>
                  <a:lnTo>
                    <a:pt x="398082" y="391033"/>
                  </a:lnTo>
                  <a:lnTo>
                    <a:pt x="463296" y="325882"/>
                  </a:lnTo>
                  <a:lnTo>
                    <a:pt x="463296" y="65151"/>
                  </a:lnTo>
                  <a:lnTo>
                    <a:pt x="521526" y="0"/>
                  </a:lnTo>
                  <a:lnTo>
                    <a:pt x="579819" y="0"/>
                  </a:lnTo>
                </a:path>
              </a:pathLst>
            </a:custGeom>
            <a:noFill/>
            <a:ln w="9525" cap="flat">
              <a:solidFill>
                <a:srgbClr val="FFFFFF"/>
              </a:solidFill>
              <a:prstDash val="solid"/>
              <a:miter/>
            </a:ln>
          </p:spPr>
          <p:txBody>
            <a:bodyPr rtlCol="0" anchor="ctr"/>
            <a:lstStyle/>
            <a:p>
              <a:endParaRPr lang="sv-SE"/>
            </a:p>
          </p:txBody>
        </p:sp>
        <p:sp>
          <p:nvSpPr>
            <p:cNvPr id="70" name="Freeform 69">
              <a:extLst>
                <a:ext uri="{FF2B5EF4-FFF2-40B4-BE49-F238E27FC236}">
                  <a16:creationId xmlns:a16="http://schemas.microsoft.com/office/drawing/2014/main" id="{979A09A9-6663-4677-F5A6-BA4B8976C1EC}"/>
                </a:ext>
              </a:extLst>
            </p:cNvPr>
            <p:cNvSpPr/>
            <p:nvPr/>
          </p:nvSpPr>
          <p:spPr>
            <a:xfrm>
              <a:off x="9095930" y="3742212"/>
              <a:ext cx="40580" cy="75483"/>
            </a:xfrm>
            <a:custGeom>
              <a:avLst/>
              <a:gdLst>
                <a:gd name="connsiteX0" fmla="*/ 43561 w 43560"/>
                <a:gd name="connsiteY0" fmla="*/ 0 h 81026"/>
                <a:gd name="connsiteX1" fmla="*/ 0 w 43560"/>
                <a:gd name="connsiteY1" fmla="*/ 40513 h 81026"/>
                <a:gd name="connsiteX2" fmla="*/ 43561 w 43560"/>
                <a:gd name="connsiteY2" fmla="*/ 81026 h 81026"/>
              </a:gdLst>
              <a:ahLst/>
              <a:cxnLst>
                <a:cxn ang="0">
                  <a:pos x="connsiteX0" y="connsiteY0"/>
                </a:cxn>
                <a:cxn ang="0">
                  <a:pos x="connsiteX1" y="connsiteY1"/>
                </a:cxn>
                <a:cxn ang="0">
                  <a:pos x="connsiteX2" y="connsiteY2"/>
                </a:cxn>
              </a:cxnLst>
              <a:rect l="l" t="t" r="r" b="b"/>
              <a:pathLst>
                <a:path w="43560" h="81026">
                  <a:moveTo>
                    <a:pt x="43561" y="0"/>
                  </a:moveTo>
                  <a:lnTo>
                    <a:pt x="0" y="40513"/>
                  </a:lnTo>
                  <a:lnTo>
                    <a:pt x="43561" y="81026"/>
                  </a:lnTo>
                </a:path>
              </a:pathLst>
            </a:custGeom>
            <a:noFill/>
            <a:ln w="9525" cap="flat">
              <a:solidFill>
                <a:srgbClr val="FFFFFF"/>
              </a:solidFill>
              <a:prstDash val="solid"/>
              <a:miter/>
            </a:ln>
          </p:spPr>
          <p:txBody>
            <a:bodyPr rtlCol="0" anchor="ctr"/>
            <a:lstStyle/>
            <a:p>
              <a:endParaRPr lang="sv-SE"/>
            </a:p>
          </p:txBody>
        </p:sp>
        <p:sp>
          <p:nvSpPr>
            <p:cNvPr id="71" name="Freeform 70">
              <a:extLst>
                <a:ext uri="{FF2B5EF4-FFF2-40B4-BE49-F238E27FC236}">
                  <a16:creationId xmlns:a16="http://schemas.microsoft.com/office/drawing/2014/main" id="{5B7B2057-B75E-17E8-2FA8-3B7D6B60FAF1}"/>
                </a:ext>
              </a:extLst>
            </p:cNvPr>
            <p:cNvSpPr/>
            <p:nvPr/>
          </p:nvSpPr>
          <p:spPr>
            <a:xfrm>
              <a:off x="7663484" y="5423056"/>
              <a:ext cx="817004" cy="268390"/>
            </a:xfrm>
            <a:custGeom>
              <a:avLst/>
              <a:gdLst>
                <a:gd name="connsiteX0" fmla="*/ 0 w 521398"/>
                <a:gd name="connsiteY0" fmla="*/ 0 h 260667"/>
                <a:gd name="connsiteX1" fmla="*/ 521399 w 521398"/>
                <a:gd name="connsiteY1" fmla="*/ 0 h 260667"/>
                <a:gd name="connsiteX2" fmla="*/ 521399 w 521398"/>
                <a:gd name="connsiteY2" fmla="*/ 260668 h 260667"/>
                <a:gd name="connsiteX3" fmla="*/ 0 w 521398"/>
                <a:gd name="connsiteY3" fmla="*/ 260668 h 260667"/>
              </a:gdLst>
              <a:ahLst/>
              <a:cxnLst>
                <a:cxn ang="0">
                  <a:pos x="connsiteX0" y="connsiteY0"/>
                </a:cxn>
                <a:cxn ang="0">
                  <a:pos x="connsiteX1" y="connsiteY1"/>
                </a:cxn>
                <a:cxn ang="0">
                  <a:pos x="connsiteX2" y="connsiteY2"/>
                </a:cxn>
                <a:cxn ang="0">
                  <a:pos x="connsiteX3" y="connsiteY3"/>
                </a:cxn>
              </a:cxnLst>
              <a:rect l="l" t="t" r="r" b="b"/>
              <a:pathLst>
                <a:path w="521398" h="260667">
                  <a:moveTo>
                    <a:pt x="0" y="0"/>
                  </a:moveTo>
                  <a:lnTo>
                    <a:pt x="521399" y="0"/>
                  </a:lnTo>
                  <a:lnTo>
                    <a:pt x="521399" y="260668"/>
                  </a:lnTo>
                  <a:lnTo>
                    <a:pt x="0" y="260668"/>
                  </a:lnTo>
                  <a:close/>
                </a:path>
              </a:pathLst>
            </a:custGeom>
            <a:solidFill>
              <a:srgbClr val="FFFFFF"/>
            </a:solidFill>
            <a:ln w="0" cap="flat">
              <a:noFill/>
              <a:prstDash val="solid"/>
              <a:miter/>
            </a:ln>
          </p:spPr>
          <p:txBody>
            <a:bodyPr rtlCol="0" anchor="ctr"/>
            <a:lstStyle/>
            <a:p>
              <a:endParaRPr lang="sv-SE"/>
            </a:p>
          </p:txBody>
        </p:sp>
        <p:sp>
          <p:nvSpPr>
            <p:cNvPr id="72" name="Freeform 71">
              <a:extLst>
                <a:ext uri="{FF2B5EF4-FFF2-40B4-BE49-F238E27FC236}">
                  <a16:creationId xmlns:a16="http://schemas.microsoft.com/office/drawing/2014/main" id="{A950ABFC-68ED-2D1C-DCE7-805F4A2CD397}"/>
                </a:ext>
              </a:extLst>
            </p:cNvPr>
            <p:cNvSpPr/>
            <p:nvPr/>
          </p:nvSpPr>
          <p:spPr>
            <a:xfrm>
              <a:off x="8351527" y="4855986"/>
              <a:ext cx="145523" cy="0"/>
            </a:xfrm>
            <a:custGeom>
              <a:avLst/>
              <a:gdLst>
                <a:gd name="connsiteX0" fmla="*/ 0 w 156209"/>
                <a:gd name="connsiteY0" fmla="*/ 0 h 6350"/>
                <a:gd name="connsiteX1" fmla="*/ 156210 w 156209"/>
                <a:gd name="connsiteY1" fmla="*/ 0 h 6350"/>
              </a:gdLst>
              <a:ahLst/>
              <a:cxnLst>
                <a:cxn ang="0">
                  <a:pos x="connsiteX0" y="connsiteY0"/>
                </a:cxn>
                <a:cxn ang="0">
                  <a:pos x="connsiteX1" y="connsiteY1"/>
                </a:cxn>
              </a:cxnLst>
              <a:rect l="l" t="t" r="r" b="b"/>
              <a:pathLst>
                <a:path w="156209" h="6350">
                  <a:moveTo>
                    <a:pt x="0" y="0"/>
                  </a:moveTo>
                  <a:lnTo>
                    <a:pt x="156210" y="0"/>
                  </a:lnTo>
                </a:path>
              </a:pathLst>
            </a:custGeom>
            <a:ln w="9525" cap="flat">
              <a:solidFill>
                <a:srgbClr val="FFFFFF"/>
              </a:solidFill>
              <a:prstDash val="solid"/>
              <a:miter/>
            </a:ln>
          </p:spPr>
          <p:txBody>
            <a:bodyPr rtlCol="0" anchor="ctr"/>
            <a:lstStyle/>
            <a:p>
              <a:endParaRPr lang="sv-SE"/>
            </a:p>
          </p:txBody>
        </p:sp>
        <p:sp>
          <p:nvSpPr>
            <p:cNvPr id="73" name="Freeform 72">
              <a:extLst>
                <a:ext uri="{FF2B5EF4-FFF2-40B4-BE49-F238E27FC236}">
                  <a16:creationId xmlns:a16="http://schemas.microsoft.com/office/drawing/2014/main" id="{6C54963C-4794-58F9-E255-A9A2C0C5055C}"/>
                </a:ext>
              </a:extLst>
            </p:cNvPr>
            <p:cNvSpPr/>
            <p:nvPr/>
          </p:nvSpPr>
          <p:spPr>
            <a:xfrm>
              <a:off x="8351527" y="4818244"/>
              <a:ext cx="40580" cy="75482"/>
            </a:xfrm>
            <a:custGeom>
              <a:avLst/>
              <a:gdLst>
                <a:gd name="connsiteX0" fmla="*/ 43561 w 43560"/>
                <a:gd name="connsiteY0" fmla="*/ 81026 h 81025"/>
                <a:gd name="connsiteX1" fmla="*/ 0 w 43560"/>
                <a:gd name="connsiteY1" fmla="*/ 40513 h 81025"/>
                <a:gd name="connsiteX2" fmla="*/ 43561 w 43560"/>
                <a:gd name="connsiteY2" fmla="*/ 0 h 81025"/>
              </a:gdLst>
              <a:ahLst/>
              <a:cxnLst>
                <a:cxn ang="0">
                  <a:pos x="connsiteX0" y="connsiteY0"/>
                </a:cxn>
                <a:cxn ang="0">
                  <a:pos x="connsiteX1" y="connsiteY1"/>
                </a:cxn>
                <a:cxn ang="0">
                  <a:pos x="connsiteX2" y="connsiteY2"/>
                </a:cxn>
              </a:cxnLst>
              <a:rect l="l" t="t" r="r" b="b"/>
              <a:pathLst>
                <a:path w="43560" h="81025">
                  <a:moveTo>
                    <a:pt x="43561" y="81026"/>
                  </a:moveTo>
                  <a:lnTo>
                    <a:pt x="0" y="40513"/>
                  </a:lnTo>
                  <a:lnTo>
                    <a:pt x="43561" y="0"/>
                  </a:lnTo>
                </a:path>
              </a:pathLst>
            </a:custGeom>
            <a:noFill/>
            <a:ln w="9525" cap="flat">
              <a:solidFill>
                <a:srgbClr val="FFFFFF"/>
              </a:solidFill>
              <a:prstDash val="solid"/>
              <a:miter/>
            </a:ln>
          </p:spPr>
          <p:txBody>
            <a:bodyPr rtlCol="0" anchor="ctr"/>
            <a:lstStyle/>
            <a:p>
              <a:endParaRPr lang="sv-SE"/>
            </a:p>
          </p:txBody>
        </p:sp>
        <p:sp>
          <p:nvSpPr>
            <p:cNvPr id="74" name="Freeform 73">
              <a:extLst>
                <a:ext uri="{FF2B5EF4-FFF2-40B4-BE49-F238E27FC236}">
                  <a16:creationId xmlns:a16="http://schemas.microsoft.com/office/drawing/2014/main" id="{50F99928-C8E8-AD91-59AE-7B2E3BB28017}"/>
                </a:ext>
              </a:extLst>
            </p:cNvPr>
            <p:cNvSpPr/>
            <p:nvPr/>
          </p:nvSpPr>
          <p:spPr>
            <a:xfrm>
              <a:off x="9642355" y="3784273"/>
              <a:ext cx="242836" cy="485671"/>
            </a:xfrm>
            <a:custGeom>
              <a:avLst/>
              <a:gdLst>
                <a:gd name="connsiteX0" fmla="*/ 260668 w 260667"/>
                <a:gd name="connsiteY0" fmla="*/ 472504 h 521335"/>
                <a:gd name="connsiteX1" fmla="*/ 211772 w 260667"/>
                <a:gd name="connsiteY1" fmla="*/ 521335 h 521335"/>
                <a:gd name="connsiteX2" fmla="*/ 48895 w 260667"/>
                <a:gd name="connsiteY2" fmla="*/ 521335 h 521335"/>
                <a:gd name="connsiteX3" fmla="*/ 0 w 260667"/>
                <a:gd name="connsiteY3" fmla="*/ 472504 h 521335"/>
                <a:gd name="connsiteX4" fmla="*/ 0 w 260667"/>
                <a:gd name="connsiteY4" fmla="*/ 48832 h 521335"/>
                <a:gd name="connsiteX5" fmla="*/ 48895 w 260667"/>
                <a:gd name="connsiteY5" fmla="*/ 0 h 521335"/>
                <a:gd name="connsiteX6" fmla="*/ 211772 w 260667"/>
                <a:gd name="connsiteY6" fmla="*/ 0 h 521335"/>
                <a:gd name="connsiteX7" fmla="*/ 260668 w 260667"/>
                <a:gd name="connsiteY7" fmla="*/ 48832 h 521335"/>
                <a:gd name="connsiteX8" fmla="*/ 260668 w 260667"/>
                <a:gd name="connsiteY8" fmla="*/ 472504 h 5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667" h="521335">
                  <a:moveTo>
                    <a:pt x="260668" y="472504"/>
                  </a:moveTo>
                  <a:lnTo>
                    <a:pt x="211772" y="521335"/>
                  </a:lnTo>
                  <a:lnTo>
                    <a:pt x="48895" y="521335"/>
                  </a:lnTo>
                  <a:lnTo>
                    <a:pt x="0" y="472504"/>
                  </a:lnTo>
                  <a:lnTo>
                    <a:pt x="0" y="48832"/>
                  </a:lnTo>
                  <a:lnTo>
                    <a:pt x="48895" y="0"/>
                  </a:lnTo>
                  <a:lnTo>
                    <a:pt x="211772" y="0"/>
                  </a:lnTo>
                  <a:lnTo>
                    <a:pt x="260668" y="48832"/>
                  </a:lnTo>
                  <a:lnTo>
                    <a:pt x="260668" y="472504"/>
                  </a:lnTo>
                  <a:close/>
                </a:path>
              </a:pathLst>
            </a:custGeom>
            <a:solidFill>
              <a:srgbClr val="FFFFFF"/>
            </a:solidFill>
            <a:ln w="0" cap="flat">
              <a:noFill/>
              <a:prstDash val="solid"/>
              <a:miter/>
            </a:ln>
          </p:spPr>
          <p:txBody>
            <a:bodyPr rtlCol="0" anchor="ctr"/>
            <a:lstStyle/>
            <a:p>
              <a:endParaRPr lang="sv-SE"/>
            </a:p>
          </p:txBody>
        </p:sp>
        <p:sp>
          <p:nvSpPr>
            <p:cNvPr id="75" name="Freeform 74">
              <a:extLst>
                <a:ext uri="{FF2B5EF4-FFF2-40B4-BE49-F238E27FC236}">
                  <a16:creationId xmlns:a16="http://schemas.microsoft.com/office/drawing/2014/main" id="{BF6DA0E4-2960-833D-0725-286EF8A09851}"/>
                </a:ext>
              </a:extLst>
            </p:cNvPr>
            <p:cNvSpPr/>
            <p:nvPr/>
          </p:nvSpPr>
          <p:spPr>
            <a:xfrm>
              <a:off x="9095930" y="3910866"/>
              <a:ext cx="667872" cy="480524"/>
            </a:xfrm>
            <a:custGeom>
              <a:avLst/>
              <a:gdLst>
                <a:gd name="connsiteX0" fmla="*/ 0 w 716915"/>
                <a:gd name="connsiteY0" fmla="*/ 0 h 515810"/>
                <a:gd name="connsiteX1" fmla="*/ 398082 w 716915"/>
                <a:gd name="connsiteY1" fmla="*/ 0 h 515810"/>
                <a:gd name="connsiteX2" fmla="*/ 463296 w 716915"/>
                <a:gd name="connsiteY2" fmla="*/ 65151 h 515810"/>
                <a:gd name="connsiteX3" fmla="*/ 463296 w 716915"/>
                <a:gd name="connsiteY3" fmla="*/ 450659 h 515810"/>
                <a:gd name="connsiteX4" fmla="*/ 528447 w 716915"/>
                <a:gd name="connsiteY4" fmla="*/ 515810 h 515810"/>
                <a:gd name="connsiteX5" fmla="*/ 651701 w 716915"/>
                <a:gd name="connsiteY5" fmla="*/ 515810 h 515810"/>
                <a:gd name="connsiteX6" fmla="*/ 716915 w 716915"/>
                <a:gd name="connsiteY6" fmla="*/ 450659 h 515810"/>
                <a:gd name="connsiteX7" fmla="*/ 716915 w 716915"/>
                <a:gd name="connsiteY7" fmla="*/ 191834 h 51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915" h="515810">
                  <a:moveTo>
                    <a:pt x="0" y="0"/>
                  </a:moveTo>
                  <a:lnTo>
                    <a:pt x="398082" y="0"/>
                  </a:lnTo>
                  <a:lnTo>
                    <a:pt x="463296" y="65151"/>
                  </a:lnTo>
                  <a:lnTo>
                    <a:pt x="463296" y="450659"/>
                  </a:lnTo>
                  <a:lnTo>
                    <a:pt x="528447" y="515810"/>
                  </a:lnTo>
                  <a:lnTo>
                    <a:pt x="651701" y="515810"/>
                  </a:lnTo>
                  <a:lnTo>
                    <a:pt x="716915" y="450659"/>
                  </a:lnTo>
                  <a:lnTo>
                    <a:pt x="716915" y="191834"/>
                  </a:lnTo>
                </a:path>
              </a:pathLst>
            </a:custGeom>
            <a:noFill/>
            <a:ln w="9525" cap="flat">
              <a:solidFill>
                <a:srgbClr val="FFFFFF"/>
              </a:solidFill>
              <a:prstDash val="solid"/>
              <a:miter/>
            </a:ln>
          </p:spPr>
          <p:txBody>
            <a:bodyPr rtlCol="0" anchor="ctr"/>
            <a:lstStyle/>
            <a:p>
              <a:endParaRPr lang="sv-SE"/>
            </a:p>
          </p:txBody>
        </p:sp>
        <p:sp>
          <p:nvSpPr>
            <p:cNvPr id="76" name="Freeform 75">
              <a:extLst>
                <a:ext uri="{FF2B5EF4-FFF2-40B4-BE49-F238E27FC236}">
                  <a16:creationId xmlns:a16="http://schemas.microsoft.com/office/drawing/2014/main" id="{633F14A3-9844-C480-C961-71C13F3DD437}"/>
                </a:ext>
              </a:extLst>
            </p:cNvPr>
            <p:cNvSpPr/>
            <p:nvPr/>
          </p:nvSpPr>
          <p:spPr>
            <a:xfrm>
              <a:off x="9095930" y="3873125"/>
              <a:ext cx="40580" cy="75483"/>
            </a:xfrm>
            <a:custGeom>
              <a:avLst/>
              <a:gdLst>
                <a:gd name="connsiteX0" fmla="*/ 43561 w 43560"/>
                <a:gd name="connsiteY0" fmla="*/ 81026 h 81026"/>
                <a:gd name="connsiteX1" fmla="*/ 0 w 43560"/>
                <a:gd name="connsiteY1" fmla="*/ 40513 h 81026"/>
                <a:gd name="connsiteX2" fmla="*/ 43561 w 43560"/>
                <a:gd name="connsiteY2" fmla="*/ 0 h 81026"/>
              </a:gdLst>
              <a:ahLst/>
              <a:cxnLst>
                <a:cxn ang="0">
                  <a:pos x="connsiteX0" y="connsiteY0"/>
                </a:cxn>
                <a:cxn ang="0">
                  <a:pos x="connsiteX1" y="connsiteY1"/>
                </a:cxn>
                <a:cxn ang="0">
                  <a:pos x="connsiteX2" y="connsiteY2"/>
                </a:cxn>
              </a:cxnLst>
              <a:rect l="l" t="t" r="r" b="b"/>
              <a:pathLst>
                <a:path w="43560" h="81026">
                  <a:moveTo>
                    <a:pt x="43561" y="81026"/>
                  </a:moveTo>
                  <a:lnTo>
                    <a:pt x="0" y="40513"/>
                  </a:lnTo>
                  <a:lnTo>
                    <a:pt x="43561" y="0"/>
                  </a:lnTo>
                </a:path>
              </a:pathLst>
            </a:custGeom>
            <a:noFill/>
            <a:ln w="9525" cap="flat">
              <a:solidFill>
                <a:srgbClr val="FFFFFF"/>
              </a:solidFill>
              <a:prstDash val="solid"/>
              <a:miter/>
            </a:ln>
          </p:spPr>
          <p:txBody>
            <a:bodyPr rtlCol="0" anchor="ctr"/>
            <a:lstStyle/>
            <a:p>
              <a:endParaRPr lang="sv-SE"/>
            </a:p>
          </p:txBody>
        </p:sp>
        <p:sp>
          <p:nvSpPr>
            <p:cNvPr id="77" name="Freeform 76">
              <a:extLst>
                <a:ext uri="{FF2B5EF4-FFF2-40B4-BE49-F238E27FC236}">
                  <a16:creationId xmlns:a16="http://schemas.microsoft.com/office/drawing/2014/main" id="{7B694B4A-1B75-3C72-1C9B-14E531774B8E}"/>
                </a:ext>
              </a:extLst>
            </p:cNvPr>
            <p:cNvSpPr/>
            <p:nvPr/>
          </p:nvSpPr>
          <p:spPr>
            <a:xfrm>
              <a:off x="9620940" y="3286652"/>
              <a:ext cx="273242" cy="258039"/>
            </a:xfrm>
            <a:custGeom>
              <a:avLst/>
              <a:gdLst>
                <a:gd name="connsiteX0" fmla="*/ 0 w 293306"/>
                <a:gd name="connsiteY0" fmla="*/ 0 h 276987"/>
                <a:gd name="connsiteX1" fmla="*/ 293306 w 293306"/>
                <a:gd name="connsiteY1" fmla="*/ 0 h 276987"/>
                <a:gd name="connsiteX2" fmla="*/ 293306 w 293306"/>
                <a:gd name="connsiteY2" fmla="*/ 32575 h 276987"/>
                <a:gd name="connsiteX3" fmla="*/ 276924 w 293306"/>
                <a:gd name="connsiteY3" fmla="*/ 32575 h 276987"/>
                <a:gd name="connsiteX4" fmla="*/ 276924 w 293306"/>
                <a:gd name="connsiteY4" fmla="*/ 244411 h 276987"/>
                <a:gd name="connsiteX5" fmla="*/ 277050 w 293306"/>
                <a:gd name="connsiteY5" fmla="*/ 244411 h 276987"/>
                <a:gd name="connsiteX6" fmla="*/ 276924 w 293306"/>
                <a:gd name="connsiteY6" fmla="*/ 244537 h 276987"/>
                <a:gd name="connsiteX7" fmla="*/ 276924 w 293306"/>
                <a:gd name="connsiteY7" fmla="*/ 245825 h 276987"/>
                <a:gd name="connsiteX8" fmla="*/ 275633 w 293306"/>
                <a:gd name="connsiteY8" fmla="*/ 245825 h 276987"/>
                <a:gd name="connsiteX9" fmla="*/ 244411 w 293306"/>
                <a:gd name="connsiteY9" fmla="*/ 276987 h 276987"/>
                <a:gd name="connsiteX10" fmla="*/ 244411 w 293306"/>
                <a:gd name="connsiteY10" fmla="*/ 245825 h 276987"/>
                <a:gd name="connsiteX11" fmla="*/ 244348 w 293306"/>
                <a:gd name="connsiteY11" fmla="*/ 245825 h 276987"/>
                <a:gd name="connsiteX12" fmla="*/ 244348 w 293306"/>
                <a:gd name="connsiteY12" fmla="*/ 276987 h 276987"/>
                <a:gd name="connsiteX13" fmla="*/ 48832 w 293306"/>
                <a:gd name="connsiteY13" fmla="*/ 276987 h 276987"/>
                <a:gd name="connsiteX14" fmla="*/ 48831 w 293306"/>
                <a:gd name="connsiteY14" fmla="*/ 276987 h 276987"/>
                <a:gd name="connsiteX15" fmla="*/ 48831 w 293306"/>
                <a:gd name="connsiteY15" fmla="*/ 276986 h 276987"/>
                <a:gd name="connsiteX16" fmla="*/ 17670 w 293306"/>
                <a:gd name="connsiteY16" fmla="*/ 245825 h 276987"/>
                <a:gd name="connsiteX17" fmla="*/ 16256 w 293306"/>
                <a:gd name="connsiteY17" fmla="*/ 245825 h 276987"/>
                <a:gd name="connsiteX18" fmla="*/ 16256 w 293306"/>
                <a:gd name="connsiteY18" fmla="*/ 244411 h 276987"/>
                <a:gd name="connsiteX19" fmla="*/ 16256 w 293306"/>
                <a:gd name="connsiteY19" fmla="*/ 32575 h 276987"/>
                <a:gd name="connsiteX20" fmla="*/ 0 w 293306"/>
                <a:gd name="connsiteY20" fmla="*/ 32575 h 27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3306" h="276987">
                  <a:moveTo>
                    <a:pt x="0" y="0"/>
                  </a:moveTo>
                  <a:lnTo>
                    <a:pt x="293306" y="0"/>
                  </a:lnTo>
                  <a:lnTo>
                    <a:pt x="293306" y="32575"/>
                  </a:lnTo>
                  <a:lnTo>
                    <a:pt x="276924" y="32575"/>
                  </a:lnTo>
                  <a:lnTo>
                    <a:pt x="276924" y="244411"/>
                  </a:lnTo>
                  <a:lnTo>
                    <a:pt x="277050" y="244411"/>
                  </a:lnTo>
                  <a:lnTo>
                    <a:pt x="276924" y="244537"/>
                  </a:lnTo>
                  <a:lnTo>
                    <a:pt x="276924" y="245825"/>
                  </a:lnTo>
                  <a:lnTo>
                    <a:pt x="275633" y="245825"/>
                  </a:lnTo>
                  <a:lnTo>
                    <a:pt x="244411" y="276987"/>
                  </a:lnTo>
                  <a:lnTo>
                    <a:pt x="244411" y="245825"/>
                  </a:lnTo>
                  <a:lnTo>
                    <a:pt x="244348" y="245825"/>
                  </a:lnTo>
                  <a:lnTo>
                    <a:pt x="244348" y="276987"/>
                  </a:lnTo>
                  <a:lnTo>
                    <a:pt x="48832" y="276987"/>
                  </a:lnTo>
                  <a:lnTo>
                    <a:pt x="48831" y="276987"/>
                  </a:lnTo>
                  <a:lnTo>
                    <a:pt x="48831" y="276986"/>
                  </a:lnTo>
                  <a:lnTo>
                    <a:pt x="17670" y="245825"/>
                  </a:lnTo>
                  <a:lnTo>
                    <a:pt x="16256" y="245825"/>
                  </a:lnTo>
                  <a:lnTo>
                    <a:pt x="16256" y="244411"/>
                  </a:lnTo>
                  <a:lnTo>
                    <a:pt x="16256" y="32575"/>
                  </a:lnTo>
                  <a:lnTo>
                    <a:pt x="0" y="32575"/>
                  </a:lnTo>
                  <a:close/>
                </a:path>
              </a:pathLst>
            </a:custGeom>
            <a:solidFill>
              <a:srgbClr val="FFFFFF"/>
            </a:solidFill>
            <a:ln w="0" cap="flat">
              <a:noFill/>
              <a:prstDash val="solid"/>
              <a:miter/>
            </a:ln>
          </p:spPr>
          <p:txBody>
            <a:bodyPr rtlCol="0" anchor="ctr"/>
            <a:lstStyle/>
            <a:p>
              <a:endParaRPr lang="sv-SE"/>
            </a:p>
          </p:txBody>
        </p:sp>
        <p:sp>
          <p:nvSpPr>
            <p:cNvPr id="78" name="Freeform 77">
              <a:extLst>
                <a:ext uri="{FF2B5EF4-FFF2-40B4-BE49-F238E27FC236}">
                  <a16:creationId xmlns:a16="http://schemas.microsoft.com/office/drawing/2014/main" id="{99A736F5-72A5-5EED-3155-AD65E3B302F7}"/>
                </a:ext>
              </a:extLst>
            </p:cNvPr>
            <p:cNvSpPr/>
            <p:nvPr/>
          </p:nvSpPr>
          <p:spPr>
            <a:xfrm>
              <a:off x="9763803" y="3544691"/>
              <a:ext cx="0" cy="233252"/>
            </a:xfrm>
            <a:custGeom>
              <a:avLst/>
              <a:gdLst>
                <a:gd name="connsiteX0" fmla="*/ 0 w 6350"/>
                <a:gd name="connsiteY0" fmla="*/ 250380 h 250380"/>
                <a:gd name="connsiteX1" fmla="*/ 0 w 6350"/>
                <a:gd name="connsiteY1" fmla="*/ 0 h 250380"/>
              </a:gdLst>
              <a:ahLst/>
              <a:cxnLst>
                <a:cxn ang="0">
                  <a:pos x="connsiteX0" y="connsiteY0"/>
                </a:cxn>
                <a:cxn ang="0">
                  <a:pos x="connsiteX1" y="connsiteY1"/>
                </a:cxn>
              </a:cxnLst>
              <a:rect l="l" t="t" r="r" b="b"/>
              <a:pathLst>
                <a:path w="6350" h="250380">
                  <a:moveTo>
                    <a:pt x="0" y="250380"/>
                  </a:moveTo>
                  <a:lnTo>
                    <a:pt x="0" y="0"/>
                  </a:lnTo>
                </a:path>
              </a:pathLst>
            </a:custGeom>
            <a:ln w="9525" cap="flat">
              <a:solidFill>
                <a:srgbClr val="FFFFFF"/>
              </a:solidFill>
              <a:prstDash val="solid"/>
              <a:miter/>
            </a:ln>
          </p:spPr>
          <p:txBody>
            <a:bodyPr rtlCol="0" anchor="ctr"/>
            <a:lstStyle/>
            <a:p>
              <a:endParaRPr lang="sv-SE"/>
            </a:p>
          </p:txBody>
        </p:sp>
        <p:sp>
          <p:nvSpPr>
            <p:cNvPr id="79" name="Freeform 78">
              <a:extLst>
                <a:ext uri="{FF2B5EF4-FFF2-40B4-BE49-F238E27FC236}">
                  <a16:creationId xmlns:a16="http://schemas.microsoft.com/office/drawing/2014/main" id="{5072AA11-97CB-5CA3-E801-71D4F3C3F452}"/>
                </a:ext>
              </a:extLst>
            </p:cNvPr>
            <p:cNvSpPr/>
            <p:nvPr/>
          </p:nvSpPr>
          <p:spPr>
            <a:xfrm>
              <a:off x="9726061" y="3737361"/>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a:p>
          </p:txBody>
        </p:sp>
        <p:sp>
          <p:nvSpPr>
            <p:cNvPr id="80" name="Freeform 79">
              <a:extLst>
                <a:ext uri="{FF2B5EF4-FFF2-40B4-BE49-F238E27FC236}">
                  <a16:creationId xmlns:a16="http://schemas.microsoft.com/office/drawing/2014/main" id="{6DFD96D0-89A0-EC4D-BFFD-60111D0EDBA2}"/>
                </a:ext>
              </a:extLst>
            </p:cNvPr>
            <p:cNvSpPr/>
            <p:nvPr/>
          </p:nvSpPr>
          <p:spPr>
            <a:xfrm>
              <a:off x="9760813" y="3047070"/>
              <a:ext cx="0" cy="233312"/>
            </a:xfrm>
            <a:custGeom>
              <a:avLst/>
              <a:gdLst>
                <a:gd name="connsiteX0" fmla="*/ 0 w 6350"/>
                <a:gd name="connsiteY0" fmla="*/ 250444 h 250444"/>
                <a:gd name="connsiteX1" fmla="*/ 0 w 6350"/>
                <a:gd name="connsiteY1" fmla="*/ 0 h 250444"/>
              </a:gdLst>
              <a:ahLst/>
              <a:cxnLst>
                <a:cxn ang="0">
                  <a:pos x="connsiteX0" y="connsiteY0"/>
                </a:cxn>
                <a:cxn ang="0">
                  <a:pos x="connsiteX1" y="connsiteY1"/>
                </a:cxn>
              </a:cxnLst>
              <a:rect l="l" t="t" r="r" b="b"/>
              <a:pathLst>
                <a:path w="6350" h="250444">
                  <a:moveTo>
                    <a:pt x="0" y="250444"/>
                  </a:moveTo>
                  <a:lnTo>
                    <a:pt x="0" y="0"/>
                  </a:lnTo>
                </a:path>
              </a:pathLst>
            </a:custGeom>
            <a:ln w="9525" cap="flat">
              <a:solidFill>
                <a:srgbClr val="FFFFFF"/>
              </a:solidFill>
              <a:prstDash val="solid"/>
              <a:miter/>
            </a:ln>
          </p:spPr>
          <p:txBody>
            <a:bodyPr rtlCol="0" anchor="ctr"/>
            <a:lstStyle/>
            <a:p>
              <a:endParaRPr lang="sv-SE"/>
            </a:p>
          </p:txBody>
        </p:sp>
        <p:sp>
          <p:nvSpPr>
            <p:cNvPr id="81" name="Freeform 80">
              <a:extLst>
                <a:ext uri="{FF2B5EF4-FFF2-40B4-BE49-F238E27FC236}">
                  <a16:creationId xmlns:a16="http://schemas.microsoft.com/office/drawing/2014/main" id="{9B3B8CCE-F562-3114-675E-550CC2E3D3FE}"/>
                </a:ext>
              </a:extLst>
            </p:cNvPr>
            <p:cNvSpPr/>
            <p:nvPr/>
          </p:nvSpPr>
          <p:spPr>
            <a:xfrm>
              <a:off x="9726061" y="3239801"/>
              <a:ext cx="75483" cy="40580"/>
            </a:xfrm>
            <a:custGeom>
              <a:avLst/>
              <a:gdLst>
                <a:gd name="connsiteX0" fmla="*/ 81026 w 81026"/>
                <a:gd name="connsiteY0" fmla="*/ 0 h 43560"/>
                <a:gd name="connsiteX1" fmla="*/ 40513 w 81026"/>
                <a:gd name="connsiteY1" fmla="*/ 43561 h 43560"/>
                <a:gd name="connsiteX2" fmla="*/ 0 w 81026"/>
                <a:gd name="connsiteY2" fmla="*/ 0 h 43560"/>
              </a:gdLst>
              <a:ahLst/>
              <a:cxnLst>
                <a:cxn ang="0">
                  <a:pos x="connsiteX0" y="connsiteY0"/>
                </a:cxn>
                <a:cxn ang="0">
                  <a:pos x="connsiteX1" y="connsiteY1"/>
                </a:cxn>
                <a:cxn ang="0">
                  <a:pos x="connsiteX2" y="connsiteY2"/>
                </a:cxn>
              </a:cxnLst>
              <a:rect l="l" t="t" r="r" b="b"/>
              <a:pathLst>
                <a:path w="81026" h="43560">
                  <a:moveTo>
                    <a:pt x="81026" y="0"/>
                  </a:moveTo>
                  <a:lnTo>
                    <a:pt x="40513" y="43561"/>
                  </a:lnTo>
                  <a:lnTo>
                    <a:pt x="0" y="0"/>
                  </a:lnTo>
                </a:path>
              </a:pathLst>
            </a:custGeom>
            <a:noFill/>
            <a:ln w="9525" cap="flat">
              <a:solidFill>
                <a:srgbClr val="FFFFFF"/>
              </a:solidFill>
              <a:prstDash val="solid"/>
              <a:miter/>
            </a:ln>
          </p:spPr>
          <p:txBody>
            <a:bodyPr rtlCol="0" anchor="ctr"/>
            <a:lstStyle/>
            <a:p>
              <a:endParaRPr lang="sv-SE"/>
            </a:p>
          </p:txBody>
        </p:sp>
        <p:sp>
          <p:nvSpPr>
            <p:cNvPr id="82" name="Freeform 81">
              <a:extLst>
                <a:ext uri="{FF2B5EF4-FFF2-40B4-BE49-F238E27FC236}">
                  <a16:creationId xmlns:a16="http://schemas.microsoft.com/office/drawing/2014/main" id="{6F97B13B-1A21-6F42-56D5-3CFFAC604CAC}"/>
                </a:ext>
              </a:extLst>
            </p:cNvPr>
            <p:cNvSpPr/>
            <p:nvPr/>
          </p:nvSpPr>
          <p:spPr>
            <a:xfrm>
              <a:off x="3507769" y="1843818"/>
              <a:ext cx="614631" cy="878526"/>
            </a:xfrm>
            <a:custGeom>
              <a:avLst/>
              <a:gdLst>
                <a:gd name="connsiteX0" fmla="*/ 360553 w 659764"/>
                <a:gd name="connsiteY0" fmla="*/ 0 h 943038"/>
                <a:gd name="connsiteX1" fmla="*/ 143129 w 659764"/>
                <a:gd name="connsiteY1" fmla="*/ 0 h 943038"/>
                <a:gd name="connsiteX2" fmla="*/ 0 w 659764"/>
                <a:gd name="connsiteY2" fmla="*/ 142367 h 943038"/>
                <a:gd name="connsiteX3" fmla="*/ 0 w 659764"/>
                <a:gd name="connsiteY3" fmla="*/ 377571 h 943038"/>
                <a:gd name="connsiteX4" fmla="*/ 143129 w 659764"/>
                <a:gd name="connsiteY4" fmla="*/ 519938 h 943038"/>
                <a:gd name="connsiteX5" fmla="*/ 516636 w 659764"/>
                <a:gd name="connsiteY5" fmla="*/ 519938 h 943038"/>
                <a:gd name="connsiteX6" fmla="*/ 659765 w 659764"/>
                <a:gd name="connsiteY6" fmla="*/ 662305 h 943038"/>
                <a:gd name="connsiteX7" fmla="*/ 659765 w 659764"/>
                <a:gd name="connsiteY7" fmla="*/ 943039 h 9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9764" h="943038">
                  <a:moveTo>
                    <a:pt x="360553" y="0"/>
                  </a:moveTo>
                  <a:lnTo>
                    <a:pt x="143129" y="0"/>
                  </a:lnTo>
                  <a:cubicBezTo>
                    <a:pt x="64071" y="0"/>
                    <a:pt x="0" y="63754"/>
                    <a:pt x="0" y="142367"/>
                  </a:cubicBezTo>
                  <a:lnTo>
                    <a:pt x="0" y="377571"/>
                  </a:lnTo>
                  <a:cubicBezTo>
                    <a:pt x="0" y="456184"/>
                    <a:pt x="64071" y="519938"/>
                    <a:pt x="143129" y="519938"/>
                  </a:cubicBezTo>
                  <a:lnTo>
                    <a:pt x="516636" y="519938"/>
                  </a:lnTo>
                  <a:cubicBezTo>
                    <a:pt x="595694" y="519938"/>
                    <a:pt x="659765" y="583692"/>
                    <a:pt x="659765" y="662305"/>
                  </a:cubicBezTo>
                  <a:lnTo>
                    <a:pt x="659765" y="943039"/>
                  </a:lnTo>
                </a:path>
              </a:pathLst>
            </a:custGeom>
            <a:noFill/>
            <a:ln w="15875" cap="rnd">
              <a:solidFill>
                <a:srgbClr val="FFFFFF"/>
              </a:solidFill>
              <a:prstDash val="sysDot"/>
              <a:miter/>
            </a:ln>
          </p:spPr>
          <p:txBody>
            <a:bodyPr rtlCol="0" anchor="ctr"/>
            <a:lstStyle/>
            <a:p>
              <a:endParaRPr lang="sv-SE"/>
            </a:p>
          </p:txBody>
        </p:sp>
        <p:sp>
          <p:nvSpPr>
            <p:cNvPr id="83" name="Freeform 82">
              <a:extLst>
                <a:ext uri="{FF2B5EF4-FFF2-40B4-BE49-F238E27FC236}">
                  <a16:creationId xmlns:a16="http://schemas.microsoft.com/office/drawing/2014/main" id="{3F7AEA48-837D-8891-1D04-010970B01DC7}"/>
                </a:ext>
              </a:extLst>
            </p:cNvPr>
            <p:cNvSpPr/>
            <p:nvPr/>
          </p:nvSpPr>
          <p:spPr>
            <a:xfrm>
              <a:off x="8070713" y="1843818"/>
              <a:ext cx="614632" cy="878526"/>
            </a:xfrm>
            <a:custGeom>
              <a:avLst/>
              <a:gdLst>
                <a:gd name="connsiteX0" fmla="*/ 299212 w 659765"/>
                <a:gd name="connsiteY0" fmla="*/ 0 h 943038"/>
                <a:gd name="connsiteX1" fmla="*/ 516636 w 659765"/>
                <a:gd name="connsiteY1" fmla="*/ 0 h 943038"/>
                <a:gd name="connsiteX2" fmla="*/ 659765 w 659765"/>
                <a:gd name="connsiteY2" fmla="*/ 142367 h 943038"/>
                <a:gd name="connsiteX3" fmla="*/ 659765 w 659765"/>
                <a:gd name="connsiteY3" fmla="*/ 377571 h 943038"/>
                <a:gd name="connsiteX4" fmla="*/ 516636 w 659765"/>
                <a:gd name="connsiteY4" fmla="*/ 519938 h 943038"/>
                <a:gd name="connsiteX5" fmla="*/ 143129 w 659765"/>
                <a:gd name="connsiteY5" fmla="*/ 519938 h 943038"/>
                <a:gd name="connsiteX6" fmla="*/ 0 w 659765"/>
                <a:gd name="connsiteY6" fmla="*/ 662305 h 943038"/>
                <a:gd name="connsiteX7" fmla="*/ 0 w 659765"/>
                <a:gd name="connsiteY7" fmla="*/ 943039 h 9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9765" h="943038">
                  <a:moveTo>
                    <a:pt x="299212" y="0"/>
                  </a:moveTo>
                  <a:lnTo>
                    <a:pt x="516636" y="0"/>
                  </a:lnTo>
                  <a:cubicBezTo>
                    <a:pt x="595694" y="0"/>
                    <a:pt x="659765" y="63754"/>
                    <a:pt x="659765" y="142367"/>
                  </a:cubicBezTo>
                  <a:lnTo>
                    <a:pt x="659765" y="377571"/>
                  </a:lnTo>
                  <a:cubicBezTo>
                    <a:pt x="659765" y="456184"/>
                    <a:pt x="595694" y="519938"/>
                    <a:pt x="516636" y="519938"/>
                  </a:cubicBezTo>
                  <a:lnTo>
                    <a:pt x="143129" y="519938"/>
                  </a:lnTo>
                  <a:cubicBezTo>
                    <a:pt x="64071" y="519938"/>
                    <a:pt x="0" y="583692"/>
                    <a:pt x="0" y="662305"/>
                  </a:cubicBezTo>
                  <a:lnTo>
                    <a:pt x="0" y="943039"/>
                  </a:lnTo>
                </a:path>
              </a:pathLst>
            </a:custGeom>
            <a:noFill/>
            <a:ln w="15875" cap="rnd">
              <a:solidFill>
                <a:srgbClr val="FFFFFF"/>
              </a:solidFill>
              <a:prstDash val="sysDot"/>
              <a:miter/>
            </a:ln>
          </p:spPr>
          <p:txBody>
            <a:bodyPr rtlCol="0" anchor="ctr"/>
            <a:lstStyle/>
            <a:p>
              <a:endParaRPr lang="sv-SE"/>
            </a:p>
          </p:txBody>
        </p:sp>
        <p:sp>
          <p:nvSpPr>
            <p:cNvPr id="84" name="Freeform 83">
              <a:extLst>
                <a:ext uri="{FF2B5EF4-FFF2-40B4-BE49-F238E27FC236}">
                  <a16:creationId xmlns:a16="http://schemas.microsoft.com/office/drawing/2014/main" id="{E1A09D72-4821-6BEB-DCF0-301D37F7AD25}"/>
                </a:ext>
              </a:extLst>
            </p:cNvPr>
            <p:cNvSpPr/>
            <p:nvPr/>
          </p:nvSpPr>
          <p:spPr>
            <a:xfrm>
              <a:off x="8071956" y="4048566"/>
              <a:ext cx="0" cy="465912"/>
            </a:xfrm>
            <a:custGeom>
              <a:avLst/>
              <a:gdLst>
                <a:gd name="connsiteX0" fmla="*/ 0 w 6350"/>
                <a:gd name="connsiteY0" fmla="*/ 0 h 500125"/>
                <a:gd name="connsiteX1" fmla="*/ 0 w 6350"/>
                <a:gd name="connsiteY1" fmla="*/ 500126 h 500125"/>
              </a:gdLst>
              <a:ahLst/>
              <a:cxnLst>
                <a:cxn ang="0">
                  <a:pos x="connsiteX0" y="connsiteY0"/>
                </a:cxn>
                <a:cxn ang="0">
                  <a:pos x="connsiteX1" y="connsiteY1"/>
                </a:cxn>
              </a:cxnLst>
              <a:rect l="l" t="t" r="r" b="b"/>
              <a:pathLst>
                <a:path w="6350" h="500125">
                  <a:moveTo>
                    <a:pt x="0" y="0"/>
                  </a:moveTo>
                  <a:lnTo>
                    <a:pt x="0" y="500126"/>
                  </a:lnTo>
                </a:path>
              </a:pathLst>
            </a:custGeom>
            <a:ln w="15875" cap="rnd">
              <a:solidFill>
                <a:srgbClr val="FFFFFF"/>
              </a:solidFill>
              <a:prstDash val="sysDot"/>
              <a:miter/>
            </a:ln>
          </p:spPr>
          <p:txBody>
            <a:bodyPr rtlCol="0" anchor="ctr"/>
            <a:lstStyle/>
            <a:p>
              <a:endParaRPr lang="sv-SE"/>
            </a:p>
          </p:txBody>
        </p:sp>
        <p:sp>
          <p:nvSpPr>
            <p:cNvPr id="85" name="Freeform 84">
              <a:extLst>
                <a:ext uri="{FF2B5EF4-FFF2-40B4-BE49-F238E27FC236}">
                  <a16:creationId xmlns:a16="http://schemas.microsoft.com/office/drawing/2014/main" id="{0426EC5C-C553-00CE-02B4-8F111D63CA29}"/>
                </a:ext>
              </a:extLst>
            </p:cNvPr>
            <p:cNvSpPr/>
            <p:nvPr/>
          </p:nvSpPr>
          <p:spPr>
            <a:xfrm>
              <a:off x="8054564" y="4497027"/>
              <a:ext cx="33537" cy="232128"/>
            </a:xfrm>
            <a:custGeom>
              <a:avLst/>
              <a:gdLst>
                <a:gd name="connsiteX0" fmla="*/ 18669 w 37338"/>
                <a:gd name="connsiteY0" fmla="*/ 0 h 249174"/>
                <a:gd name="connsiteX1" fmla="*/ 0 w 37338"/>
                <a:gd name="connsiteY1" fmla="*/ 18669 h 249174"/>
                <a:gd name="connsiteX2" fmla="*/ 0 w 37338"/>
                <a:gd name="connsiteY2" fmla="*/ 230505 h 249174"/>
                <a:gd name="connsiteX3" fmla="*/ 18669 w 37338"/>
                <a:gd name="connsiteY3" fmla="*/ 249174 h 249174"/>
                <a:gd name="connsiteX4" fmla="*/ 37338 w 37338"/>
                <a:gd name="connsiteY4" fmla="*/ 230505 h 249174"/>
                <a:gd name="connsiteX5" fmla="*/ 37338 w 37338"/>
                <a:gd name="connsiteY5" fmla="*/ 18669 h 249174"/>
                <a:gd name="connsiteX6" fmla="*/ 18669 w 37338"/>
                <a:gd name="connsiteY6" fmla="*/ 0 h 24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249174">
                  <a:moveTo>
                    <a:pt x="18669" y="0"/>
                  </a:moveTo>
                  <a:cubicBezTo>
                    <a:pt x="8382" y="0"/>
                    <a:pt x="0" y="8382"/>
                    <a:pt x="0" y="18669"/>
                  </a:cubicBezTo>
                  <a:lnTo>
                    <a:pt x="0" y="230505"/>
                  </a:lnTo>
                  <a:cubicBezTo>
                    <a:pt x="0" y="240792"/>
                    <a:pt x="8382" y="249174"/>
                    <a:pt x="18669" y="249174"/>
                  </a:cubicBezTo>
                  <a:cubicBezTo>
                    <a:pt x="28956" y="249174"/>
                    <a:pt x="37338" y="240792"/>
                    <a:pt x="37338" y="230505"/>
                  </a:cubicBezTo>
                  <a:lnTo>
                    <a:pt x="37338" y="18669"/>
                  </a:lnTo>
                  <a:cubicBezTo>
                    <a:pt x="37338" y="8382"/>
                    <a:pt x="28956" y="0"/>
                    <a:pt x="18669" y="0"/>
                  </a:cubicBezTo>
                </a:path>
              </a:pathLst>
            </a:custGeom>
            <a:solidFill>
              <a:srgbClr val="0072BC"/>
            </a:solidFill>
            <a:ln w="9525" cap="flat">
              <a:solidFill>
                <a:srgbClr val="FFFFFF"/>
              </a:solidFill>
              <a:prstDash val="solid"/>
              <a:miter/>
            </a:ln>
          </p:spPr>
          <p:txBody>
            <a:bodyPr rtlCol="0" anchor="ctr"/>
            <a:lstStyle/>
            <a:p>
              <a:endParaRPr lang="sv-SE"/>
            </a:p>
          </p:txBody>
        </p:sp>
        <p:sp>
          <p:nvSpPr>
            <p:cNvPr id="86" name="Freeform 85">
              <a:extLst>
                <a:ext uri="{FF2B5EF4-FFF2-40B4-BE49-F238E27FC236}">
                  <a16:creationId xmlns:a16="http://schemas.microsoft.com/office/drawing/2014/main" id="{A926E03D-B693-FE59-14F5-DF1871020A1F}"/>
                </a:ext>
              </a:extLst>
            </p:cNvPr>
            <p:cNvSpPr/>
            <p:nvPr/>
          </p:nvSpPr>
          <p:spPr>
            <a:xfrm>
              <a:off x="8130461" y="4497027"/>
              <a:ext cx="33537" cy="232128"/>
            </a:xfrm>
            <a:custGeom>
              <a:avLst/>
              <a:gdLst>
                <a:gd name="connsiteX0" fmla="*/ 18669 w 37338"/>
                <a:gd name="connsiteY0" fmla="*/ 0 h 249174"/>
                <a:gd name="connsiteX1" fmla="*/ 0 w 37338"/>
                <a:gd name="connsiteY1" fmla="*/ 18669 h 249174"/>
                <a:gd name="connsiteX2" fmla="*/ 0 w 37338"/>
                <a:gd name="connsiteY2" fmla="*/ 230505 h 249174"/>
                <a:gd name="connsiteX3" fmla="*/ 18669 w 37338"/>
                <a:gd name="connsiteY3" fmla="*/ 249174 h 249174"/>
                <a:gd name="connsiteX4" fmla="*/ 37338 w 37338"/>
                <a:gd name="connsiteY4" fmla="*/ 230505 h 249174"/>
                <a:gd name="connsiteX5" fmla="*/ 37338 w 37338"/>
                <a:gd name="connsiteY5" fmla="*/ 18669 h 249174"/>
                <a:gd name="connsiteX6" fmla="*/ 18669 w 37338"/>
                <a:gd name="connsiteY6" fmla="*/ 0 h 24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249174">
                  <a:moveTo>
                    <a:pt x="18669" y="0"/>
                  </a:moveTo>
                  <a:cubicBezTo>
                    <a:pt x="8382" y="0"/>
                    <a:pt x="0" y="8382"/>
                    <a:pt x="0" y="18669"/>
                  </a:cubicBezTo>
                  <a:lnTo>
                    <a:pt x="0" y="230505"/>
                  </a:lnTo>
                  <a:cubicBezTo>
                    <a:pt x="0" y="240792"/>
                    <a:pt x="8382" y="249174"/>
                    <a:pt x="18669" y="249174"/>
                  </a:cubicBezTo>
                  <a:cubicBezTo>
                    <a:pt x="28956" y="249174"/>
                    <a:pt x="37338" y="240792"/>
                    <a:pt x="37338" y="230505"/>
                  </a:cubicBezTo>
                  <a:lnTo>
                    <a:pt x="37338" y="18669"/>
                  </a:lnTo>
                  <a:cubicBezTo>
                    <a:pt x="37338" y="8382"/>
                    <a:pt x="28956" y="0"/>
                    <a:pt x="18669" y="0"/>
                  </a:cubicBezTo>
                </a:path>
              </a:pathLst>
            </a:custGeom>
            <a:solidFill>
              <a:srgbClr val="0072BC"/>
            </a:solidFill>
            <a:ln w="9525" cap="flat">
              <a:solidFill>
                <a:srgbClr val="FFFFFF"/>
              </a:solidFill>
              <a:prstDash val="solid"/>
              <a:miter/>
            </a:ln>
          </p:spPr>
          <p:txBody>
            <a:bodyPr rtlCol="0" anchor="ctr"/>
            <a:lstStyle/>
            <a:p>
              <a:endParaRPr lang="sv-SE"/>
            </a:p>
          </p:txBody>
        </p:sp>
        <p:sp>
          <p:nvSpPr>
            <p:cNvPr id="87" name="Freeform 86">
              <a:extLst>
                <a:ext uri="{FF2B5EF4-FFF2-40B4-BE49-F238E27FC236}">
                  <a16:creationId xmlns:a16="http://schemas.microsoft.com/office/drawing/2014/main" id="{1965AA26-5E24-7FCC-47E8-C7F97ABE9D61}"/>
                </a:ext>
              </a:extLst>
            </p:cNvPr>
            <p:cNvSpPr/>
            <p:nvPr/>
          </p:nvSpPr>
          <p:spPr>
            <a:xfrm>
              <a:off x="7978667" y="4497027"/>
              <a:ext cx="33537" cy="232128"/>
            </a:xfrm>
            <a:custGeom>
              <a:avLst/>
              <a:gdLst>
                <a:gd name="connsiteX0" fmla="*/ 18669 w 37338"/>
                <a:gd name="connsiteY0" fmla="*/ 0 h 249174"/>
                <a:gd name="connsiteX1" fmla="*/ 0 w 37338"/>
                <a:gd name="connsiteY1" fmla="*/ 18669 h 249174"/>
                <a:gd name="connsiteX2" fmla="*/ 0 w 37338"/>
                <a:gd name="connsiteY2" fmla="*/ 230505 h 249174"/>
                <a:gd name="connsiteX3" fmla="*/ 18669 w 37338"/>
                <a:gd name="connsiteY3" fmla="*/ 249174 h 249174"/>
                <a:gd name="connsiteX4" fmla="*/ 37338 w 37338"/>
                <a:gd name="connsiteY4" fmla="*/ 230505 h 249174"/>
                <a:gd name="connsiteX5" fmla="*/ 37338 w 37338"/>
                <a:gd name="connsiteY5" fmla="*/ 18669 h 249174"/>
                <a:gd name="connsiteX6" fmla="*/ 18669 w 37338"/>
                <a:gd name="connsiteY6" fmla="*/ 0 h 24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249174">
                  <a:moveTo>
                    <a:pt x="18669" y="0"/>
                  </a:moveTo>
                  <a:cubicBezTo>
                    <a:pt x="8382" y="0"/>
                    <a:pt x="0" y="8382"/>
                    <a:pt x="0" y="18669"/>
                  </a:cubicBezTo>
                  <a:lnTo>
                    <a:pt x="0" y="230505"/>
                  </a:lnTo>
                  <a:cubicBezTo>
                    <a:pt x="0" y="240792"/>
                    <a:pt x="8382" y="249174"/>
                    <a:pt x="18669" y="249174"/>
                  </a:cubicBezTo>
                  <a:cubicBezTo>
                    <a:pt x="28956" y="249174"/>
                    <a:pt x="37338" y="240792"/>
                    <a:pt x="37338" y="230505"/>
                  </a:cubicBezTo>
                  <a:lnTo>
                    <a:pt x="37338" y="18669"/>
                  </a:lnTo>
                  <a:cubicBezTo>
                    <a:pt x="37338" y="8382"/>
                    <a:pt x="28956" y="0"/>
                    <a:pt x="18669" y="0"/>
                  </a:cubicBezTo>
                </a:path>
              </a:pathLst>
            </a:custGeom>
            <a:solidFill>
              <a:srgbClr val="0072BC"/>
            </a:solidFill>
            <a:ln w="9525" cap="flat">
              <a:solidFill>
                <a:srgbClr val="FFFFFF"/>
              </a:solidFill>
              <a:prstDash val="solid"/>
              <a:miter/>
            </a:ln>
          </p:spPr>
          <p:txBody>
            <a:bodyPr rtlCol="0" anchor="ctr"/>
            <a:lstStyle/>
            <a:p>
              <a:endParaRPr lang="sv-SE"/>
            </a:p>
          </p:txBody>
        </p:sp>
        <p:sp>
          <p:nvSpPr>
            <p:cNvPr id="88" name="TextBox 87">
              <a:extLst>
                <a:ext uri="{FF2B5EF4-FFF2-40B4-BE49-F238E27FC236}">
                  <a16:creationId xmlns:a16="http://schemas.microsoft.com/office/drawing/2014/main" id="{0FC79A29-43B8-834D-D545-4FCFD3135BA0}"/>
                </a:ext>
              </a:extLst>
            </p:cNvPr>
            <p:cNvSpPr txBox="1"/>
            <p:nvPr/>
          </p:nvSpPr>
          <p:spPr>
            <a:xfrm>
              <a:off x="5119903" y="1003183"/>
              <a:ext cx="1946856" cy="111505"/>
            </a:xfrm>
            <a:prstGeom prst="rect">
              <a:avLst/>
            </a:prstGeom>
            <a:noFill/>
          </p:spPr>
          <p:txBody>
            <a:bodyPr wrap="square" lIns="0" tIns="0" rIns="0" bIns="0" rtlCol="0">
              <a:spAutoFit/>
            </a:bodyPr>
            <a:lstStyle/>
            <a:p>
              <a:pPr algn="ctr">
                <a:lnSpc>
                  <a:spcPct val="90000"/>
                </a:lnSpc>
              </a:pPr>
              <a:r>
                <a:rPr lang="sv-SE" sz="800" dirty="0">
                  <a:solidFill>
                    <a:schemeClr val="bg1"/>
                  </a:solidFill>
                </a:rPr>
                <a:t>JÄRNMALMSKONCENTRAT</a:t>
              </a:r>
            </a:p>
          </p:txBody>
        </p:sp>
        <p:sp>
          <p:nvSpPr>
            <p:cNvPr id="89" name="TextBox 88">
              <a:extLst>
                <a:ext uri="{FF2B5EF4-FFF2-40B4-BE49-F238E27FC236}">
                  <a16:creationId xmlns:a16="http://schemas.microsoft.com/office/drawing/2014/main" id="{BFFC9FC0-FFA2-54B9-5D15-A651DE24C9F6}"/>
                </a:ext>
              </a:extLst>
            </p:cNvPr>
            <p:cNvSpPr txBox="1"/>
            <p:nvPr/>
          </p:nvSpPr>
          <p:spPr>
            <a:xfrm>
              <a:off x="3215799" y="1328662"/>
              <a:ext cx="604070" cy="18456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CO</a:t>
              </a:r>
              <a:r>
                <a:rPr lang="sv-SE" sz="800" baseline="-25000" dirty="0">
                  <a:solidFill>
                    <a:schemeClr val="bg1"/>
                  </a:solidFill>
                </a:rPr>
                <a:t>2</a:t>
              </a:r>
            </a:p>
          </p:txBody>
        </p:sp>
        <p:sp>
          <p:nvSpPr>
            <p:cNvPr id="90" name="TextBox 89">
              <a:extLst>
                <a:ext uri="{FF2B5EF4-FFF2-40B4-BE49-F238E27FC236}">
                  <a16:creationId xmlns:a16="http://schemas.microsoft.com/office/drawing/2014/main" id="{E02FA604-1B3E-1B7E-B862-051192B97445}"/>
                </a:ext>
              </a:extLst>
            </p:cNvPr>
            <p:cNvSpPr txBox="1"/>
            <p:nvPr/>
          </p:nvSpPr>
          <p:spPr>
            <a:xfrm>
              <a:off x="4870006" y="2094974"/>
              <a:ext cx="740399" cy="300692"/>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FOSSILA</a:t>
              </a:r>
              <a:br>
                <a:rPr lang="sv-SE" sz="800" dirty="0">
                  <a:solidFill>
                    <a:schemeClr val="bg1"/>
                  </a:solidFill>
                </a:rPr>
              </a:br>
              <a:r>
                <a:rPr lang="sv-SE" sz="800" dirty="0">
                  <a:solidFill>
                    <a:schemeClr val="bg1"/>
                  </a:solidFill>
                </a:rPr>
                <a:t>BRÄNSLEN</a:t>
              </a:r>
              <a:endParaRPr lang="sv-SE" sz="800" baseline="-25000" dirty="0">
                <a:solidFill>
                  <a:schemeClr val="bg1"/>
                </a:solidFill>
              </a:endParaRPr>
            </a:p>
          </p:txBody>
        </p:sp>
        <p:sp>
          <p:nvSpPr>
            <p:cNvPr id="91" name="TextBox 90">
              <a:extLst>
                <a:ext uri="{FF2B5EF4-FFF2-40B4-BE49-F238E27FC236}">
                  <a16:creationId xmlns:a16="http://schemas.microsoft.com/office/drawing/2014/main" id="{FE8AB31B-6F60-925C-936A-494F67AD47FE}"/>
                </a:ext>
              </a:extLst>
            </p:cNvPr>
            <p:cNvSpPr txBox="1"/>
            <p:nvPr/>
          </p:nvSpPr>
          <p:spPr>
            <a:xfrm>
              <a:off x="4240229" y="2339147"/>
              <a:ext cx="740399" cy="184569"/>
            </a:xfrm>
            <a:prstGeom prst="rect">
              <a:avLst/>
            </a:prstGeom>
            <a:noFill/>
          </p:spPr>
          <p:txBody>
            <a:bodyPr wrap="square" lIns="0" tIns="36000" rIns="0" bIns="36000" rtlCol="0" anchor="ctr">
              <a:spAutoFit/>
            </a:bodyPr>
            <a:lstStyle/>
            <a:p>
              <a:pPr>
                <a:lnSpc>
                  <a:spcPct val="90000"/>
                </a:lnSpc>
              </a:pPr>
              <a:r>
                <a:rPr lang="sv-SE" sz="800" dirty="0">
                  <a:solidFill>
                    <a:schemeClr val="bg1"/>
                  </a:solidFill>
                </a:rPr>
                <a:t>KOKS</a:t>
              </a:r>
              <a:endParaRPr lang="sv-SE" sz="800" baseline="-25000" dirty="0">
                <a:solidFill>
                  <a:schemeClr val="bg1"/>
                </a:solidFill>
              </a:endParaRPr>
            </a:p>
          </p:txBody>
        </p:sp>
        <p:sp>
          <p:nvSpPr>
            <p:cNvPr id="92" name="TextBox 91">
              <a:extLst>
                <a:ext uri="{FF2B5EF4-FFF2-40B4-BE49-F238E27FC236}">
                  <a16:creationId xmlns:a16="http://schemas.microsoft.com/office/drawing/2014/main" id="{1C87C261-0245-F5D3-D896-437F68CD592D}"/>
                </a:ext>
              </a:extLst>
            </p:cNvPr>
            <p:cNvSpPr txBox="1"/>
            <p:nvPr/>
          </p:nvSpPr>
          <p:spPr>
            <a:xfrm>
              <a:off x="2689048" y="1936922"/>
              <a:ext cx="740399" cy="300692"/>
            </a:xfrm>
            <a:prstGeom prst="rect">
              <a:avLst/>
            </a:prstGeom>
            <a:noFill/>
          </p:spPr>
          <p:txBody>
            <a:bodyPr wrap="square" lIns="0" tIns="36000" rIns="0" bIns="36000" rtlCol="0" anchor="ctr">
              <a:spAutoFit/>
            </a:bodyPr>
            <a:lstStyle/>
            <a:p>
              <a:pPr algn="r">
                <a:lnSpc>
                  <a:spcPct val="90000"/>
                </a:lnSpc>
              </a:pPr>
              <a:r>
                <a:rPr lang="sv-SE" sz="800" dirty="0">
                  <a:solidFill>
                    <a:schemeClr val="bg1"/>
                  </a:solidFill>
                </a:rPr>
                <a:t>JÄRNMALMS-</a:t>
              </a:r>
              <a:br>
                <a:rPr lang="sv-SE" sz="800" dirty="0">
                  <a:solidFill>
                    <a:schemeClr val="bg1"/>
                  </a:solidFill>
                </a:rPr>
              </a:br>
              <a:r>
                <a:rPr lang="sv-SE" sz="800" dirty="0">
                  <a:solidFill>
                    <a:schemeClr val="bg1"/>
                  </a:solidFill>
                </a:rPr>
                <a:t>PELLETS</a:t>
              </a:r>
              <a:endParaRPr lang="sv-SE" sz="800" baseline="-25000" dirty="0">
                <a:solidFill>
                  <a:schemeClr val="bg1"/>
                </a:solidFill>
              </a:endParaRPr>
            </a:p>
          </p:txBody>
        </p:sp>
        <p:sp>
          <p:nvSpPr>
            <p:cNvPr id="93" name="TextBox 92">
              <a:extLst>
                <a:ext uri="{FF2B5EF4-FFF2-40B4-BE49-F238E27FC236}">
                  <a16:creationId xmlns:a16="http://schemas.microsoft.com/office/drawing/2014/main" id="{52AD49E9-F0A9-89F9-6893-3B20C19FCEB9}"/>
                </a:ext>
              </a:extLst>
            </p:cNvPr>
            <p:cNvSpPr txBox="1"/>
            <p:nvPr/>
          </p:nvSpPr>
          <p:spPr>
            <a:xfrm>
              <a:off x="3292368" y="2804622"/>
              <a:ext cx="366788" cy="184569"/>
            </a:xfrm>
            <a:prstGeom prst="rect">
              <a:avLst/>
            </a:prstGeom>
            <a:noFill/>
          </p:spPr>
          <p:txBody>
            <a:bodyPr wrap="square" lIns="72000" tIns="36000" rIns="72000" bIns="36000" rtlCol="0" anchor="ctr">
              <a:spAutoFit/>
            </a:bodyPr>
            <a:lstStyle/>
            <a:p>
              <a:pPr algn="r">
                <a:lnSpc>
                  <a:spcPct val="90000"/>
                </a:lnSpc>
              </a:pPr>
              <a:r>
                <a:rPr lang="sv-SE" sz="800" dirty="0">
                  <a:solidFill>
                    <a:schemeClr val="bg1"/>
                  </a:solidFill>
                </a:rPr>
                <a:t>CO</a:t>
              </a:r>
              <a:r>
                <a:rPr lang="sv-SE" sz="800" baseline="-25000" dirty="0">
                  <a:solidFill>
                    <a:schemeClr val="bg1"/>
                  </a:solidFill>
                </a:rPr>
                <a:t>2</a:t>
              </a:r>
            </a:p>
          </p:txBody>
        </p:sp>
        <p:sp>
          <p:nvSpPr>
            <p:cNvPr id="94" name="TextBox 93">
              <a:extLst>
                <a:ext uri="{FF2B5EF4-FFF2-40B4-BE49-F238E27FC236}">
                  <a16:creationId xmlns:a16="http://schemas.microsoft.com/office/drawing/2014/main" id="{BC8EA733-DE2F-162F-B62E-8F81A55B9E63}"/>
                </a:ext>
              </a:extLst>
            </p:cNvPr>
            <p:cNvSpPr txBox="1"/>
            <p:nvPr/>
          </p:nvSpPr>
          <p:spPr>
            <a:xfrm>
              <a:off x="2754805" y="3586365"/>
              <a:ext cx="904350" cy="333105"/>
            </a:xfrm>
            <a:prstGeom prst="rect">
              <a:avLst/>
            </a:prstGeom>
            <a:noFill/>
          </p:spPr>
          <p:txBody>
            <a:bodyPr wrap="square" lIns="72000" tIns="0" rIns="72000" bIns="0" rtlCol="0" anchor="ctr">
              <a:spAutoFit/>
            </a:bodyPr>
            <a:lstStyle/>
            <a:p>
              <a:pPr algn="r">
                <a:lnSpc>
                  <a:spcPct val="90000"/>
                </a:lnSpc>
              </a:pPr>
              <a:r>
                <a:rPr lang="sv-SE" sz="800" dirty="0">
                  <a:solidFill>
                    <a:schemeClr val="bg1"/>
                  </a:solidFill>
                </a:rPr>
                <a:t>KOLPULVER</a:t>
              </a:r>
              <a:br>
                <a:rPr lang="sv-SE" sz="800" dirty="0">
                  <a:solidFill>
                    <a:schemeClr val="bg1"/>
                  </a:solidFill>
                </a:rPr>
              </a:br>
              <a:r>
                <a:rPr lang="sv-SE" sz="800" dirty="0">
                  <a:solidFill>
                    <a:schemeClr val="bg1"/>
                  </a:solidFill>
                </a:rPr>
                <a:t>VARM BLÄSTERLUFT</a:t>
              </a:r>
              <a:endParaRPr lang="sv-SE" sz="800" baseline="-25000" dirty="0">
                <a:solidFill>
                  <a:schemeClr val="bg1"/>
                </a:solidFill>
              </a:endParaRPr>
            </a:p>
          </p:txBody>
        </p:sp>
        <p:sp>
          <p:nvSpPr>
            <p:cNvPr id="95" name="TextBox 94">
              <a:extLst>
                <a:ext uri="{FF2B5EF4-FFF2-40B4-BE49-F238E27FC236}">
                  <a16:creationId xmlns:a16="http://schemas.microsoft.com/office/drawing/2014/main" id="{6853D96B-1E24-B0DF-C031-85B6B43604AB}"/>
                </a:ext>
              </a:extLst>
            </p:cNvPr>
            <p:cNvSpPr txBox="1"/>
            <p:nvPr/>
          </p:nvSpPr>
          <p:spPr>
            <a:xfrm>
              <a:off x="4240229" y="4081513"/>
              <a:ext cx="740399" cy="184569"/>
            </a:xfrm>
            <a:prstGeom prst="rect">
              <a:avLst/>
            </a:prstGeom>
            <a:noFill/>
          </p:spPr>
          <p:txBody>
            <a:bodyPr wrap="square" lIns="0" tIns="36000" rIns="0" bIns="36000" rtlCol="0" anchor="ctr">
              <a:spAutoFit/>
            </a:bodyPr>
            <a:lstStyle/>
            <a:p>
              <a:pPr>
                <a:lnSpc>
                  <a:spcPct val="90000"/>
                </a:lnSpc>
              </a:pPr>
              <a:r>
                <a:rPr lang="sv-SE" sz="800" dirty="0">
                  <a:solidFill>
                    <a:schemeClr val="bg1"/>
                  </a:solidFill>
                </a:rPr>
                <a:t>RÅJÄRN</a:t>
              </a:r>
              <a:endParaRPr lang="sv-SE" sz="800" baseline="-25000" dirty="0">
                <a:solidFill>
                  <a:schemeClr val="bg1"/>
                </a:solidFill>
              </a:endParaRPr>
            </a:p>
          </p:txBody>
        </p:sp>
        <p:sp>
          <p:nvSpPr>
            <p:cNvPr id="96" name="TextBox 95">
              <a:extLst>
                <a:ext uri="{FF2B5EF4-FFF2-40B4-BE49-F238E27FC236}">
                  <a16:creationId xmlns:a16="http://schemas.microsoft.com/office/drawing/2014/main" id="{9EEE17FF-F3AC-EE67-0B0F-3C52F45A66A9}"/>
                </a:ext>
              </a:extLst>
            </p:cNvPr>
            <p:cNvSpPr txBox="1"/>
            <p:nvPr/>
          </p:nvSpPr>
          <p:spPr>
            <a:xfrm>
              <a:off x="3187573" y="4081513"/>
              <a:ext cx="740399" cy="184569"/>
            </a:xfrm>
            <a:prstGeom prst="rect">
              <a:avLst/>
            </a:prstGeom>
            <a:noFill/>
          </p:spPr>
          <p:txBody>
            <a:bodyPr wrap="square" lIns="0" tIns="36000" rIns="0" bIns="36000" rtlCol="0" anchor="ctr">
              <a:spAutoFit/>
            </a:bodyPr>
            <a:lstStyle/>
            <a:p>
              <a:pPr algn="r">
                <a:lnSpc>
                  <a:spcPct val="90000"/>
                </a:lnSpc>
              </a:pPr>
              <a:r>
                <a:rPr lang="sv-SE" sz="800" dirty="0">
                  <a:solidFill>
                    <a:schemeClr val="bg1"/>
                  </a:solidFill>
                </a:rPr>
                <a:t>SYRGAS</a:t>
              </a:r>
              <a:endParaRPr lang="sv-SE" sz="800" baseline="-25000" dirty="0">
                <a:solidFill>
                  <a:schemeClr val="bg1"/>
                </a:solidFill>
              </a:endParaRPr>
            </a:p>
          </p:txBody>
        </p:sp>
        <p:sp>
          <p:nvSpPr>
            <p:cNvPr id="97" name="TextBox 96">
              <a:extLst>
                <a:ext uri="{FF2B5EF4-FFF2-40B4-BE49-F238E27FC236}">
                  <a16:creationId xmlns:a16="http://schemas.microsoft.com/office/drawing/2014/main" id="{A6696343-2106-CF84-73BE-6D3C895C684F}"/>
                </a:ext>
              </a:extLst>
            </p:cNvPr>
            <p:cNvSpPr txBox="1"/>
            <p:nvPr/>
          </p:nvSpPr>
          <p:spPr>
            <a:xfrm>
              <a:off x="3215799" y="4401981"/>
              <a:ext cx="604070" cy="18456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CO</a:t>
              </a:r>
              <a:r>
                <a:rPr lang="sv-SE" sz="800" baseline="-25000" dirty="0">
                  <a:solidFill>
                    <a:schemeClr val="bg1"/>
                  </a:solidFill>
                </a:rPr>
                <a:t>2</a:t>
              </a:r>
            </a:p>
          </p:txBody>
        </p:sp>
        <p:sp>
          <p:nvSpPr>
            <p:cNvPr id="98" name="TextBox 97">
              <a:extLst>
                <a:ext uri="{FF2B5EF4-FFF2-40B4-BE49-F238E27FC236}">
                  <a16:creationId xmlns:a16="http://schemas.microsoft.com/office/drawing/2014/main" id="{C4C40A7F-8C5F-8EF6-6A5B-F3BC80BA511D}"/>
                </a:ext>
              </a:extLst>
            </p:cNvPr>
            <p:cNvSpPr txBox="1"/>
            <p:nvPr/>
          </p:nvSpPr>
          <p:spPr>
            <a:xfrm>
              <a:off x="3876195" y="5507844"/>
              <a:ext cx="489391" cy="111505"/>
            </a:xfrm>
            <a:prstGeom prst="rect">
              <a:avLst/>
            </a:prstGeom>
            <a:noFill/>
          </p:spPr>
          <p:txBody>
            <a:bodyPr wrap="square" lIns="0" tIns="0" rIns="0" bIns="0" rtlCol="0" anchor="ctr">
              <a:spAutoFit/>
            </a:bodyPr>
            <a:lstStyle/>
            <a:p>
              <a:pPr algn="ctr">
                <a:lnSpc>
                  <a:spcPct val="90000"/>
                </a:lnSpc>
              </a:pPr>
              <a:r>
                <a:rPr lang="sv-SE" sz="800" dirty="0"/>
                <a:t>RÅSTÅL</a:t>
              </a:r>
              <a:endParaRPr lang="sv-SE" sz="800" baseline="-25000" dirty="0"/>
            </a:p>
          </p:txBody>
        </p:sp>
        <p:sp>
          <p:nvSpPr>
            <p:cNvPr id="99" name="TextBox 98">
              <a:extLst>
                <a:ext uri="{FF2B5EF4-FFF2-40B4-BE49-F238E27FC236}">
                  <a16:creationId xmlns:a16="http://schemas.microsoft.com/office/drawing/2014/main" id="{C4973F66-CA3E-3745-FD44-A037354841E7}"/>
                </a:ext>
              </a:extLst>
            </p:cNvPr>
            <p:cNvSpPr txBox="1"/>
            <p:nvPr/>
          </p:nvSpPr>
          <p:spPr>
            <a:xfrm>
              <a:off x="6495032" y="2094974"/>
              <a:ext cx="919742" cy="300692"/>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ICKE-FOSSILA</a:t>
              </a:r>
              <a:br>
                <a:rPr lang="sv-SE" sz="800" dirty="0">
                  <a:solidFill>
                    <a:schemeClr val="bg1"/>
                  </a:solidFill>
                </a:rPr>
              </a:br>
              <a:r>
                <a:rPr lang="sv-SE" sz="800" dirty="0">
                  <a:solidFill>
                    <a:schemeClr val="bg1"/>
                  </a:solidFill>
                </a:rPr>
                <a:t>BRÄNSLEN</a:t>
              </a:r>
              <a:endParaRPr lang="sv-SE" sz="800" baseline="-25000" dirty="0">
                <a:solidFill>
                  <a:schemeClr val="bg1"/>
                </a:solidFill>
              </a:endParaRPr>
            </a:p>
          </p:txBody>
        </p:sp>
        <p:sp>
          <p:nvSpPr>
            <p:cNvPr id="100" name="TextBox 99">
              <a:extLst>
                <a:ext uri="{FF2B5EF4-FFF2-40B4-BE49-F238E27FC236}">
                  <a16:creationId xmlns:a16="http://schemas.microsoft.com/office/drawing/2014/main" id="{B6432A05-000F-6256-4AB8-03700D2227A7}"/>
                </a:ext>
              </a:extLst>
            </p:cNvPr>
            <p:cNvSpPr txBox="1"/>
            <p:nvPr/>
          </p:nvSpPr>
          <p:spPr>
            <a:xfrm>
              <a:off x="8757001" y="1936922"/>
              <a:ext cx="740399" cy="300692"/>
            </a:xfrm>
            <a:prstGeom prst="rect">
              <a:avLst/>
            </a:prstGeom>
            <a:noFill/>
          </p:spPr>
          <p:txBody>
            <a:bodyPr wrap="square" lIns="0" tIns="36000" rIns="0" bIns="36000" rtlCol="0" anchor="ctr">
              <a:spAutoFit/>
            </a:bodyPr>
            <a:lstStyle/>
            <a:p>
              <a:pPr>
                <a:lnSpc>
                  <a:spcPct val="90000"/>
                </a:lnSpc>
              </a:pPr>
              <a:r>
                <a:rPr lang="sv-SE" sz="800" dirty="0">
                  <a:solidFill>
                    <a:schemeClr val="bg1"/>
                  </a:solidFill>
                </a:rPr>
                <a:t>JÄRNMALMS-</a:t>
              </a:r>
              <a:br>
                <a:rPr lang="sv-SE" sz="800" dirty="0">
                  <a:solidFill>
                    <a:schemeClr val="bg1"/>
                  </a:solidFill>
                </a:rPr>
              </a:br>
              <a:r>
                <a:rPr lang="sv-SE" sz="800" dirty="0">
                  <a:solidFill>
                    <a:schemeClr val="bg1"/>
                  </a:solidFill>
                </a:rPr>
                <a:t>PELLETS</a:t>
              </a:r>
              <a:endParaRPr lang="sv-SE" sz="800" baseline="-25000" dirty="0">
                <a:solidFill>
                  <a:schemeClr val="bg1"/>
                </a:solidFill>
              </a:endParaRPr>
            </a:p>
          </p:txBody>
        </p:sp>
        <p:sp>
          <p:nvSpPr>
            <p:cNvPr id="101" name="TextBox 100">
              <a:extLst>
                <a:ext uri="{FF2B5EF4-FFF2-40B4-BE49-F238E27FC236}">
                  <a16:creationId xmlns:a16="http://schemas.microsoft.com/office/drawing/2014/main" id="{7498C64B-6787-4DF1-9C4C-67E06A88644D}"/>
                </a:ext>
              </a:extLst>
            </p:cNvPr>
            <p:cNvSpPr txBox="1"/>
            <p:nvPr/>
          </p:nvSpPr>
          <p:spPr>
            <a:xfrm>
              <a:off x="8505314" y="2759288"/>
              <a:ext cx="1011505" cy="295008"/>
            </a:xfrm>
            <a:prstGeom prst="rect">
              <a:avLst/>
            </a:prstGeom>
            <a:noFill/>
          </p:spPr>
          <p:txBody>
            <a:bodyPr wrap="square" lIns="72000" tIns="36000" rIns="72000" bIns="36000" rtlCol="0" anchor="ctr">
              <a:spAutoFit/>
            </a:bodyPr>
            <a:lstStyle/>
            <a:p>
              <a:pPr>
                <a:lnSpc>
                  <a:spcPct val="90000"/>
                </a:lnSpc>
              </a:pPr>
              <a:r>
                <a:rPr lang="sv-SE" sz="800" dirty="0">
                  <a:solidFill>
                    <a:schemeClr val="bg1"/>
                  </a:solidFill>
                </a:rPr>
                <a:t>H</a:t>
              </a:r>
              <a:r>
                <a:rPr lang="sv-SE" sz="800" baseline="-25000" dirty="0">
                  <a:solidFill>
                    <a:schemeClr val="bg1"/>
                  </a:solidFill>
                </a:rPr>
                <a:t>2</a:t>
              </a:r>
              <a:r>
                <a:rPr lang="sv-SE" sz="800" dirty="0">
                  <a:solidFill>
                    <a:schemeClr val="bg1"/>
                  </a:solidFill>
                </a:rPr>
                <a:t>O</a:t>
              </a:r>
              <a:br>
                <a:rPr lang="sv-SE" sz="1000" dirty="0">
                  <a:solidFill>
                    <a:schemeClr val="bg1"/>
                  </a:solidFill>
                </a:rPr>
              </a:br>
              <a:r>
                <a:rPr lang="sv-SE" sz="800" dirty="0">
                  <a:solidFill>
                    <a:schemeClr val="bg1"/>
                  </a:solidFill>
                </a:rPr>
                <a:t>OCH VÄTGAS </a:t>
              </a:r>
              <a:endParaRPr lang="sv-SE" sz="1000" dirty="0">
                <a:solidFill>
                  <a:schemeClr val="bg1"/>
                </a:solidFill>
              </a:endParaRPr>
            </a:p>
          </p:txBody>
        </p:sp>
        <p:sp>
          <p:nvSpPr>
            <p:cNvPr id="102" name="TextBox 101">
              <a:extLst>
                <a:ext uri="{FF2B5EF4-FFF2-40B4-BE49-F238E27FC236}">
                  <a16:creationId xmlns:a16="http://schemas.microsoft.com/office/drawing/2014/main" id="{8C2CD479-7636-6E4C-FDDF-E4F6ED120820}"/>
                </a:ext>
              </a:extLst>
            </p:cNvPr>
            <p:cNvSpPr txBox="1"/>
            <p:nvPr/>
          </p:nvSpPr>
          <p:spPr>
            <a:xfrm>
              <a:off x="8505314" y="3719171"/>
              <a:ext cx="1011505" cy="405808"/>
            </a:xfrm>
            <a:prstGeom prst="rect">
              <a:avLst/>
            </a:prstGeom>
            <a:noFill/>
          </p:spPr>
          <p:txBody>
            <a:bodyPr wrap="square" lIns="72000" tIns="36000" rIns="72000" bIns="36000" rtlCol="0" anchor="ctr">
              <a:spAutoFit/>
            </a:bodyPr>
            <a:lstStyle/>
            <a:p>
              <a:pPr>
                <a:lnSpc>
                  <a:spcPct val="90000"/>
                </a:lnSpc>
              </a:pPr>
              <a:r>
                <a:rPr lang="sv-SE" sz="800" dirty="0">
                  <a:solidFill>
                    <a:schemeClr val="bg1"/>
                  </a:solidFill>
                </a:rPr>
                <a:t>H</a:t>
              </a:r>
              <a:r>
                <a:rPr lang="sv-SE" sz="800" baseline="-25000" dirty="0">
                  <a:solidFill>
                    <a:schemeClr val="bg1"/>
                  </a:solidFill>
                </a:rPr>
                <a:t>2</a:t>
              </a:r>
              <a:br>
                <a:rPr lang="sv-SE" sz="1000" dirty="0">
                  <a:solidFill>
                    <a:schemeClr val="bg1"/>
                  </a:solidFill>
                </a:rPr>
              </a:br>
              <a:r>
                <a:rPr lang="sv-SE" sz="800" dirty="0">
                  <a:solidFill>
                    <a:schemeClr val="bg1"/>
                  </a:solidFill>
                </a:rPr>
                <a:t>FOSSILFRI</a:t>
              </a:r>
              <a:br>
                <a:rPr lang="sv-SE" sz="800" dirty="0">
                  <a:solidFill>
                    <a:schemeClr val="bg1"/>
                  </a:solidFill>
                </a:rPr>
              </a:br>
              <a:r>
                <a:rPr lang="sv-SE" sz="800" dirty="0">
                  <a:solidFill>
                    <a:schemeClr val="bg1"/>
                  </a:solidFill>
                </a:rPr>
                <a:t>VÄTGAS </a:t>
              </a:r>
              <a:endParaRPr lang="sv-SE" sz="1000" dirty="0">
                <a:solidFill>
                  <a:schemeClr val="bg1"/>
                </a:solidFill>
              </a:endParaRPr>
            </a:p>
          </p:txBody>
        </p:sp>
        <p:sp>
          <p:nvSpPr>
            <p:cNvPr id="103" name="TextBox 102">
              <a:extLst>
                <a:ext uri="{FF2B5EF4-FFF2-40B4-BE49-F238E27FC236}">
                  <a16:creationId xmlns:a16="http://schemas.microsoft.com/office/drawing/2014/main" id="{00F61DF1-3483-DD9F-C4BA-83C6211FD64E}"/>
                </a:ext>
              </a:extLst>
            </p:cNvPr>
            <p:cNvSpPr txBox="1"/>
            <p:nvPr/>
          </p:nvSpPr>
          <p:spPr>
            <a:xfrm>
              <a:off x="9258019" y="2737477"/>
              <a:ext cx="1011505" cy="300692"/>
            </a:xfrm>
            <a:prstGeom prst="rect">
              <a:avLst/>
            </a:prstGeom>
            <a:noFill/>
          </p:spPr>
          <p:txBody>
            <a:bodyPr wrap="square" lIns="72000" tIns="36000" rIns="72000" bIns="36000" rtlCol="0" anchor="ctr">
              <a:spAutoFit/>
            </a:bodyPr>
            <a:lstStyle/>
            <a:p>
              <a:pPr algn="ctr">
                <a:lnSpc>
                  <a:spcPct val="90000"/>
                </a:lnSpc>
              </a:pPr>
              <a:r>
                <a:rPr lang="sv-SE" sz="800" dirty="0">
                  <a:solidFill>
                    <a:schemeClr val="bg1"/>
                  </a:solidFill>
                </a:rPr>
                <a:t>FOSSILFRI</a:t>
              </a:r>
              <a:br>
                <a:rPr lang="sv-SE" sz="800" dirty="0">
                  <a:solidFill>
                    <a:schemeClr val="bg1"/>
                  </a:solidFill>
                </a:rPr>
              </a:br>
              <a:r>
                <a:rPr lang="sv-SE" sz="800" dirty="0">
                  <a:solidFill>
                    <a:schemeClr val="bg1"/>
                  </a:solidFill>
                </a:rPr>
                <a:t>ELEKTRICITET</a:t>
              </a:r>
            </a:p>
          </p:txBody>
        </p:sp>
        <p:sp>
          <p:nvSpPr>
            <p:cNvPr id="104" name="TextBox 103">
              <a:extLst>
                <a:ext uri="{FF2B5EF4-FFF2-40B4-BE49-F238E27FC236}">
                  <a16:creationId xmlns:a16="http://schemas.microsoft.com/office/drawing/2014/main" id="{3A1D5666-0D19-108B-F371-0160940758E1}"/>
                </a:ext>
              </a:extLst>
            </p:cNvPr>
            <p:cNvSpPr txBox="1"/>
            <p:nvPr/>
          </p:nvSpPr>
          <p:spPr>
            <a:xfrm>
              <a:off x="9949532" y="3324704"/>
              <a:ext cx="1332132" cy="184569"/>
            </a:xfrm>
            <a:prstGeom prst="rect">
              <a:avLst/>
            </a:prstGeom>
            <a:noFill/>
          </p:spPr>
          <p:txBody>
            <a:bodyPr wrap="square" lIns="72000" tIns="36000" rIns="72000" bIns="36000" rtlCol="0" anchor="ctr">
              <a:spAutoFit/>
            </a:bodyPr>
            <a:lstStyle/>
            <a:p>
              <a:pPr>
                <a:lnSpc>
                  <a:spcPct val="90000"/>
                </a:lnSpc>
              </a:pPr>
              <a:r>
                <a:rPr lang="sv-SE" sz="800" dirty="0">
                  <a:solidFill>
                    <a:schemeClr val="bg1"/>
                  </a:solidFill>
                </a:rPr>
                <a:t>VÄTGASPRODUKTION</a:t>
              </a:r>
            </a:p>
          </p:txBody>
        </p:sp>
        <p:sp>
          <p:nvSpPr>
            <p:cNvPr id="105" name="TextBox 104">
              <a:extLst>
                <a:ext uri="{FF2B5EF4-FFF2-40B4-BE49-F238E27FC236}">
                  <a16:creationId xmlns:a16="http://schemas.microsoft.com/office/drawing/2014/main" id="{588E120D-2D97-74C3-829B-A4C7A63029E1}"/>
                </a:ext>
              </a:extLst>
            </p:cNvPr>
            <p:cNvSpPr txBox="1"/>
            <p:nvPr/>
          </p:nvSpPr>
          <p:spPr>
            <a:xfrm>
              <a:off x="9949532" y="3934824"/>
              <a:ext cx="1332132" cy="184569"/>
            </a:xfrm>
            <a:prstGeom prst="rect">
              <a:avLst/>
            </a:prstGeom>
            <a:noFill/>
          </p:spPr>
          <p:txBody>
            <a:bodyPr wrap="square" lIns="72000" tIns="36000" rIns="72000" bIns="36000" rtlCol="0" anchor="ctr">
              <a:spAutoFit/>
            </a:bodyPr>
            <a:lstStyle/>
            <a:p>
              <a:pPr>
                <a:lnSpc>
                  <a:spcPct val="90000"/>
                </a:lnSpc>
              </a:pPr>
              <a:r>
                <a:rPr lang="sv-SE" sz="800" dirty="0">
                  <a:solidFill>
                    <a:schemeClr val="bg1"/>
                  </a:solidFill>
                </a:rPr>
                <a:t>VÄTGASLAGER</a:t>
              </a:r>
            </a:p>
          </p:txBody>
        </p:sp>
        <p:sp>
          <p:nvSpPr>
            <p:cNvPr id="106" name="TextBox 105">
              <a:extLst>
                <a:ext uri="{FF2B5EF4-FFF2-40B4-BE49-F238E27FC236}">
                  <a16:creationId xmlns:a16="http://schemas.microsoft.com/office/drawing/2014/main" id="{24DA581C-1187-6363-81A6-24AC9FB36DEE}"/>
                </a:ext>
              </a:extLst>
            </p:cNvPr>
            <p:cNvSpPr txBox="1"/>
            <p:nvPr/>
          </p:nvSpPr>
          <p:spPr>
            <a:xfrm>
              <a:off x="7705749" y="5452445"/>
              <a:ext cx="732473" cy="222305"/>
            </a:xfrm>
            <a:prstGeom prst="rect">
              <a:avLst/>
            </a:prstGeom>
            <a:noFill/>
          </p:spPr>
          <p:txBody>
            <a:bodyPr wrap="square" lIns="0" tIns="0" rIns="0" bIns="0" rtlCol="0" anchor="ctr">
              <a:spAutoFit/>
            </a:bodyPr>
            <a:lstStyle/>
            <a:p>
              <a:pPr algn="ctr">
                <a:lnSpc>
                  <a:spcPct val="90000"/>
                </a:lnSpc>
              </a:pPr>
              <a:r>
                <a:rPr lang="sv-SE" sz="800" dirty="0"/>
                <a:t>FOSSILFRITT</a:t>
              </a:r>
              <a:br>
                <a:rPr lang="sv-SE" sz="800" dirty="0"/>
              </a:br>
              <a:r>
                <a:rPr lang="sv-SE" sz="800" dirty="0"/>
                <a:t>RÅSTÅL</a:t>
              </a:r>
              <a:endParaRPr lang="sv-SE" sz="800" baseline="-25000" dirty="0"/>
            </a:p>
          </p:txBody>
        </p:sp>
        <p:sp>
          <p:nvSpPr>
            <p:cNvPr id="107" name="TextBox 106">
              <a:extLst>
                <a:ext uri="{FF2B5EF4-FFF2-40B4-BE49-F238E27FC236}">
                  <a16:creationId xmlns:a16="http://schemas.microsoft.com/office/drawing/2014/main" id="{8DC4049A-ACFE-2931-B9CF-46FD667114CF}"/>
                </a:ext>
              </a:extLst>
            </p:cNvPr>
            <p:cNvSpPr txBox="1"/>
            <p:nvPr/>
          </p:nvSpPr>
          <p:spPr>
            <a:xfrm>
              <a:off x="928206" y="1724570"/>
              <a:ext cx="1720674" cy="249559"/>
            </a:xfrm>
            <a:prstGeom prst="rect">
              <a:avLst/>
            </a:prstGeom>
            <a:noFill/>
          </p:spPr>
          <p:txBody>
            <a:bodyPr wrap="square" lIns="0" tIns="36000" rIns="0" bIns="36000" rtlCol="0" anchor="ctr">
              <a:spAutoFit/>
            </a:bodyPr>
            <a:lstStyle/>
            <a:p>
              <a:pPr>
                <a:lnSpc>
                  <a:spcPct val="90000"/>
                </a:lnSpc>
              </a:pPr>
              <a:r>
                <a:rPr lang="sv-SE" sz="1400" dirty="0" err="1">
                  <a:solidFill>
                    <a:schemeClr val="bg1"/>
                  </a:solidFill>
                </a:rPr>
                <a:t>Pelletisering</a:t>
              </a:r>
              <a:endParaRPr lang="sv-SE" sz="1400" baseline="-25000" dirty="0">
                <a:solidFill>
                  <a:schemeClr val="bg1"/>
                </a:solidFill>
              </a:endParaRPr>
            </a:p>
          </p:txBody>
        </p:sp>
        <p:sp>
          <p:nvSpPr>
            <p:cNvPr id="108" name="TextBox 107">
              <a:extLst>
                <a:ext uri="{FF2B5EF4-FFF2-40B4-BE49-F238E27FC236}">
                  <a16:creationId xmlns:a16="http://schemas.microsoft.com/office/drawing/2014/main" id="{C7575921-F022-A673-CB2F-2FB23EF2A8DC}"/>
                </a:ext>
              </a:extLst>
            </p:cNvPr>
            <p:cNvSpPr txBox="1"/>
            <p:nvPr/>
          </p:nvSpPr>
          <p:spPr>
            <a:xfrm>
              <a:off x="928206" y="3280381"/>
              <a:ext cx="1720674" cy="249559"/>
            </a:xfrm>
            <a:prstGeom prst="rect">
              <a:avLst/>
            </a:prstGeom>
            <a:noFill/>
          </p:spPr>
          <p:txBody>
            <a:bodyPr wrap="square" lIns="0" tIns="36000" rIns="0" bIns="36000" rtlCol="0" anchor="ctr">
              <a:spAutoFit/>
            </a:bodyPr>
            <a:lstStyle/>
            <a:p>
              <a:pPr>
                <a:lnSpc>
                  <a:spcPct val="90000"/>
                </a:lnSpc>
              </a:pPr>
              <a:r>
                <a:rPr lang="sv-SE" sz="1400" dirty="0">
                  <a:solidFill>
                    <a:schemeClr val="bg1"/>
                  </a:solidFill>
                </a:rPr>
                <a:t>Järnframställning</a:t>
              </a:r>
              <a:endParaRPr lang="sv-SE" sz="1400" baseline="-25000" dirty="0">
                <a:solidFill>
                  <a:schemeClr val="bg1"/>
                </a:solidFill>
              </a:endParaRPr>
            </a:p>
          </p:txBody>
        </p:sp>
        <p:sp>
          <p:nvSpPr>
            <p:cNvPr id="109" name="TextBox 108">
              <a:extLst>
                <a:ext uri="{FF2B5EF4-FFF2-40B4-BE49-F238E27FC236}">
                  <a16:creationId xmlns:a16="http://schemas.microsoft.com/office/drawing/2014/main" id="{615D161C-DDA9-CA11-9439-1EC4A0E0BEFF}"/>
                </a:ext>
              </a:extLst>
            </p:cNvPr>
            <p:cNvSpPr txBox="1"/>
            <p:nvPr/>
          </p:nvSpPr>
          <p:spPr>
            <a:xfrm>
              <a:off x="928206" y="4751411"/>
              <a:ext cx="1720674" cy="249559"/>
            </a:xfrm>
            <a:prstGeom prst="rect">
              <a:avLst/>
            </a:prstGeom>
            <a:noFill/>
          </p:spPr>
          <p:txBody>
            <a:bodyPr wrap="square" lIns="0" tIns="36000" rIns="0" bIns="36000" rtlCol="0" anchor="ctr">
              <a:spAutoFit/>
            </a:bodyPr>
            <a:lstStyle/>
            <a:p>
              <a:pPr>
                <a:lnSpc>
                  <a:spcPct val="90000"/>
                </a:lnSpc>
              </a:pPr>
              <a:r>
                <a:rPr lang="sv-SE" sz="1400" dirty="0">
                  <a:solidFill>
                    <a:schemeClr val="bg1"/>
                  </a:solidFill>
                </a:rPr>
                <a:t>Stålframställning</a:t>
              </a:r>
              <a:endParaRPr lang="sv-SE" sz="1400" baseline="-25000" dirty="0">
                <a:solidFill>
                  <a:schemeClr val="bg1"/>
                </a:solidFill>
              </a:endParaRPr>
            </a:p>
          </p:txBody>
        </p:sp>
        <p:sp>
          <p:nvSpPr>
            <p:cNvPr id="110" name="TextBox 109">
              <a:extLst>
                <a:ext uri="{FF2B5EF4-FFF2-40B4-BE49-F238E27FC236}">
                  <a16:creationId xmlns:a16="http://schemas.microsoft.com/office/drawing/2014/main" id="{1C285E48-AF81-F0FF-3ED9-8CB2BC51E73A}"/>
                </a:ext>
              </a:extLst>
            </p:cNvPr>
            <p:cNvSpPr txBox="1"/>
            <p:nvPr/>
          </p:nvSpPr>
          <p:spPr>
            <a:xfrm>
              <a:off x="8505314" y="4662968"/>
              <a:ext cx="1011505" cy="405808"/>
            </a:xfrm>
            <a:prstGeom prst="rect">
              <a:avLst/>
            </a:prstGeom>
            <a:noFill/>
          </p:spPr>
          <p:txBody>
            <a:bodyPr wrap="square" lIns="72000" tIns="36000" rIns="72000" bIns="36000" rtlCol="0" anchor="ctr">
              <a:spAutoFit/>
            </a:bodyPr>
            <a:lstStyle/>
            <a:p>
              <a:pPr>
                <a:lnSpc>
                  <a:spcPct val="90000"/>
                </a:lnSpc>
              </a:pPr>
              <a:r>
                <a:rPr lang="sv-SE" sz="800" dirty="0">
                  <a:solidFill>
                    <a:schemeClr val="bg1"/>
                  </a:solidFill>
                </a:rPr>
                <a:t>FOSSILFRI</a:t>
              </a:r>
              <a:br>
                <a:rPr lang="sv-SE" sz="800" dirty="0">
                  <a:solidFill>
                    <a:schemeClr val="bg1"/>
                  </a:solidFill>
                </a:rPr>
              </a:br>
              <a:r>
                <a:rPr lang="sv-SE" sz="800" dirty="0">
                  <a:solidFill>
                    <a:schemeClr val="bg1"/>
                  </a:solidFill>
                </a:rPr>
                <a:t>ELEKTRICITET </a:t>
              </a:r>
              <a:br>
                <a:rPr lang="sv-SE" sz="800" dirty="0">
                  <a:solidFill>
                    <a:schemeClr val="bg1"/>
                  </a:solidFill>
                </a:rPr>
              </a:br>
              <a:r>
                <a:rPr lang="sv-SE" sz="800" dirty="0">
                  <a:solidFill>
                    <a:schemeClr val="bg1"/>
                  </a:solidFill>
                </a:rPr>
                <a:t>OCH BIOKOL</a:t>
              </a:r>
              <a:endParaRPr lang="sv-SE" sz="900" dirty="0">
                <a:solidFill>
                  <a:schemeClr val="bg1"/>
                </a:solidFill>
              </a:endParaRPr>
            </a:p>
          </p:txBody>
        </p:sp>
        <p:sp>
          <p:nvSpPr>
            <p:cNvPr id="111" name="TextBox 110">
              <a:extLst>
                <a:ext uri="{FF2B5EF4-FFF2-40B4-BE49-F238E27FC236}">
                  <a16:creationId xmlns:a16="http://schemas.microsoft.com/office/drawing/2014/main" id="{506EEABB-D750-4E6B-2A40-6C0EA200D41C}"/>
                </a:ext>
              </a:extLst>
            </p:cNvPr>
            <p:cNvSpPr txBox="1"/>
            <p:nvPr/>
          </p:nvSpPr>
          <p:spPr>
            <a:xfrm>
              <a:off x="2846639" y="5770251"/>
              <a:ext cx="2548503" cy="230832"/>
            </a:xfrm>
            <a:prstGeom prst="rect">
              <a:avLst/>
            </a:prstGeom>
            <a:noFill/>
          </p:spPr>
          <p:txBody>
            <a:bodyPr wrap="square">
              <a:spAutoFit/>
            </a:bodyPr>
            <a:lstStyle/>
            <a:p>
              <a:pPr algn="ctr"/>
              <a:r>
                <a:rPr lang="sv-SE" sz="900" dirty="0">
                  <a:solidFill>
                    <a:schemeClr val="bg1"/>
                  </a:solidFill>
                </a:rPr>
                <a:t>2,2 ton CO2e/ton stål</a:t>
              </a:r>
            </a:p>
          </p:txBody>
        </p:sp>
        <p:sp>
          <p:nvSpPr>
            <p:cNvPr id="112" name="TextBox 111">
              <a:extLst>
                <a:ext uri="{FF2B5EF4-FFF2-40B4-BE49-F238E27FC236}">
                  <a16:creationId xmlns:a16="http://schemas.microsoft.com/office/drawing/2014/main" id="{A3D6D6C3-0B64-DCD2-40C6-912E9FE507DC}"/>
                </a:ext>
              </a:extLst>
            </p:cNvPr>
            <p:cNvSpPr txBox="1"/>
            <p:nvPr/>
          </p:nvSpPr>
          <p:spPr>
            <a:xfrm>
              <a:off x="6797734" y="5770251"/>
              <a:ext cx="2548503" cy="230832"/>
            </a:xfrm>
            <a:prstGeom prst="rect">
              <a:avLst/>
            </a:prstGeom>
            <a:noFill/>
          </p:spPr>
          <p:txBody>
            <a:bodyPr wrap="square">
              <a:spAutoFit/>
            </a:bodyPr>
            <a:lstStyle/>
            <a:p>
              <a:pPr algn="ctr"/>
              <a:r>
                <a:rPr lang="sv-SE" sz="900" dirty="0">
                  <a:solidFill>
                    <a:schemeClr val="bg1"/>
                  </a:solidFill>
                </a:rPr>
                <a:t> 0,0 ton CO2e/ton stål</a:t>
              </a:r>
            </a:p>
          </p:txBody>
        </p:sp>
      </p:grpSp>
      <p:sp>
        <p:nvSpPr>
          <p:cNvPr id="4" name="!!Mask">
            <a:extLst>
              <a:ext uri="{FF2B5EF4-FFF2-40B4-BE49-F238E27FC236}">
                <a16:creationId xmlns:a16="http://schemas.microsoft.com/office/drawing/2014/main" id="{CB0C8DD2-137F-2364-21C7-F576B06F89CD}"/>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88027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a:extLst>
            <a:ext uri="{FF2B5EF4-FFF2-40B4-BE49-F238E27FC236}">
              <a16:creationId xmlns:a16="http://schemas.microsoft.com/office/drawing/2014/main" id="{387D1594-2E13-732E-1A68-23AAE2D31694}"/>
            </a:ext>
          </a:extLst>
        </p:cNvPr>
        <p:cNvGrpSpPr/>
        <p:nvPr/>
      </p:nvGrpSpPr>
      <p:grpSpPr>
        <a:xfrm>
          <a:off x="0" y="0"/>
          <a:ext cx="0" cy="0"/>
          <a:chOff x="0" y="0"/>
          <a:chExt cx="0" cy="0"/>
        </a:xfrm>
      </p:grpSpPr>
      <p:pic>
        <p:nvPicPr>
          <p:cNvPr id="3" name="Picture 2" descr="A building in the snow&#10;&#10;AI-generated content may be incorrect.">
            <a:extLst>
              <a:ext uri="{FF2B5EF4-FFF2-40B4-BE49-F238E27FC236}">
                <a16:creationId xmlns:a16="http://schemas.microsoft.com/office/drawing/2014/main" id="{E20F8122-F479-3AE6-BB9B-4CAC4699C045}"/>
              </a:ext>
            </a:extLst>
          </p:cNvPr>
          <p:cNvPicPr>
            <a:picLocks noChangeAspect="1"/>
          </p:cNvPicPr>
          <p:nvPr/>
        </p:nvPicPr>
        <p:blipFill rotWithShape="1">
          <a:blip r:embed="rId3"/>
          <a:srcRect/>
          <a:stretch/>
        </p:blipFill>
        <p:spPr>
          <a:xfrm>
            <a:off x="0" y="0"/>
            <a:ext cx="12192000" cy="6858000"/>
          </a:xfrm>
          <a:prstGeom prst="rect">
            <a:avLst/>
          </a:prstGeom>
        </p:spPr>
      </p:pic>
      <p:sp>
        <p:nvSpPr>
          <p:cNvPr id="20" name="!!Title 19">
            <a:extLst>
              <a:ext uri="{FF2B5EF4-FFF2-40B4-BE49-F238E27FC236}">
                <a16:creationId xmlns:a16="http://schemas.microsoft.com/office/drawing/2014/main" id="{BA113CA8-E6AA-26C4-7283-6E23B977FD5D}"/>
              </a:ext>
            </a:extLst>
          </p:cNvPr>
          <p:cNvSpPr>
            <a:spLocks noGrp="1"/>
          </p:cNvSpPr>
          <p:nvPr>
            <p:ph type="title"/>
          </p:nvPr>
        </p:nvSpPr>
        <p:spPr/>
        <p:txBody>
          <a:bodyPr/>
          <a:lstStyle/>
          <a:p>
            <a:r>
              <a:rPr lang="sv-SE" dirty="0">
                <a:solidFill>
                  <a:schemeClr val="bg1"/>
                </a:solidFill>
              </a:rPr>
              <a:t>Industriell produktion </a:t>
            </a:r>
            <a:br>
              <a:rPr lang="sv-SE" dirty="0">
                <a:solidFill>
                  <a:schemeClr val="bg1"/>
                </a:solidFill>
              </a:rPr>
            </a:br>
            <a:r>
              <a:rPr lang="sv-SE" dirty="0">
                <a:solidFill>
                  <a:schemeClr val="bg1"/>
                </a:solidFill>
              </a:rPr>
              <a:t>i det framtida elsystemet </a:t>
            </a:r>
          </a:p>
        </p:txBody>
      </p:sp>
      <p:grpSp>
        <p:nvGrpSpPr>
          <p:cNvPr id="7" name="!!Hybrit_logo">
            <a:extLst>
              <a:ext uri="{FF2B5EF4-FFF2-40B4-BE49-F238E27FC236}">
                <a16:creationId xmlns:a16="http://schemas.microsoft.com/office/drawing/2014/main" id="{3B55726C-19B1-CECB-3A0B-50C667E9312C}"/>
              </a:ext>
            </a:extLst>
          </p:cNvPr>
          <p:cNvGrpSpPr/>
          <p:nvPr/>
        </p:nvGrpSpPr>
        <p:grpSpPr>
          <a:xfrm>
            <a:off x="10823330" y="6338104"/>
            <a:ext cx="1018484" cy="320220"/>
            <a:chOff x="1343025" y="-3013943"/>
            <a:chExt cx="7772399" cy="2443714"/>
          </a:xfrm>
          <a:solidFill>
            <a:schemeClr val="bg1"/>
          </a:solidFill>
        </p:grpSpPr>
        <p:sp>
          <p:nvSpPr>
            <p:cNvPr id="8" name="Freeform 7">
              <a:extLst>
                <a:ext uri="{FF2B5EF4-FFF2-40B4-BE49-F238E27FC236}">
                  <a16:creationId xmlns:a16="http://schemas.microsoft.com/office/drawing/2014/main" id="{17F48388-F0D0-AFAD-EA62-AFDDEDC96072}"/>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9" name="Freeform 8">
              <a:extLst>
                <a:ext uri="{FF2B5EF4-FFF2-40B4-BE49-F238E27FC236}">
                  <a16:creationId xmlns:a16="http://schemas.microsoft.com/office/drawing/2014/main" id="{3CE08EB5-BA29-3BDF-480A-F44874ADA40B}"/>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0" name="Freeform 9">
              <a:extLst>
                <a:ext uri="{FF2B5EF4-FFF2-40B4-BE49-F238E27FC236}">
                  <a16:creationId xmlns:a16="http://schemas.microsoft.com/office/drawing/2014/main" id="{73FEF7A6-F58D-83D1-052A-789362CFB5D1}"/>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1" name="Freeform 10">
              <a:extLst>
                <a:ext uri="{FF2B5EF4-FFF2-40B4-BE49-F238E27FC236}">
                  <a16:creationId xmlns:a16="http://schemas.microsoft.com/office/drawing/2014/main" id="{940BCA52-190B-032E-FDFC-4D5339C1D6C5}"/>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12" name="Freeform 11">
              <a:extLst>
                <a:ext uri="{FF2B5EF4-FFF2-40B4-BE49-F238E27FC236}">
                  <a16:creationId xmlns:a16="http://schemas.microsoft.com/office/drawing/2014/main" id="{752B4C37-2A02-F2E5-A950-4E3DD91D80AA}"/>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4" name="Rounded Rectangle 3">
            <a:extLst>
              <a:ext uri="{FF2B5EF4-FFF2-40B4-BE49-F238E27FC236}">
                <a16:creationId xmlns:a16="http://schemas.microsoft.com/office/drawing/2014/main" id="{1949BF5C-5713-C16E-CC74-910ACF38521C}"/>
              </a:ext>
            </a:extLst>
          </p:cNvPr>
          <p:cNvSpPr/>
          <p:nvPr/>
        </p:nvSpPr>
        <p:spPr>
          <a:xfrm>
            <a:off x="536380" y="2459038"/>
            <a:ext cx="3514920"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ounded Rectangle 4">
            <a:extLst>
              <a:ext uri="{FF2B5EF4-FFF2-40B4-BE49-F238E27FC236}">
                <a16:creationId xmlns:a16="http://schemas.microsoft.com/office/drawing/2014/main" id="{142E519A-0E0F-DD39-F3F6-068993DBC43B}"/>
              </a:ext>
            </a:extLst>
          </p:cNvPr>
          <p:cNvSpPr/>
          <p:nvPr/>
        </p:nvSpPr>
        <p:spPr>
          <a:xfrm>
            <a:off x="4343400" y="2459038"/>
            <a:ext cx="3501364"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Rounded Rectangle 5">
            <a:extLst>
              <a:ext uri="{FF2B5EF4-FFF2-40B4-BE49-F238E27FC236}">
                <a16:creationId xmlns:a16="http://schemas.microsoft.com/office/drawing/2014/main" id="{124B13AF-4331-35AA-BF63-4ACE75E6B50F}"/>
              </a:ext>
            </a:extLst>
          </p:cNvPr>
          <p:cNvSpPr/>
          <p:nvPr/>
        </p:nvSpPr>
        <p:spPr>
          <a:xfrm>
            <a:off x="8149299" y="2459038"/>
            <a:ext cx="3501364" cy="2837430"/>
          </a:xfrm>
          <a:prstGeom prst="roundRect">
            <a:avLst>
              <a:gd name="adj" fmla="val 218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8" name="Graphic 16" descr="Power outline">
            <a:extLst>
              <a:ext uri="{FF2B5EF4-FFF2-40B4-BE49-F238E27FC236}">
                <a16:creationId xmlns:a16="http://schemas.microsoft.com/office/drawing/2014/main" id="{3DB5B834-E38F-291B-4B2E-9922255874F7}"/>
              </a:ext>
            </a:extLst>
          </p:cNvPr>
          <p:cNvGrpSpPr/>
          <p:nvPr/>
        </p:nvGrpSpPr>
        <p:grpSpPr>
          <a:xfrm>
            <a:off x="2064694" y="2769308"/>
            <a:ext cx="458292" cy="509098"/>
            <a:chOff x="1760661" y="3304878"/>
            <a:chExt cx="568528" cy="631553"/>
          </a:xfrm>
          <a:solidFill>
            <a:schemeClr val="bg1"/>
          </a:solidFill>
        </p:grpSpPr>
        <p:sp>
          <p:nvSpPr>
            <p:cNvPr id="19" name="Freeform 18">
              <a:extLst>
                <a:ext uri="{FF2B5EF4-FFF2-40B4-BE49-F238E27FC236}">
                  <a16:creationId xmlns:a16="http://schemas.microsoft.com/office/drawing/2014/main" id="{4F1C1A20-CB65-FA62-B084-891EB980D28A}"/>
                </a:ext>
              </a:extLst>
            </p:cNvPr>
            <p:cNvSpPr/>
            <p:nvPr/>
          </p:nvSpPr>
          <p:spPr>
            <a:xfrm>
              <a:off x="1760661" y="3418976"/>
              <a:ext cx="568528" cy="517455"/>
            </a:xfrm>
            <a:custGeom>
              <a:avLst/>
              <a:gdLst>
                <a:gd name="connsiteX0" fmla="*/ 284277 w 568528"/>
                <a:gd name="connsiteY0" fmla="*/ 517455 h 517455"/>
                <a:gd name="connsiteX1" fmla="*/ 568528 w 568528"/>
                <a:gd name="connsiteY1" fmla="*/ 233308 h 517455"/>
                <a:gd name="connsiteX2" fmla="*/ 446688 w 568528"/>
                <a:gd name="connsiteY2" fmla="*/ 0 h 517455"/>
                <a:gd name="connsiteX3" fmla="*/ 437649 w 568528"/>
                <a:gd name="connsiteY3" fmla="*/ 12955 h 517455"/>
                <a:gd name="connsiteX4" fmla="*/ 504551 w 568528"/>
                <a:gd name="connsiteY4" fmla="*/ 386602 h 517455"/>
                <a:gd name="connsiteX5" fmla="*/ 130904 w 568528"/>
                <a:gd name="connsiteY5" fmla="*/ 453503 h 517455"/>
                <a:gd name="connsiteX6" fmla="*/ 64002 w 568528"/>
                <a:gd name="connsiteY6" fmla="*/ 79857 h 517455"/>
                <a:gd name="connsiteX7" fmla="*/ 130904 w 568528"/>
                <a:gd name="connsiteY7" fmla="*/ 12955 h 517455"/>
                <a:gd name="connsiteX8" fmla="*/ 121865 w 568528"/>
                <a:gd name="connsiteY8" fmla="*/ 0 h 517455"/>
                <a:gd name="connsiteX9" fmla="*/ 50968 w 568528"/>
                <a:gd name="connsiteY9" fmla="*/ 395616 h 517455"/>
                <a:gd name="connsiteX10" fmla="*/ 284277 w 568528"/>
                <a:gd name="connsiteY10" fmla="*/ 517455 h 51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528" h="517455">
                  <a:moveTo>
                    <a:pt x="284277" y="517455"/>
                  </a:moveTo>
                  <a:cubicBezTo>
                    <a:pt x="441235" y="517485"/>
                    <a:pt x="568499" y="390268"/>
                    <a:pt x="568528" y="233308"/>
                  </a:cubicBezTo>
                  <a:cubicBezTo>
                    <a:pt x="568545" y="140286"/>
                    <a:pt x="523037" y="53143"/>
                    <a:pt x="446688" y="0"/>
                  </a:cubicBezTo>
                  <a:lnTo>
                    <a:pt x="437649" y="12955"/>
                  </a:lnTo>
                  <a:cubicBezTo>
                    <a:pt x="559304" y="97660"/>
                    <a:pt x="589256" y="264948"/>
                    <a:pt x="504551" y="386602"/>
                  </a:cubicBezTo>
                  <a:cubicBezTo>
                    <a:pt x="419846" y="508256"/>
                    <a:pt x="252558" y="538209"/>
                    <a:pt x="130904" y="453503"/>
                  </a:cubicBezTo>
                  <a:cubicBezTo>
                    <a:pt x="9249" y="368798"/>
                    <a:pt x="-20703" y="201511"/>
                    <a:pt x="64002" y="79857"/>
                  </a:cubicBezTo>
                  <a:cubicBezTo>
                    <a:pt x="82165" y="53770"/>
                    <a:pt x="104818" y="31118"/>
                    <a:pt x="130904" y="12955"/>
                  </a:cubicBezTo>
                  <a:lnTo>
                    <a:pt x="121865" y="0"/>
                  </a:lnTo>
                  <a:cubicBezTo>
                    <a:pt x="-6960" y="89669"/>
                    <a:pt x="-38701" y="266792"/>
                    <a:pt x="50968" y="395616"/>
                  </a:cubicBezTo>
                  <a:cubicBezTo>
                    <a:pt x="104111" y="471965"/>
                    <a:pt x="191253" y="517473"/>
                    <a:pt x="284277" y="517455"/>
                  </a:cubicBezTo>
                  <a:close/>
                </a:path>
              </a:pathLst>
            </a:custGeom>
            <a:grpFill/>
            <a:ln w="15875" cap="flat">
              <a:solidFill>
                <a:schemeClr val="bg1"/>
              </a:solidFill>
              <a:prstDash val="solid"/>
              <a:miter/>
            </a:ln>
          </p:spPr>
          <p:txBody>
            <a:bodyPr rtlCol="0" anchor="ctr"/>
            <a:lstStyle/>
            <a:p>
              <a:endParaRPr lang="sv-SE"/>
            </a:p>
          </p:txBody>
        </p:sp>
        <p:sp>
          <p:nvSpPr>
            <p:cNvPr id="21" name="Freeform 20">
              <a:extLst>
                <a:ext uri="{FF2B5EF4-FFF2-40B4-BE49-F238E27FC236}">
                  <a16:creationId xmlns:a16="http://schemas.microsoft.com/office/drawing/2014/main" id="{D10348C2-EBB1-0A23-C500-55D14A20D824}"/>
                </a:ext>
              </a:extLst>
            </p:cNvPr>
            <p:cNvSpPr/>
            <p:nvPr/>
          </p:nvSpPr>
          <p:spPr>
            <a:xfrm>
              <a:off x="2037043" y="3304878"/>
              <a:ext cx="15788" cy="347354"/>
            </a:xfrm>
            <a:custGeom>
              <a:avLst/>
              <a:gdLst>
                <a:gd name="connsiteX0" fmla="*/ 0 w 15788"/>
                <a:gd name="connsiteY0" fmla="*/ 0 h 347354"/>
                <a:gd name="connsiteX1" fmla="*/ 15789 w 15788"/>
                <a:gd name="connsiteY1" fmla="*/ 0 h 347354"/>
                <a:gd name="connsiteX2" fmla="*/ 15789 w 15788"/>
                <a:gd name="connsiteY2" fmla="*/ 347354 h 347354"/>
                <a:gd name="connsiteX3" fmla="*/ 0 w 15788"/>
                <a:gd name="connsiteY3" fmla="*/ 347354 h 347354"/>
              </a:gdLst>
              <a:ahLst/>
              <a:cxnLst>
                <a:cxn ang="0">
                  <a:pos x="connsiteX0" y="connsiteY0"/>
                </a:cxn>
                <a:cxn ang="0">
                  <a:pos x="connsiteX1" y="connsiteY1"/>
                </a:cxn>
                <a:cxn ang="0">
                  <a:pos x="connsiteX2" y="connsiteY2"/>
                </a:cxn>
                <a:cxn ang="0">
                  <a:pos x="connsiteX3" y="connsiteY3"/>
                </a:cxn>
              </a:cxnLst>
              <a:rect l="l" t="t" r="r" b="b"/>
              <a:pathLst>
                <a:path w="15788" h="347354">
                  <a:moveTo>
                    <a:pt x="0" y="0"/>
                  </a:moveTo>
                  <a:lnTo>
                    <a:pt x="15789" y="0"/>
                  </a:lnTo>
                  <a:lnTo>
                    <a:pt x="15789" y="347354"/>
                  </a:lnTo>
                  <a:lnTo>
                    <a:pt x="0" y="347354"/>
                  </a:lnTo>
                  <a:close/>
                </a:path>
              </a:pathLst>
            </a:custGeom>
            <a:grpFill/>
            <a:ln w="15875" cap="flat">
              <a:solidFill>
                <a:schemeClr val="bg1"/>
              </a:solidFill>
              <a:prstDash val="solid"/>
              <a:miter/>
            </a:ln>
          </p:spPr>
          <p:txBody>
            <a:bodyPr rtlCol="0" anchor="ctr"/>
            <a:lstStyle/>
            <a:p>
              <a:endParaRPr lang="sv-SE"/>
            </a:p>
          </p:txBody>
        </p:sp>
      </p:grpSp>
      <p:grpSp>
        <p:nvGrpSpPr>
          <p:cNvPr id="43" name="Group 42">
            <a:extLst>
              <a:ext uri="{FF2B5EF4-FFF2-40B4-BE49-F238E27FC236}">
                <a16:creationId xmlns:a16="http://schemas.microsoft.com/office/drawing/2014/main" id="{0A941E61-2D94-3EAA-18F2-7E7157FBF02B}"/>
              </a:ext>
            </a:extLst>
          </p:cNvPr>
          <p:cNvGrpSpPr/>
          <p:nvPr/>
        </p:nvGrpSpPr>
        <p:grpSpPr>
          <a:xfrm>
            <a:off x="9515538" y="2849538"/>
            <a:ext cx="768886" cy="436480"/>
            <a:chOff x="744494" y="7659049"/>
            <a:chExt cx="2838140" cy="1611153"/>
          </a:xfrm>
        </p:grpSpPr>
        <p:sp>
          <p:nvSpPr>
            <p:cNvPr id="25" name="Freeform 24">
              <a:extLst>
                <a:ext uri="{FF2B5EF4-FFF2-40B4-BE49-F238E27FC236}">
                  <a16:creationId xmlns:a16="http://schemas.microsoft.com/office/drawing/2014/main" id="{22C3273B-7706-D54F-FD87-EFE2BC0A907A}"/>
                </a:ext>
              </a:extLst>
            </p:cNvPr>
            <p:cNvSpPr/>
            <p:nvPr/>
          </p:nvSpPr>
          <p:spPr>
            <a:xfrm>
              <a:off x="744494" y="7659049"/>
              <a:ext cx="2838099" cy="1611153"/>
            </a:xfrm>
            <a:custGeom>
              <a:avLst/>
              <a:gdLst>
                <a:gd name="connsiteX0" fmla="*/ 0 w 2838099"/>
                <a:gd name="connsiteY0" fmla="*/ 1611154 h 1611153"/>
                <a:gd name="connsiteX1" fmla="*/ 473023 w 2838099"/>
                <a:gd name="connsiteY1" fmla="*/ 0 h 1611153"/>
                <a:gd name="connsiteX2" fmla="*/ 946047 w 2838099"/>
                <a:gd name="connsiteY2" fmla="*/ 1611154 h 1611153"/>
                <a:gd name="connsiteX3" fmla="*/ 1419070 w 2838099"/>
                <a:gd name="connsiteY3" fmla="*/ 0 h 1611153"/>
                <a:gd name="connsiteX4" fmla="*/ 1892053 w 2838099"/>
                <a:gd name="connsiteY4" fmla="*/ 1611154 h 1611153"/>
                <a:gd name="connsiteX5" fmla="*/ 2365117 w 2838099"/>
                <a:gd name="connsiteY5" fmla="*/ 0 h 1611153"/>
                <a:gd name="connsiteX6" fmla="*/ 2838100 w 2838099"/>
                <a:gd name="connsiteY6" fmla="*/ 1611154 h 1611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8099" h="1611153">
                  <a:moveTo>
                    <a:pt x="0" y="1611154"/>
                  </a:moveTo>
                  <a:cubicBezTo>
                    <a:pt x="236532" y="1611154"/>
                    <a:pt x="236532" y="0"/>
                    <a:pt x="473023" y="0"/>
                  </a:cubicBezTo>
                  <a:cubicBezTo>
                    <a:pt x="709515" y="0"/>
                    <a:pt x="709555" y="1611154"/>
                    <a:pt x="946047" y="1611154"/>
                  </a:cubicBezTo>
                  <a:cubicBezTo>
                    <a:pt x="1182538" y="1611154"/>
                    <a:pt x="1182579" y="0"/>
                    <a:pt x="1419070" y="0"/>
                  </a:cubicBezTo>
                  <a:cubicBezTo>
                    <a:pt x="1655562" y="0"/>
                    <a:pt x="1655562" y="1611154"/>
                    <a:pt x="1892053" y="1611154"/>
                  </a:cubicBezTo>
                  <a:cubicBezTo>
                    <a:pt x="2128545" y="1611154"/>
                    <a:pt x="2128585" y="0"/>
                    <a:pt x="2365117" y="0"/>
                  </a:cubicBezTo>
                  <a:cubicBezTo>
                    <a:pt x="2601649" y="0"/>
                    <a:pt x="2601609" y="1611154"/>
                    <a:pt x="2838100" y="1611154"/>
                  </a:cubicBezTo>
                </a:path>
              </a:pathLst>
            </a:custGeom>
            <a:noFill/>
            <a:ln w="25400" cap="flat">
              <a:solidFill>
                <a:schemeClr val="bg1"/>
              </a:solidFill>
              <a:prstDash val="solid"/>
              <a:miter/>
            </a:ln>
          </p:spPr>
          <p:txBody>
            <a:bodyPr rtlCol="0" anchor="ctr"/>
            <a:lstStyle/>
            <a:p>
              <a:endParaRPr lang="sv-SE"/>
            </a:p>
          </p:txBody>
        </p:sp>
        <p:sp>
          <p:nvSpPr>
            <p:cNvPr id="26" name="Freeform 25">
              <a:extLst>
                <a:ext uri="{FF2B5EF4-FFF2-40B4-BE49-F238E27FC236}">
                  <a16:creationId xmlns:a16="http://schemas.microsoft.com/office/drawing/2014/main" id="{CFB28022-17A6-C839-3A38-7A0E23164EA9}"/>
                </a:ext>
              </a:extLst>
            </p:cNvPr>
            <p:cNvSpPr/>
            <p:nvPr/>
          </p:nvSpPr>
          <p:spPr>
            <a:xfrm>
              <a:off x="744494" y="8464626"/>
              <a:ext cx="2838140" cy="0"/>
            </a:xfrm>
            <a:custGeom>
              <a:avLst/>
              <a:gdLst>
                <a:gd name="connsiteX0" fmla="*/ 0 w 2838140"/>
                <a:gd name="connsiteY0" fmla="*/ 0 h 4048"/>
                <a:gd name="connsiteX1" fmla="*/ 2838141 w 2838140"/>
                <a:gd name="connsiteY1" fmla="*/ 0 h 4048"/>
              </a:gdLst>
              <a:ahLst/>
              <a:cxnLst>
                <a:cxn ang="0">
                  <a:pos x="connsiteX0" y="connsiteY0"/>
                </a:cxn>
                <a:cxn ang="0">
                  <a:pos x="connsiteX1" y="connsiteY1"/>
                </a:cxn>
              </a:cxnLst>
              <a:rect l="l" t="t" r="r" b="b"/>
              <a:pathLst>
                <a:path w="2838140" h="4048">
                  <a:moveTo>
                    <a:pt x="0" y="0"/>
                  </a:moveTo>
                  <a:lnTo>
                    <a:pt x="2838141" y="0"/>
                  </a:lnTo>
                </a:path>
              </a:pathLst>
            </a:custGeom>
            <a:ln w="25400" cap="flat">
              <a:solidFill>
                <a:schemeClr val="bg1"/>
              </a:solidFill>
              <a:prstDash val="solid"/>
              <a:miter/>
            </a:ln>
          </p:spPr>
          <p:txBody>
            <a:bodyPr rtlCol="0" anchor="ctr"/>
            <a:lstStyle/>
            <a:p>
              <a:endParaRPr lang="sv-SE"/>
            </a:p>
          </p:txBody>
        </p:sp>
      </p:grpSp>
      <p:grpSp>
        <p:nvGrpSpPr>
          <p:cNvPr id="42" name="Group 41">
            <a:extLst>
              <a:ext uri="{FF2B5EF4-FFF2-40B4-BE49-F238E27FC236}">
                <a16:creationId xmlns:a16="http://schemas.microsoft.com/office/drawing/2014/main" id="{BDFB72EE-463E-30C9-68B8-CBA99B1D938A}"/>
              </a:ext>
            </a:extLst>
          </p:cNvPr>
          <p:cNvGrpSpPr/>
          <p:nvPr/>
        </p:nvGrpSpPr>
        <p:grpSpPr>
          <a:xfrm>
            <a:off x="5822138" y="2736183"/>
            <a:ext cx="542766" cy="539080"/>
            <a:chOff x="5036478" y="7573755"/>
            <a:chExt cx="1622164" cy="1611153"/>
          </a:xfrm>
        </p:grpSpPr>
        <p:sp>
          <p:nvSpPr>
            <p:cNvPr id="27" name="Freeform 26">
              <a:extLst>
                <a:ext uri="{FF2B5EF4-FFF2-40B4-BE49-F238E27FC236}">
                  <a16:creationId xmlns:a16="http://schemas.microsoft.com/office/drawing/2014/main" id="{6F304FEB-C375-008E-4CC1-8B5599E933CA}"/>
                </a:ext>
              </a:extLst>
            </p:cNvPr>
            <p:cNvSpPr/>
            <p:nvPr/>
          </p:nvSpPr>
          <p:spPr>
            <a:xfrm>
              <a:off x="5847560" y="7980875"/>
              <a:ext cx="0" cy="1204033"/>
            </a:xfrm>
            <a:custGeom>
              <a:avLst/>
              <a:gdLst>
                <a:gd name="connsiteX0" fmla="*/ 0 w 4048"/>
                <a:gd name="connsiteY0" fmla="*/ 0 h 1204033"/>
                <a:gd name="connsiteX1" fmla="*/ 0 w 4048"/>
                <a:gd name="connsiteY1" fmla="*/ 1204034 h 1204033"/>
              </a:gdLst>
              <a:ahLst/>
              <a:cxnLst>
                <a:cxn ang="0">
                  <a:pos x="connsiteX0" y="connsiteY0"/>
                </a:cxn>
                <a:cxn ang="0">
                  <a:pos x="connsiteX1" y="connsiteY1"/>
                </a:cxn>
              </a:cxnLst>
              <a:rect l="l" t="t" r="r" b="b"/>
              <a:pathLst>
                <a:path w="4048" h="1204033">
                  <a:moveTo>
                    <a:pt x="0" y="0"/>
                  </a:moveTo>
                  <a:lnTo>
                    <a:pt x="0" y="1204034"/>
                  </a:lnTo>
                </a:path>
              </a:pathLst>
            </a:custGeom>
            <a:ln w="25400" cap="flat">
              <a:solidFill>
                <a:schemeClr val="bg1"/>
              </a:solidFill>
              <a:prstDash val="solid"/>
              <a:miter/>
            </a:ln>
          </p:spPr>
          <p:txBody>
            <a:bodyPr rtlCol="0" anchor="ctr"/>
            <a:lstStyle/>
            <a:p>
              <a:endParaRPr lang="sv-SE"/>
            </a:p>
          </p:txBody>
        </p:sp>
        <p:sp>
          <p:nvSpPr>
            <p:cNvPr id="28" name="Freeform 27">
              <a:extLst>
                <a:ext uri="{FF2B5EF4-FFF2-40B4-BE49-F238E27FC236}">
                  <a16:creationId xmlns:a16="http://schemas.microsoft.com/office/drawing/2014/main" id="{F9A1E12C-A9CC-B17D-FC2F-DD011C9F29F9}"/>
                </a:ext>
              </a:extLst>
            </p:cNvPr>
            <p:cNvSpPr/>
            <p:nvPr/>
          </p:nvSpPr>
          <p:spPr>
            <a:xfrm>
              <a:off x="5847560" y="7573755"/>
              <a:ext cx="0" cy="192245"/>
            </a:xfrm>
            <a:custGeom>
              <a:avLst/>
              <a:gdLst>
                <a:gd name="connsiteX0" fmla="*/ 0 w 4048"/>
                <a:gd name="connsiteY0" fmla="*/ 0 h 192245"/>
                <a:gd name="connsiteX1" fmla="*/ 0 w 4048"/>
                <a:gd name="connsiteY1" fmla="*/ 192245 h 192245"/>
              </a:gdLst>
              <a:ahLst/>
              <a:cxnLst>
                <a:cxn ang="0">
                  <a:pos x="connsiteX0" y="connsiteY0"/>
                </a:cxn>
                <a:cxn ang="0">
                  <a:pos x="connsiteX1" y="connsiteY1"/>
                </a:cxn>
              </a:cxnLst>
              <a:rect l="l" t="t" r="r" b="b"/>
              <a:pathLst>
                <a:path w="4048" h="192245">
                  <a:moveTo>
                    <a:pt x="0" y="0"/>
                  </a:moveTo>
                  <a:lnTo>
                    <a:pt x="0" y="192245"/>
                  </a:lnTo>
                </a:path>
              </a:pathLst>
            </a:custGeom>
            <a:ln w="25400" cap="flat">
              <a:solidFill>
                <a:schemeClr val="bg1"/>
              </a:solidFill>
              <a:prstDash val="solid"/>
              <a:miter/>
            </a:ln>
          </p:spPr>
          <p:txBody>
            <a:bodyPr rtlCol="0" anchor="ctr"/>
            <a:lstStyle/>
            <a:p>
              <a:endParaRPr lang="sv-SE"/>
            </a:p>
          </p:txBody>
        </p:sp>
        <p:sp>
          <p:nvSpPr>
            <p:cNvPr id="29" name="Freeform 28">
              <a:extLst>
                <a:ext uri="{FF2B5EF4-FFF2-40B4-BE49-F238E27FC236}">
                  <a16:creationId xmlns:a16="http://schemas.microsoft.com/office/drawing/2014/main" id="{9939EA0A-9D1C-A2AB-4385-770F0AE7E500}"/>
                </a:ext>
              </a:extLst>
            </p:cNvPr>
            <p:cNvSpPr/>
            <p:nvPr/>
          </p:nvSpPr>
          <p:spPr>
            <a:xfrm rot="19913400">
              <a:off x="5740363" y="7766280"/>
              <a:ext cx="214550" cy="214550"/>
            </a:xfrm>
            <a:custGeom>
              <a:avLst/>
              <a:gdLst>
                <a:gd name="connsiteX0" fmla="*/ 214551 w 214550"/>
                <a:gd name="connsiteY0" fmla="*/ 107275 h 214550"/>
                <a:gd name="connsiteX1" fmla="*/ 107275 w 214550"/>
                <a:gd name="connsiteY1" fmla="*/ 214551 h 214550"/>
                <a:gd name="connsiteX2" fmla="*/ 0 w 214550"/>
                <a:gd name="connsiteY2" fmla="*/ 107275 h 214550"/>
                <a:gd name="connsiteX3" fmla="*/ 107275 w 214550"/>
                <a:gd name="connsiteY3" fmla="*/ 0 h 214550"/>
                <a:gd name="connsiteX4" fmla="*/ 214551 w 214550"/>
                <a:gd name="connsiteY4" fmla="*/ 107275 h 2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550" h="214550">
                  <a:moveTo>
                    <a:pt x="214551" y="107275"/>
                  </a:moveTo>
                  <a:cubicBezTo>
                    <a:pt x="214551" y="166522"/>
                    <a:pt x="166522" y="214551"/>
                    <a:pt x="107275" y="214551"/>
                  </a:cubicBezTo>
                  <a:cubicBezTo>
                    <a:pt x="48029" y="214551"/>
                    <a:pt x="0" y="166522"/>
                    <a:pt x="0" y="107275"/>
                  </a:cubicBezTo>
                  <a:cubicBezTo>
                    <a:pt x="0" y="48029"/>
                    <a:pt x="48029" y="0"/>
                    <a:pt x="107275" y="0"/>
                  </a:cubicBezTo>
                  <a:cubicBezTo>
                    <a:pt x="166522" y="0"/>
                    <a:pt x="214551" y="48029"/>
                    <a:pt x="214551" y="107275"/>
                  </a:cubicBezTo>
                  <a:close/>
                </a:path>
              </a:pathLst>
            </a:custGeom>
            <a:noFill/>
            <a:ln w="25400" cap="flat">
              <a:solidFill>
                <a:schemeClr val="bg1"/>
              </a:solidFill>
              <a:prstDash val="solid"/>
              <a:miter/>
            </a:ln>
          </p:spPr>
          <p:txBody>
            <a:bodyPr rtlCol="0" anchor="ctr"/>
            <a:lstStyle/>
            <a:p>
              <a:endParaRPr lang="sv-SE"/>
            </a:p>
          </p:txBody>
        </p:sp>
        <p:sp>
          <p:nvSpPr>
            <p:cNvPr id="30" name="Freeform 29">
              <a:extLst>
                <a:ext uri="{FF2B5EF4-FFF2-40B4-BE49-F238E27FC236}">
                  <a16:creationId xmlns:a16="http://schemas.microsoft.com/office/drawing/2014/main" id="{C210743C-1BDE-3F88-20DF-5A7975E40582}"/>
                </a:ext>
              </a:extLst>
            </p:cNvPr>
            <p:cNvSpPr/>
            <p:nvPr/>
          </p:nvSpPr>
          <p:spPr>
            <a:xfrm>
              <a:off x="5947913" y="7911167"/>
              <a:ext cx="554876" cy="209369"/>
            </a:xfrm>
            <a:custGeom>
              <a:avLst/>
              <a:gdLst>
                <a:gd name="connsiteX0" fmla="*/ 0 w 554876"/>
                <a:gd name="connsiteY0" fmla="*/ 0 h 209369"/>
                <a:gd name="connsiteX1" fmla="*/ 554876 w 554876"/>
                <a:gd name="connsiteY1" fmla="*/ 209369 h 209369"/>
              </a:gdLst>
              <a:ahLst/>
              <a:cxnLst>
                <a:cxn ang="0">
                  <a:pos x="connsiteX0" y="connsiteY0"/>
                </a:cxn>
                <a:cxn ang="0">
                  <a:pos x="connsiteX1" y="connsiteY1"/>
                </a:cxn>
              </a:cxnLst>
              <a:rect l="l" t="t" r="r" b="b"/>
              <a:pathLst>
                <a:path w="554876" h="209369">
                  <a:moveTo>
                    <a:pt x="0" y="0"/>
                  </a:moveTo>
                  <a:lnTo>
                    <a:pt x="554876" y="209369"/>
                  </a:lnTo>
                </a:path>
              </a:pathLst>
            </a:custGeom>
            <a:ln w="25400" cap="flat">
              <a:solidFill>
                <a:schemeClr val="bg1"/>
              </a:solidFill>
              <a:prstDash val="solid"/>
              <a:miter/>
            </a:ln>
          </p:spPr>
          <p:txBody>
            <a:bodyPr rtlCol="0" anchor="ctr"/>
            <a:lstStyle/>
            <a:p>
              <a:endParaRPr lang="sv-SE"/>
            </a:p>
          </p:txBody>
        </p:sp>
        <p:sp>
          <p:nvSpPr>
            <p:cNvPr id="31" name="Freeform 30">
              <a:extLst>
                <a:ext uri="{FF2B5EF4-FFF2-40B4-BE49-F238E27FC236}">
                  <a16:creationId xmlns:a16="http://schemas.microsoft.com/office/drawing/2014/main" id="{E075B57F-2CAD-3EC6-821E-D3706F27B1B1}"/>
                </a:ext>
              </a:extLst>
            </p:cNvPr>
            <p:cNvSpPr/>
            <p:nvPr/>
          </p:nvSpPr>
          <p:spPr>
            <a:xfrm>
              <a:off x="5192330" y="7626098"/>
              <a:ext cx="554876" cy="209369"/>
            </a:xfrm>
            <a:custGeom>
              <a:avLst/>
              <a:gdLst>
                <a:gd name="connsiteX0" fmla="*/ 0 w 554876"/>
                <a:gd name="connsiteY0" fmla="*/ 0 h 209369"/>
                <a:gd name="connsiteX1" fmla="*/ 554876 w 554876"/>
                <a:gd name="connsiteY1" fmla="*/ 209369 h 209369"/>
              </a:gdLst>
              <a:ahLst/>
              <a:cxnLst>
                <a:cxn ang="0">
                  <a:pos x="connsiteX0" y="connsiteY0"/>
                </a:cxn>
                <a:cxn ang="0">
                  <a:pos x="connsiteX1" y="connsiteY1"/>
                </a:cxn>
              </a:cxnLst>
              <a:rect l="l" t="t" r="r" b="b"/>
              <a:pathLst>
                <a:path w="554876" h="209369">
                  <a:moveTo>
                    <a:pt x="0" y="0"/>
                  </a:moveTo>
                  <a:lnTo>
                    <a:pt x="554876" y="209369"/>
                  </a:lnTo>
                </a:path>
              </a:pathLst>
            </a:custGeom>
            <a:ln w="25400" cap="flat">
              <a:solidFill>
                <a:schemeClr val="bg1"/>
              </a:solidFill>
              <a:prstDash val="solid"/>
              <a:miter/>
            </a:ln>
          </p:spPr>
          <p:txBody>
            <a:bodyPr rtlCol="0" anchor="ctr"/>
            <a:lstStyle/>
            <a:p>
              <a:endParaRPr lang="sv-SE"/>
            </a:p>
          </p:txBody>
        </p:sp>
        <p:sp>
          <p:nvSpPr>
            <p:cNvPr id="34" name="Freeform 33">
              <a:extLst>
                <a:ext uri="{FF2B5EF4-FFF2-40B4-BE49-F238E27FC236}">
                  <a16:creationId xmlns:a16="http://schemas.microsoft.com/office/drawing/2014/main" id="{6E986BA8-218A-3CF8-234F-F1ACC141B109}"/>
                </a:ext>
              </a:extLst>
            </p:cNvPr>
            <p:cNvSpPr/>
            <p:nvPr/>
          </p:nvSpPr>
          <p:spPr>
            <a:xfrm>
              <a:off x="5276774" y="7668886"/>
              <a:ext cx="175283" cy="674012"/>
            </a:xfrm>
            <a:custGeom>
              <a:avLst/>
              <a:gdLst>
                <a:gd name="connsiteX0" fmla="*/ 175284 w 175283"/>
                <a:gd name="connsiteY0" fmla="*/ 674013 h 674012"/>
                <a:gd name="connsiteX1" fmla="*/ 0 w 175283"/>
                <a:gd name="connsiteY1" fmla="*/ 0 h 674012"/>
              </a:gdLst>
              <a:ahLst/>
              <a:cxnLst>
                <a:cxn ang="0">
                  <a:pos x="connsiteX0" y="connsiteY0"/>
                </a:cxn>
                <a:cxn ang="0">
                  <a:pos x="connsiteX1" y="connsiteY1"/>
                </a:cxn>
              </a:cxnLst>
              <a:rect l="l" t="t" r="r" b="b"/>
              <a:pathLst>
                <a:path w="175283" h="674012">
                  <a:moveTo>
                    <a:pt x="175284" y="674013"/>
                  </a:moveTo>
                  <a:lnTo>
                    <a:pt x="0" y="0"/>
                  </a:lnTo>
                </a:path>
              </a:pathLst>
            </a:custGeom>
            <a:ln w="25400" cap="flat">
              <a:solidFill>
                <a:schemeClr val="bg1"/>
              </a:solidFill>
              <a:prstDash val="solid"/>
              <a:miter/>
            </a:ln>
          </p:spPr>
          <p:txBody>
            <a:bodyPr rtlCol="0" anchor="ctr"/>
            <a:lstStyle/>
            <a:p>
              <a:endParaRPr lang="sv-SE"/>
            </a:p>
          </p:txBody>
        </p:sp>
        <p:sp>
          <p:nvSpPr>
            <p:cNvPr id="35" name="Freeform 34">
              <a:extLst>
                <a:ext uri="{FF2B5EF4-FFF2-40B4-BE49-F238E27FC236}">
                  <a16:creationId xmlns:a16="http://schemas.microsoft.com/office/drawing/2014/main" id="{B2D5A606-0195-BE6A-BEC0-0697F8C5A567}"/>
                </a:ext>
              </a:extLst>
            </p:cNvPr>
            <p:cNvSpPr/>
            <p:nvPr/>
          </p:nvSpPr>
          <p:spPr>
            <a:xfrm>
              <a:off x="5101491" y="7668886"/>
              <a:ext cx="175283" cy="674012"/>
            </a:xfrm>
            <a:custGeom>
              <a:avLst/>
              <a:gdLst>
                <a:gd name="connsiteX0" fmla="*/ 175284 w 175283"/>
                <a:gd name="connsiteY0" fmla="*/ 0 h 674012"/>
                <a:gd name="connsiteX1" fmla="*/ 0 w 175283"/>
                <a:gd name="connsiteY1" fmla="*/ 674013 h 674012"/>
              </a:gdLst>
              <a:ahLst/>
              <a:cxnLst>
                <a:cxn ang="0">
                  <a:pos x="connsiteX0" y="connsiteY0"/>
                </a:cxn>
                <a:cxn ang="0">
                  <a:pos x="connsiteX1" y="connsiteY1"/>
                </a:cxn>
              </a:cxnLst>
              <a:rect l="l" t="t" r="r" b="b"/>
              <a:pathLst>
                <a:path w="175283" h="674012">
                  <a:moveTo>
                    <a:pt x="175284" y="0"/>
                  </a:moveTo>
                  <a:lnTo>
                    <a:pt x="0" y="674013"/>
                  </a:lnTo>
                </a:path>
              </a:pathLst>
            </a:custGeom>
            <a:ln w="25400" cap="flat">
              <a:solidFill>
                <a:schemeClr val="bg1"/>
              </a:solidFill>
              <a:prstDash val="solid"/>
              <a:miter/>
            </a:ln>
          </p:spPr>
          <p:txBody>
            <a:bodyPr rtlCol="0" anchor="ctr"/>
            <a:lstStyle/>
            <a:p>
              <a:endParaRPr lang="sv-SE"/>
            </a:p>
          </p:txBody>
        </p:sp>
        <p:sp>
          <p:nvSpPr>
            <p:cNvPr id="36" name="Freeform 35">
              <a:extLst>
                <a:ext uri="{FF2B5EF4-FFF2-40B4-BE49-F238E27FC236}">
                  <a16:creationId xmlns:a16="http://schemas.microsoft.com/office/drawing/2014/main" id="{0352B1F0-1A2F-81EF-E86D-8A54A682BDF3}"/>
                </a:ext>
              </a:extLst>
            </p:cNvPr>
            <p:cNvSpPr/>
            <p:nvPr/>
          </p:nvSpPr>
          <p:spPr>
            <a:xfrm>
              <a:off x="5036478" y="8338851"/>
              <a:ext cx="472497" cy="161925"/>
            </a:xfrm>
            <a:custGeom>
              <a:avLst/>
              <a:gdLst>
                <a:gd name="connsiteX0" fmla="*/ 0 w 472497"/>
                <a:gd name="connsiteY0" fmla="*/ 0 h 161925"/>
                <a:gd name="connsiteX1" fmla="*/ 226128 w 472497"/>
                <a:gd name="connsiteY1" fmla="*/ 161925 h 161925"/>
                <a:gd name="connsiteX2" fmla="*/ 246369 w 472497"/>
                <a:gd name="connsiteY2" fmla="*/ 161925 h 161925"/>
                <a:gd name="connsiteX3" fmla="*/ 472497 w 472497"/>
                <a:gd name="connsiteY3" fmla="*/ 0 h 161925"/>
                <a:gd name="connsiteX4" fmla="*/ 41 w 472497"/>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97" h="161925">
                  <a:moveTo>
                    <a:pt x="0" y="0"/>
                  </a:moveTo>
                  <a:cubicBezTo>
                    <a:pt x="32021" y="94159"/>
                    <a:pt x="121120" y="161925"/>
                    <a:pt x="226128" y="161925"/>
                  </a:cubicBezTo>
                  <a:lnTo>
                    <a:pt x="246369" y="161925"/>
                  </a:lnTo>
                  <a:cubicBezTo>
                    <a:pt x="351337" y="161925"/>
                    <a:pt x="440436" y="94159"/>
                    <a:pt x="472497" y="0"/>
                  </a:cubicBezTo>
                  <a:lnTo>
                    <a:pt x="41" y="0"/>
                  </a:lnTo>
                  <a:close/>
                </a:path>
              </a:pathLst>
            </a:custGeom>
            <a:noFill/>
            <a:ln w="25400" cap="flat">
              <a:solidFill>
                <a:schemeClr val="bg1"/>
              </a:solidFill>
              <a:prstDash val="solid"/>
              <a:miter/>
            </a:ln>
          </p:spPr>
          <p:txBody>
            <a:bodyPr rtlCol="0" anchor="ctr"/>
            <a:lstStyle/>
            <a:p>
              <a:endParaRPr lang="sv-SE"/>
            </a:p>
          </p:txBody>
        </p:sp>
        <p:sp>
          <p:nvSpPr>
            <p:cNvPr id="37" name="Freeform 36">
              <a:extLst>
                <a:ext uri="{FF2B5EF4-FFF2-40B4-BE49-F238E27FC236}">
                  <a16:creationId xmlns:a16="http://schemas.microsoft.com/office/drawing/2014/main" id="{01C1CB90-57F6-6088-6961-FE7D27E1FE7E}"/>
                </a:ext>
              </a:extLst>
            </p:cNvPr>
            <p:cNvSpPr/>
            <p:nvPr/>
          </p:nvSpPr>
          <p:spPr>
            <a:xfrm>
              <a:off x="6426442" y="8093939"/>
              <a:ext cx="175283" cy="674012"/>
            </a:xfrm>
            <a:custGeom>
              <a:avLst/>
              <a:gdLst>
                <a:gd name="connsiteX0" fmla="*/ 175284 w 175283"/>
                <a:gd name="connsiteY0" fmla="*/ 674013 h 674012"/>
                <a:gd name="connsiteX1" fmla="*/ 0 w 175283"/>
                <a:gd name="connsiteY1" fmla="*/ 0 h 674012"/>
              </a:gdLst>
              <a:ahLst/>
              <a:cxnLst>
                <a:cxn ang="0">
                  <a:pos x="connsiteX0" y="connsiteY0"/>
                </a:cxn>
                <a:cxn ang="0">
                  <a:pos x="connsiteX1" y="connsiteY1"/>
                </a:cxn>
              </a:cxnLst>
              <a:rect l="l" t="t" r="r" b="b"/>
              <a:pathLst>
                <a:path w="175283" h="674012">
                  <a:moveTo>
                    <a:pt x="175284" y="674013"/>
                  </a:moveTo>
                  <a:lnTo>
                    <a:pt x="0" y="0"/>
                  </a:lnTo>
                </a:path>
              </a:pathLst>
            </a:custGeom>
            <a:ln w="25400" cap="flat">
              <a:solidFill>
                <a:schemeClr val="bg1"/>
              </a:solidFill>
              <a:prstDash val="solid"/>
              <a:miter/>
            </a:ln>
          </p:spPr>
          <p:txBody>
            <a:bodyPr rtlCol="0" anchor="ctr"/>
            <a:lstStyle/>
            <a:p>
              <a:endParaRPr lang="sv-SE"/>
            </a:p>
          </p:txBody>
        </p:sp>
        <p:sp>
          <p:nvSpPr>
            <p:cNvPr id="38" name="Freeform 37">
              <a:extLst>
                <a:ext uri="{FF2B5EF4-FFF2-40B4-BE49-F238E27FC236}">
                  <a16:creationId xmlns:a16="http://schemas.microsoft.com/office/drawing/2014/main" id="{E009A06C-6A40-1B6A-C8E5-0FD81C3ECCD5}"/>
                </a:ext>
              </a:extLst>
            </p:cNvPr>
            <p:cNvSpPr/>
            <p:nvPr/>
          </p:nvSpPr>
          <p:spPr>
            <a:xfrm>
              <a:off x="6251158" y="8093939"/>
              <a:ext cx="175283" cy="674012"/>
            </a:xfrm>
            <a:custGeom>
              <a:avLst/>
              <a:gdLst>
                <a:gd name="connsiteX0" fmla="*/ 175284 w 175283"/>
                <a:gd name="connsiteY0" fmla="*/ 0 h 674012"/>
                <a:gd name="connsiteX1" fmla="*/ 0 w 175283"/>
                <a:gd name="connsiteY1" fmla="*/ 674013 h 674012"/>
              </a:gdLst>
              <a:ahLst/>
              <a:cxnLst>
                <a:cxn ang="0">
                  <a:pos x="connsiteX0" y="connsiteY0"/>
                </a:cxn>
                <a:cxn ang="0">
                  <a:pos x="connsiteX1" y="connsiteY1"/>
                </a:cxn>
              </a:cxnLst>
              <a:rect l="l" t="t" r="r" b="b"/>
              <a:pathLst>
                <a:path w="175283" h="674012">
                  <a:moveTo>
                    <a:pt x="175284" y="0"/>
                  </a:moveTo>
                  <a:lnTo>
                    <a:pt x="0" y="674013"/>
                  </a:lnTo>
                </a:path>
              </a:pathLst>
            </a:custGeom>
            <a:ln w="25400" cap="flat">
              <a:solidFill>
                <a:schemeClr val="bg1"/>
              </a:solidFill>
              <a:prstDash val="solid"/>
              <a:miter/>
            </a:ln>
          </p:spPr>
          <p:txBody>
            <a:bodyPr rtlCol="0" anchor="ctr"/>
            <a:lstStyle/>
            <a:p>
              <a:endParaRPr lang="sv-SE"/>
            </a:p>
          </p:txBody>
        </p:sp>
        <p:sp>
          <p:nvSpPr>
            <p:cNvPr id="39" name="Freeform 38">
              <a:extLst>
                <a:ext uri="{FF2B5EF4-FFF2-40B4-BE49-F238E27FC236}">
                  <a16:creationId xmlns:a16="http://schemas.microsoft.com/office/drawing/2014/main" id="{241A6F1A-FBEE-7EF0-B4D2-CFCA81976D1D}"/>
                </a:ext>
              </a:extLst>
            </p:cNvPr>
            <p:cNvSpPr/>
            <p:nvPr/>
          </p:nvSpPr>
          <p:spPr>
            <a:xfrm>
              <a:off x="6186145" y="8763904"/>
              <a:ext cx="472497" cy="161925"/>
            </a:xfrm>
            <a:custGeom>
              <a:avLst/>
              <a:gdLst>
                <a:gd name="connsiteX0" fmla="*/ 0 w 472497"/>
                <a:gd name="connsiteY0" fmla="*/ 0 h 161925"/>
                <a:gd name="connsiteX1" fmla="*/ 226128 w 472497"/>
                <a:gd name="connsiteY1" fmla="*/ 161925 h 161925"/>
                <a:gd name="connsiteX2" fmla="*/ 246369 w 472497"/>
                <a:gd name="connsiteY2" fmla="*/ 161925 h 161925"/>
                <a:gd name="connsiteX3" fmla="*/ 472497 w 472497"/>
                <a:gd name="connsiteY3" fmla="*/ 0 h 161925"/>
                <a:gd name="connsiteX4" fmla="*/ 41 w 472497"/>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97" h="161925">
                  <a:moveTo>
                    <a:pt x="0" y="0"/>
                  </a:moveTo>
                  <a:cubicBezTo>
                    <a:pt x="32021" y="94159"/>
                    <a:pt x="121120" y="161925"/>
                    <a:pt x="226128" y="161925"/>
                  </a:cubicBezTo>
                  <a:lnTo>
                    <a:pt x="246369" y="161925"/>
                  </a:lnTo>
                  <a:cubicBezTo>
                    <a:pt x="351337" y="161925"/>
                    <a:pt x="440436" y="94159"/>
                    <a:pt x="472497" y="0"/>
                  </a:cubicBezTo>
                  <a:lnTo>
                    <a:pt x="41" y="0"/>
                  </a:lnTo>
                  <a:close/>
                </a:path>
              </a:pathLst>
            </a:custGeom>
            <a:noFill/>
            <a:ln w="25400" cap="flat">
              <a:solidFill>
                <a:schemeClr val="bg1"/>
              </a:solidFill>
              <a:prstDash val="solid"/>
              <a:miter/>
            </a:ln>
          </p:spPr>
          <p:txBody>
            <a:bodyPr rtlCol="0" anchor="ctr"/>
            <a:lstStyle/>
            <a:p>
              <a:endParaRPr lang="sv-SE"/>
            </a:p>
          </p:txBody>
        </p:sp>
        <p:sp>
          <p:nvSpPr>
            <p:cNvPr id="40" name="Freeform 39">
              <a:extLst>
                <a:ext uri="{FF2B5EF4-FFF2-40B4-BE49-F238E27FC236}">
                  <a16:creationId xmlns:a16="http://schemas.microsoft.com/office/drawing/2014/main" id="{7EFEF364-B33E-FA21-5B70-BC526C299279}"/>
                </a:ext>
              </a:extLst>
            </p:cNvPr>
            <p:cNvSpPr/>
            <p:nvPr/>
          </p:nvSpPr>
          <p:spPr>
            <a:xfrm>
              <a:off x="5339520" y="9176813"/>
              <a:ext cx="1016079" cy="0"/>
            </a:xfrm>
            <a:custGeom>
              <a:avLst/>
              <a:gdLst>
                <a:gd name="connsiteX0" fmla="*/ 0 w 1016079"/>
                <a:gd name="connsiteY0" fmla="*/ 0 h 4048"/>
                <a:gd name="connsiteX1" fmla="*/ 1016079 w 1016079"/>
                <a:gd name="connsiteY1" fmla="*/ 0 h 4048"/>
              </a:gdLst>
              <a:ahLst/>
              <a:cxnLst>
                <a:cxn ang="0">
                  <a:pos x="connsiteX0" y="connsiteY0"/>
                </a:cxn>
                <a:cxn ang="0">
                  <a:pos x="connsiteX1" y="connsiteY1"/>
                </a:cxn>
              </a:cxnLst>
              <a:rect l="l" t="t" r="r" b="b"/>
              <a:pathLst>
                <a:path w="1016079" h="4048">
                  <a:moveTo>
                    <a:pt x="0" y="0"/>
                  </a:moveTo>
                  <a:lnTo>
                    <a:pt x="1016079" y="0"/>
                  </a:lnTo>
                </a:path>
              </a:pathLst>
            </a:custGeom>
            <a:ln w="25400" cap="flat">
              <a:solidFill>
                <a:schemeClr val="bg1"/>
              </a:solidFill>
              <a:prstDash val="solid"/>
              <a:miter/>
            </a:ln>
          </p:spPr>
          <p:txBody>
            <a:bodyPr rtlCol="0" anchor="ctr"/>
            <a:lstStyle/>
            <a:p>
              <a:endParaRPr lang="sv-SE"/>
            </a:p>
          </p:txBody>
        </p:sp>
        <p:sp>
          <p:nvSpPr>
            <p:cNvPr id="41" name="Freeform 40">
              <a:extLst>
                <a:ext uri="{FF2B5EF4-FFF2-40B4-BE49-F238E27FC236}">
                  <a16:creationId xmlns:a16="http://schemas.microsoft.com/office/drawing/2014/main" id="{36EDFC10-46FC-9720-47C9-A35F0A98E049}"/>
                </a:ext>
              </a:extLst>
            </p:cNvPr>
            <p:cNvSpPr/>
            <p:nvPr/>
          </p:nvSpPr>
          <p:spPr>
            <a:xfrm>
              <a:off x="5622889" y="9063465"/>
              <a:ext cx="449341" cy="113347"/>
            </a:xfrm>
            <a:custGeom>
              <a:avLst/>
              <a:gdLst>
                <a:gd name="connsiteX0" fmla="*/ 0 w 449341"/>
                <a:gd name="connsiteY0" fmla="*/ 113348 h 113347"/>
                <a:gd name="connsiteX1" fmla="*/ 0 w 449341"/>
                <a:gd name="connsiteY1" fmla="*/ 0 h 113347"/>
                <a:gd name="connsiteX2" fmla="*/ 449342 w 449341"/>
                <a:gd name="connsiteY2" fmla="*/ 0 h 113347"/>
                <a:gd name="connsiteX3" fmla="*/ 449342 w 449341"/>
                <a:gd name="connsiteY3" fmla="*/ 113348 h 113347"/>
              </a:gdLst>
              <a:ahLst/>
              <a:cxnLst>
                <a:cxn ang="0">
                  <a:pos x="connsiteX0" y="connsiteY0"/>
                </a:cxn>
                <a:cxn ang="0">
                  <a:pos x="connsiteX1" y="connsiteY1"/>
                </a:cxn>
                <a:cxn ang="0">
                  <a:pos x="connsiteX2" y="connsiteY2"/>
                </a:cxn>
                <a:cxn ang="0">
                  <a:pos x="connsiteX3" y="connsiteY3"/>
                </a:cxn>
              </a:cxnLst>
              <a:rect l="l" t="t" r="r" b="b"/>
              <a:pathLst>
                <a:path w="449341" h="113347">
                  <a:moveTo>
                    <a:pt x="0" y="113348"/>
                  </a:moveTo>
                  <a:lnTo>
                    <a:pt x="0" y="0"/>
                  </a:lnTo>
                  <a:lnTo>
                    <a:pt x="449342" y="0"/>
                  </a:lnTo>
                  <a:lnTo>
                    <a:pt x="449342" y="113348"/>
                  </a:lnTo>
                </a:path>
              </a:pathLst>
            </a:custGeom>
            <a:noFill/>
            <a:ln w="25400" cap="flat">
              <a:solidFill>
                <a:schemeClr val="bg1"/>
              </a:solidFill>
              <a:prstDash val="solid"/>
              <a:miter/>
            </a:ln>
          </p:spPr>
          <p:txBody>
            <a:bodyPr rtlCol="0" anchor="ctr"/>
            <a:lstStyle/>
            <a:p>
              <a:endParaRPr lang="sv-SE"/>
            </a:p>
          </p:txBody>
        </p:sp>
      </p:grpSp>
      <p:sp>
        <p:nvSpPr>
          <p:cNvPr id="46" name="TextBox 45">
            <a:extLst>
              <a:ext uri="{FF2B5EF4-FFF2-40B4-BE49-F238E27FC236}">
                <a16:creationId xmlns:a16="http://schemas.microsoft.com/office/drawing/2014/main" id="{5AF48D63-5351-5E99-5864-478223C50F72}"/>
              </a:ext>
            </a:extLst>
          </p:cNvPr>
          <p:cNvSpPr txBox="1"/>
          <p:nvPr/>
        </p:nvSpPr>
        <p:spPr>
          <a:xfrm>
            <a:off x="666420" y="4569566"/>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dirty="0">
                <a:solidFill>
                  <a:schemeClr val="bg1"/>
                </a:solidFill>
              </a:rPr>
              <a:t>Vätgas produceras genom elektrolys av vatten med fossilfri el. </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45" name="TextBox 44">
            <a:extLst>
              <a:ext uri="{FF2B5EF4-FFF2-40B4-BE49-F238E27FC236}">
                <a16:creationId xmlns:a16="http://schemas.microsoft.com/office/drawing/2014/main" id="{87B89641-F3EF-8086-9C9E-9CE920CCF1C5}"/>
              </a:ext>
            </a:extLst>
          </p:cNvPr>
          <p:cNvSpPr txBox="1"/>
          <p:nvPr/>
        </p:nvSpPr>
        <p:spPr>
          <a:xfrm>
            <a:off x="666420" y="3542605"/>
            <a:ext cx="3254841" cy="916085"/>
          </a:xfrm>
          <a:prstGeom prst="rect">
            <a:avLst/>
          </a:prstGeom>
          <a:noFill/>
        </p:spPr>
        <p:txBody>
          <a:bodyPr wrap="square" lIns="0" tIns="0" rIns="0" bIns="0">
            <a:spAutoFit/>
          </a:bodyPr>
          <a:lstStyle/>
          <a:p>
            <a:pPr algn="ctr">
              <a:lnSpc>
                <a:spcPct val="90000"/>
              </a:lnSpc>
            </a:pPr>
            <a:r>
              <a:rPr lang="sv-SE" sz="2200" b="1" dirty="0">
                <a:solidFill>
                  <a:schemeClr val="bg1"/>
                </a:solidFill>
              </a:rPr>
              <a:t>Utmaningar för industriell produktion </a:t>
            </a:r>
            <a:br>
              <a:rPr lang="sv-SE" sz="2200" b="1" dirty="0">
                <a:solidFill>
                  <a:schemeClr val="bg1"/>
                </a:solidFill>
              </a:rPr>
            </a:br>
            <a:r>
              <a:rPr lang="sv-SE" sz="2200" b="1" dirty="0">
                <a:solidFill>
                  <a:schemeClr val="bg1"/>
                </a:solidFill>
              </a:rPr>
              <a:t>av vätgas</a:t>
            </a:r>
          </a:p>
        </p:txBody>
      </p:sp>
      <p:sp>
        <p:nvSpPr>
          <p:cNvPr id="48" name="TextBox 47">
            <a:extLst>
              <a:ext uri="{FF2B5EF4-FFF2-40B4-BE49-F238E27FC236}">
                <a16:creationId xmlns:a16="http://schemas.microsoft.com/office/drawing/2014/main" id="{C9A6F288-3C03-226A-DB1F-F7C9465D741B}"/>
              </a:ext>
            </a:extLst>
          </p:cNvPr>
          <p:cNvSpPr txBox="1"/>
          <p:nvPr/>
        </p:nvSpPr>
        <p:spPr>
          <a:xfrm>
            <a:off x="4466101" y="4569566"/>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dirty="0">
                <a:solidFill>
                  <a:schemeClr val="bg1"/>
                </a:solidFill>
              </a:rPr>
              <a:t>Elnätets belastning under </a:t>
            </a:r>
            <a:br>
              <a:rPr lang="sv-SE" sz="1600" dirty="0">
                <a:solidFill>
                  <a:schemeClr val="bg1"/>
                </a:solidFill>
              </a:rPr>
            </a:br>
            <a:r>
              <a:rPr lang="sv-SE" sz="1600" dirty="0">
                <a:solidFill>
                  <a:schemeClr val="bg1"/>
                </a:solidFill>
              </a:rPr>
              <a:t>dygn, veckodag &amp; säsong</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47" name="TextBox 46">
            <a:extLst>
              <a:ext uri="{FF2B5EF4-FFF2-40B4-BE49-F238E27FC236}">
                <a16:creationId xmlns:a16="http://schemas.microsoft.com/office/drawing/2014/main" id="{FCC8CF53-7771-857A-0F5B-3CAA9CC340F3}"/>
              </a:ext>
            </a:extLst>
          </p:cNvPr>
          <p:cNvSpPr txBox="1"/>
          <p:nvPr/>
        </p:nvSpPr>
        <p:spPr>
          <a:xfrm>
            <a:off x="4466101" y="3542605"/>
            <a:ext cx="3254841" cy="611386"/>
          </a:xfrm>
          <a:prstGeom prst="rect">
            <a:avLst/>
          </a:prstGeom>
          <a:noFill/>
        </p:spPr>
        <p:txBody>
          <a:bodyPr wrap="square" lIns="0" tIns="0" rIns="0" bIns="0">
            <a:spAutoFit/>
          </a:bodyPr>
          <a:lstStyle/>
          <a:p>
            <a:pPr algn="ctr">
              <a:lnSpc>
                <a:spcPct val="90000"/>
              </a:lnSpc>
            </a:pPr>
            <a:r>
              <a:rPr lang="sv-SE" sz="2200" b="1" dirty="0">
                <a:solidFill>
                  <a:schemeClr val="bg1"/>
                </a:solidFill>
              </a:rPr>
              <a:t>Variation i utbud </a:t>
            </a:r>
            <a:br>
              <a:rPr lang="sv-SE" sz="2200" b="1" dirty="0">
                <a:solidFill>
                  <a:schemeClr val="bg1"/>
                </a:solidFill>
              </a:rPr>
            </a:br>
            <a:r>
              <a:rPr lang="sv-SE" sz="2200" b="1" dirty="0">
                <a:solidFill>
                  <a:schemeClr val="bg1"/>
                </a:solidFill>
              </a:rPr>
              <a:t>och efterfrågan </a:t>
            </a:r>
          </a:p>
        </p:txBody>
      </p:sp>
      <p:sp>
        <p:nvSpPr>
          <p:cNvPr id="50" name="TextBox 49">
            <a:extLst>
              <a:ext uri="{FF2B5EF4-FFF2-40B4-BE49-F238E27FC236}">
                <a16:creationId xmlns:a16="http://schemas.microsoft.com/office/drawing/2014/main" id="{0189FFF1-C3F3-977F-36A7-AABC7CC7E4BC}"/>
              </a:ext>
            </a:extLst>
          </p:cNvPr>
          <p:cNvSpPr txBox="1"/>
          <p:nvPr/>
        </p:nvSpPr>
        <p:spPr>
          <a:xfrm>
            <a:off x="8272561" y="4590114"/>
            <a:ext cx="3254840" cy="444609"/>
          </a:xfrm>
          <a:prstGeom prst="rect">
            <a:avLst/>
          </a:prstGeom>
          <a:noFill/>
        </p:spPr>
        <p:txBody>
          <a:bodyPr wrap="square" lIns="0" tIns="0" rIns="0" bIns="0" rtlCol="0">
            <a:spAutoFit/>
          </a:bodyPr>
          <a:lstStyle/>
          <a:p>
            <a:pPr lvl="0" algn="ctr">
              <a:lnSpc>
                <a:spcPct val="90000"/>
              </a:lnSpc>
              <a:spcAft>
                <a:spcPts val="1600"/>
              </a:spcAft>
              <a:defRPr/>
            </a:pPr>
            <a:r>
              <a:rPr lang="sv-SE" sz="1600" dirty="0">
                <a:solidFill>
                  <a:schemeClr val="bg1"/>
                </a:solidFill>
              </a:rPr>
              <a:t>Energimixen med ökad andel väderberoende kraftslag</a:t>
            </a:r>
            <a:endParaRPr kumimoji="0" lang="sv-SE" sz="1600" i="0" u="none" strike="noStrike" kern="1200" cap="none" normalizeH="0" noProof="0" dirty="0">
              <a:ln>
                <a:noFill/>
              </a:ln>
              <a:solidFill>
                <a:schemeClr val="bg1"/>
              </a:solidFill>
              <a:effectLst/>
              <a:uLnTx/>
              <a:uFillTx/>
              <a:latin typeface="Aptos" panose="02110004020202020204"/>
            </a:endParaRPr>
          </a:p>
        </p:txBody>
      </p:sp>
      <p:sp>
        <p:nvSpPr>
          <p:cNvPr id="49" name="TextBox 48">
            <a:extLst>
              <a:ext uri="{FF2B5EF4-FFF2-40B4-BE49-F238E27FC236}">
                <a16:creationId xmlns:a16="http://schemas.microsoft.com/office/drawing/2014/main" id="{07B39944-4C25-5AAD-5475-42EEFC450E73}"/>
              </a:ext>
            </a:extLst>
          </p:cNvPr>
          <p:cNvSpPr txBox="1"/>
          <p:nvPr/>
        </p:nvSpPr>
        <p:spPr>
          <a:xfrm>
            <a:off x="8272560" y="3542605"/>
            <a:ext cx="3254841" cy="611386"/>
          </a:xfrm>
          <a:prstGeom prst="rect">
            <a:avLst/>
          </a:prstGeom>
          <a:noFill/>
        </p:spPr>
        <p:txBody>
          <a:bodyPr wrap="square" lIns="0" tIns="0" rIns="0" bIns="0">
            <a:spAutoFit/>
          </a:bodyPr>
          <a:lstStyle/>
          <a:p>
            <a:pPr algn="ctr">
              <a:lnSpc>
                <a:spcPct val="90000"/>
              </a:lnSpc>
            </a:pPr>
            <a:r>
              <a:rPr lang="sv-SE" sz="2200" b="1" dirty="0">
                <a:solidFill>
                  <a:schemeClr val="bg1"/>
                </a:solidFill>
              </a:rPr>
              <a:t>Variationerna </a:t>
            </a:r>
            <a:br>
              <a:rPr lang="sv-SE" sz="2200" b="1" dirty="0">
                <a:solidFill>
                  <a:schemeClr val="bg1"/>
                </a:solidFill>
              </a:rPr>
            </a:br>
            <a:r>
              <a:rPr lang="sv-SE" sz="2200" b="1" dirty="0">
                <a:solidFill>
                  <a:schemeClr val="bg1"/>
                </a:solidFill>
              </a:rPr>
              <a:t>i priset på el</a:t>
            </a:r>
          </a:p>
        </p:txBody>
      </p:sp>
      <p:sp>
        <p:nvSpPr>
          <p:cNvPr id="13" name="!!Mask">
            <a:extLst>
              <a:ext uri="{FF2B5EF4-FFF2-40B4-BE49-F238E27FC236}">
                <a16:creationId xmlns:a16="http://schemas.microsoft.com/office/drawing/2014/main" id="{D207B662-1FFC-35E7-6CF8-E93AD39A6B82}"/>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390933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nodeType="with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500"/>
                                        <p:tgtEl>
                                          <p:spTgt spid="4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animEffect transition="in" filter="fade">
                                      <p:cBhvr>
                                        <p:cTn id="45" dur="500"/>
                                        <p:tgtEl>
                                          <p:spTgt spid="4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0"/>
                                        </p:tgtEl>
                                        <p:attrNameLst>
                                          <p:attrName>style.visibility</p:attrName>
                                        </p:attrNameLst>
                                      </p:cBhvr>
                                      <p:to>
                                        <p:strVal val="visible"/>
                                      </p:to>
                                    </p:set>
                                    <p:animEffect transition="in" filter="fade">
                                      <p:cBhvr>
                                        <p:cTn id="4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4" grpId="0" animBg="1"/>
      <p:bldP spid="5" grpId="0" animBg="1"/>
      <p:bldP spid="6" grpId="0" animBg="1"/>
      <p:bldP spid="46" grpId="0"/>
      <p:bldP spid="45" grpId="0"/>
      <p:bldP spid="48" grpId="0"/>
      <p:bldP spid="47" grpId="0"/>
      <p:bldP spid="50" grpId="0"/>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6391AE6D-84B6-8303-B527-E0EC4FE37F27}"/>
            </a:ext>
          </a:extLst>
        </p:cNvPr>
        <p:cNvGrpSpPr/>
        <p:nvPr/>
      </p:nvGrpSpPr>
      <p:grpSpPr>
        <a:xfrm>
          <a:off x="0" y="0"/>
          <a:ext cx="0" cy="0"/>
          <a:chOff x="0" y="0"/>
          <a:chExt cx="0" cy="0"/>
        </a:xfrm>
      </p:grpSpPr>
      <p:pic>
        <p:nvPicPr>
          <p:cNvPr id="8" name="!!Bergrum">
            <a:extLst>
              <a:ext uri="{FF2B5EF4-FFF2-40B4-BE49-F238E27FC236}">
                <a16:creationId xmlns:a16="http://schemas.microsoft.com/office/drawing/2014/main" id="{4D2A3CC2-9028-925B-0070-6566D0A514B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57" name="!!Hybrit_logo">
            <a:extLst>
              <a:ext uri="{FF2B5EF4-FFF2-40B4-BE49-F238E27FC236}">
                <a16:creationId xmlns:a16="http://schemas.microsoft.com/office/drawing/2014/main" id="{02840C1D-9478-7EA7-2DA7-412A54313D17}"/>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828AA5EA-AF44-C90B-6C91-FD6CB41FF8BC}"/>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E7C1DD70-5FD6-A198-2C90-24B676F2EBA9}"/>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830AFFC1-2065-E476-2FA3-A096B520723E}"/>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6ACE6A23-BA81-EA39-655E-D2A314AF7546}"/>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51A43889-2257-ED2D-FC1B-46D07FE297C1}"/>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E2E2E"/>
                </a:solidFill>
                <a:effectLst/>
                <a:uLnTx/>
                <a:uFillTx/>
                <a:latin typeface="Aptos" panose="02110004020202020204"/>
                <a:ea typeface="+mn-ea"/>
                <a:cs typeface="+mn-cs"/>
              </a:endParaRPr>
            </a:p>
          </p:txBody>
        </p:sp>
      </p:grpSp>
      <p:sp>
        <p:nvSpPr>
          <p:cNvPr id="6" name="!!TextBox 5">
            <a:extLst>
              <a:ext uri="{FF2B5EF4-FFF2-40B4-BE49-F238E27FC236}">
                <a16:creationId xmlns:a16="http://schemas.microsoft.com/office/drawing/2014/main" id="{849D9FE4-BA9C-CA29-86C2-B6E0E0F9A825}"/>
              </a:ext>
            </a:extLst>
          </p:cNvPr>
          <p:cNvSpPr txBox="1"/>
          <p:nvPr/>
        </p:nvSpPr>
        <p:spPr>
          <a:xfrm>
            <a:off x="546101" y="3153775"/>
            <a:ext cx="5405438" cy="830997"/>
          </a:xfrm>
          <a:prstGeom prst="rect">
            <a:avLst/>
          </a:prstGeom>
          <a:noFill/>
        </p:spPr>
        <p:txBody>
          <a:bodyPr wrap="square" lIns="0" tIns="0" rIns="0" bIns="0" rtlCol="0">
            <a:spAutoFit/>
          </a:bodyPr>
          <a:lstStyle/>
          <a:p>
            <a:pPr marL="285750" indent="-285750">
              <a:buBlip>
                <a:blip r:embed="rId4">
                  <a:extLst>
                    <a:ext uri="{96DAC541-7B7A-43D3-8B79-37D633B846F1}">
                      <asvg:svgBlip xmlns:asvg="http://schemas.microsoft.com/office/drawing/2016/SVG/main" r:embed="rId5"/>
                    </a:ext>
                  </a:extLst>
                </a:blip>
              </a:buBlip>
            </a:pPr>
            <a:r>
              <a:rPr lang="sv-SE" dirty="0">
                <a:solidFill>
                  <a:schemeClr val="bg1"/>
                </a:solidFill>
              </a:rPr>
              <a:t>För att hantera och dra nytta av de varierande elpriserna ingår vätgaslagring som en del i HYBRIT:s värdekedja för produktion av fossilfritt järn och stål   </a:t>
            </a:r>
          </a:p>
        </p:txBody>
      </p:sp>
      <p:sp>
        <p:nvSpPr>
          <p:cNvPr id="4" name="!!Title lagring">
            <a:extLst>
              <a:ext uri="{FF2B5EF4-FFF2-40B4-BE49-F238E27FC236}">
                <a16:creationId xmlns:a16="http://schemas.microsoft.com/office/drawing/2014/main" id="{89F4143B-11FB-C5FA-08A4-0733E6B3F2C9}"/>
              </a:ext>
            </a:extLst>
          </p:cNvPr>
          <p:cNvSpPr>
            <a:spLocks noGrp="1"/>
          </p:cNvSpPr>
          <p:nvPr>
            <p:ph type="title"/>
          </p:nvPr>
        </p:nvSpPr>
        <p:spPr>
          <a:xfrm>
            <a:off x="546100" y="799200"/>
            <a:ext cx="10080625" cy="2003500"/>
          </a:xfrm>
        </p:spPr>
        <p:txBody>
          <a:bodyPr anchor="b"/>
          <a:lstStyle/>
          <a:p>
            <a:r>
              <a:rPr lang="sv-SE" sz="5000" dirty="0">
                <a:solidFill>
                  <a:schemeClr val="bg1"/>
                </a:solidFill>
              </a:rPr>
              <a:t>Vätgaslagring reducerar </a:t>
            </a:r>
            <a:br>
              <a:rPr lang="sv-SE" sz="5000" dirty="0">
                <a:solidFill>
                  <a:schemeClr val="bg1"/>
                </a:solidFill>
              </a:rPr>
            </a:br>
            <a:r>
              <a:rPr lang="sv-SE" sz="5000" dirty="0">
                <a:solidFill>
                  <a:schemeClr val="bg1"/>
                </a:solidFill>
              </a:rPr>
              <a:t>den rörliga kostnaden </a:t>
            </a:r>
            <a:br>
              <a:rPr lang="sv-SE" sz="5000" dirty="0">
                <a:solidFill>
                  <a:schemeClr val="bg1"/>
                </a:solidFill>
              </a:rPr>
            </a:br>
            <a:r>
              <a:rPr lang="sv-SE" sz="5000" dirty="0">
                <a:solidFill>
                  <a:schemeClr val="bg1"/>
                </a:solidFill>
              </a:rPr>
              <a:t>för vätgasproduktion </a:t>
            </a:r>
          </a:p>
        </p:txBody>
      </p:sp>
      <p:sp>
        <p:nvSpPr>
          <p:cNvPr id="5" name="!!Mask">
            <a:extLst>
              <a:ext uri="{FF2B5EF4-FFF2-40B4-BE49-F238E27FC236}">
                <a16:creationId xmlns:a16="http://schemas.microsoft.com/office/drawing/2014/main" id="{E0958FA3-86CF-6B24-E3ED-7B5F4D07347A}"/>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148281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a:extLst>
            <a:ext uri="{FF2B5EF4-FFF2-40B4-BE49-F238E27FC236}">
              <a16:creationId xmlns:a16="http://schemas.microsoft.com/office/drawing/2014/main" id="{7C8DAA31-0B06-5C22-7DE2-E6CF8BC0A80A}"/>
            </a:ext>
          </a:extLst>
        </p:cNvPr>
        <p:cNvGrpSpPr/>
        <p:nvPr/>
      </p:nvGrpSpPr>
      <p:grpSpPr>
        <a:xfrm>
          <a:off x="0" y="0"/>
          <a:ext cx="0" cy="0"/>
          <a:chOff x="0" y="0"/>
          <a:chExt cx="0" cy="0"/>
        </a:xfrm>
      </p:grpSpPr>
      <p:sp>
        <p:nvSpPr>
          <p:cNvPr id="12" name="Freeform 11">
            <a:extLst>
              <a:ext uri="{FF2B5EF4-FFF2-40B4-BE49-F238E27FC236}">
                <a16:creationId xmlns:a16="http://schemas.microsoft.com/office/drawing/2014/main" id="{07F607F7-BBC7-1AA3-7F74-2919109EC4D6}"/>
              </a:ext>
            </a:extLst>
          </p:cNvPr>
          <p:cNvSpPr/>
          <p:nvPr/>
        </p:nvSpPr>
        <p:spPr>
          <a:xfrm>
            <a:off x="2419925" y="3678703"/>
            <a:ext cx="6843076" cy="2479156"/>
          </a:xfrm>
          <a:custGeom>
            <a:avLst/>
            <a:gdLst>
              <a:gd name="connsiteX0" fmla="*/ 4114343 w 6843076"/>
              <a:gd name="connsiteY0" fmla="*/ 0 h 2479156"/>
              <a:gd name="connsiteX1" fmla="*/ 4114343 w 6843076"/>
              <a:gd name="connsiteY1" fmla="*/ 166139 h 2479156"/>
              <a:gd name="connsiteX2" fmla="*/ 6638877 w 6843076"/>
              <a:gd name="connsiteY2" fmla="*/ 166139 h 2479156"/>
              <a:gd name="connsiteX3" fmla="*/ 6843077 w 6843076"/>
              <a:gd name="connsiteY3" fmla="*/ 290928 h 2479156"/>
              <a:gd name="connsiteX4" fmla="*/ 393538 w 6843076"/>
              <a:gd name="connsiteY4" fmla="*/ 290928 h 2479156"/>
              <a:gd name="connsiteX5" fmla="*/ 324451 w 6843076"/>
              <a:gd name="connsiteY5" fmla="*/ 360016 h 2479156"/>
              <a:gd name="connsiteX6" fmla="*/ 324451 w 6843076"/>
              <a:gd name="connsiteY6" fmla="*/ 1430931 h 2479156"/>
              <a:gd name="connsiteX7" fmla="*/ 406698 w 6843076"/>
              <a:gd name="connsiteY7" fmla="*/ 1430931 h 2479156"/>
              <a:gd name="connsiteX8" fmla="*/ 524113 w 6843076"/>
              <a:gd name="connsiteY8" fmla="*/ 1548345 h 2479156"/>
              <a:gd name="connsiteX9" fmla="*/ 524113 w 6843076"/>
              <a:gd name="connsiteY9" fmla="*/ 2361741 h 2479156"/>
              <a:gd name="connsiteX10" fmla="*/ 406698 w 6843076"/>
              <a:gd name="connsiteY10" fmla="*/ 2479156 h 2479156"/>
              <a:gd name="connsiteX11" fmla="*/ 117415 w 6843076"/>
              <a:gd name="connsiteY11" fmla="*/ 2479156 h 2479156"/>
              <a:gd name="connsiteX12" fmla="*/ 0 w 6843076"/>
              <a:gd name="connsiteY12" fmla="*/ 2361741 h 2479156"/>
              <a:gd name="connsiteX13" fmla="*/ 0 w 6843076"/>
              <a:gd name="connsiteY13" fmla="*/ 1548345 h 2479156"/>
              <a:gd name="connsiteX14" fmla="*/ 117415 w 6843076"/>
              <a:gd name="connsiteY14" fmla="*/ 1430931 h 2479156"/>
              <a:gd name="connsiteX15" fmla="*/ 199662 w 6843076"/>
              <a:gd name="connsiteY15" fmla="*/ 1430931 h 2479156"/>
              <a:gd name="connsiteX16" fmla="*/ 199662 w 6843076"/>
              <a:gd name="connsiteY16" fmla="*/ 334207 h 2479156"/>
              <a:gd name="connsiteX17" fmla="*/ 199662 w 6843076"/>
              <a:gd name="connsiteY17" fmla="*/ 308342 h 2479156"/>
              <a:gd name="connsiteX18" fmla="*/ 217927 w 6843076"/>
              <a:gd name="connsiteY18" fmla="*/ 290077 h 2479156"/>
              <a:gd name="connsiteX19" fmla="*/ 323600 w 6843076"/>
              <a:gd name="connsiteY19" fmla="*/ 184404 h 2479156"/>
              <a:gd name="connsiteX20" fmla="*/ 341865 w 6843076"/>
              <a:gd name="connsiteY20" fmla="*/ 166139 h 2479156"/>
              <a:gd name="connsiteX21" fmla="*/ 367730 w 6843076"/>
              <a:gd name="connsiteY21" fmla="*/ 166139 h 2479156"/>
              <a:gd name="connsiteX22" fmla="*/ 3989554 w 6843076"/>
              <a:gd name="connsiteY22" fmla="*/ 166139 h 2479156"/>
              <a:gd name="connsiteX23" fmla="*/ 3989554 w 6843076"/>
              <a:gd name="connsiteY23" fmla="*/ 0 h 247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6" h="2479156">
                <a:moveTo>
                  <a:pt x="4114343" y="0"/>
                </a:moveTo>
                <a:lnTo>
                  <a:pt x="4114343" y="166139"/>
                </a:lnTo>
                <a:lnTo>
                  <a:pt x="6638877" y="166139"/>
                </a:lnTo>
                <a:lnTo>
                  <a:pt x="6843077" y="290928"/>
                </a:lnTo>
                <a:lnTo>
                  <a:pt x="393538" y="290928"/>
                </a:lnTo>
                <a:lnTo>
                  <a:pt x="324451" y="360016"/>
                </a:lnTo>
                <a:lnTo>
                  <a:pt x="324451" y="1430931"/>
                </a:lnTo>
                <a:lnTo>
                  <a:pt x="406698" y="1430931"/>
                </a:lnTo>
                <a:lnTo>
                  <a:pt x="524113" y="1548345"/>
                </a:lnTo>
                <a:lnTo>
                  <a:pt x="524113" y="2361741"/>
                </a:lnTo>
                <a:lnTo>
                  <a:pt x="406698" y="2479156"/>
                </a:lnTo>
                <a:lnTo>
                  <a:pt x="117415" y="2479156"/>
                </a:lnTo>
                <a:lnTo>
                  <a:pt x="0" y="2361741"/>
                </a:lnTo>
                <a:lnTo>
                  <a:pt x="0" y="1548345"/>
                </a:lnTo>
                <a:lnTo>
                  <a:pt x="117415" y="1430931"/>
                </a:lnTo>
                <a:lnTo>
                  <a:pt x="199662" y="1430931"/>
                </a:lnTo>
                <a:lnTo>
                  <a:pt x="199662" y="334207"/>
                </a:lnTo>
                <a:lnTo>
                  <a:pt x="199662" y="308342"/>
                </a:lnTo>
                <a:lnTo>
                  <a:pt x="217927" y="290077"/>
                </a:lnTo>
                <a:lnTo>
                  <a:pt x="323600" y="184404"/>
                </a:lnTo>
                <a:lnTo>
                  <a:pt x="341865" y="166139"/>
                </a:lnTo>
                <a:lnTo>
                  <a:pt x="367730" y="166139"/>
                </a:lnTo>
                <a:lnTo>
                  <a:pt x="3989554" y="166139"/>
                </a:lnTo>
                <a:lnTo>
                  <a:pt x="3989554" y="0"/>
                </a:lnTo>
              </a:path>
            </a:pathLst>
          </a:custGeom>
          <a:solidFill>
            <a:schemeClr val="accent4">
              <a:alpha val="50000"/>
            </a:schemeClr>
          </a:solidFill>
          <a:ln w="9525" cap="flat">
            <a:noFill/>
            <a:prstDash val="solid"/>
            <a:miter/>
          </a:ln>
        </p:spPr>
        <p:txBody>
          <a:bodyPr rtlCol="0" anchor="ctr"/>
          <a:lstStyle/>
          <a:p>
            <a:endParaRPr lang="sv-SE"/>
          </a:p>
        </p:txBody>
      </p:sp>
      <p:sp>
        <p:nvSpPr>
          <p:cNvPr id="2" name="Rectangle 1">
            <a:extLst>
              <a:ext uri="{FF2B5EF4-FFF2-40B4-BE49-F238E27FC236}">
                <a16:creationId xmlns:a16="http://schemas.microsoft.com/office/drawing/2014/main" id="{DAC3354F-E67D-C222-9E18-907D0BDACA73}"/>
              </a:ext>
            </a:extLst>
          </p:cNvPr>
          <p:cNvSpPr/>
          <p:nvPr/>
        </p:nvSpPr>
        <p:spPr>
          <a:xfrm>
            <a:off x="2182996" y="5087983"/>
            <a:ext cx="980302" cy="1247277"/>
          </a:xfrm>
          <a:prstGeom prst="rect">
            <a:avLst/>
          </a:prstGeom>
          <a:solidFill>
            <a:srgbClr val="FDD78B"/>
          </a:solidFill>
          <a:ln>
            <a:noFill/>
          </a:ln>
          <a:effectLst>
            <a:softEdge rad="48993"/>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reeform 16">
            <a:extLst>
              <a:ext uri="{FF2B5EF4-FFF2-40B4-BE49-F238E27FC236}">
                <a16:creationId xmlns:a16="http://schemas.microsoft.com/office/drawing/2014/main" id="{5AE2367B-7324-EB7A-1518-8162CC2926EB}"/>
              </a:ext>
            </a:extLst>
          </p:cNvPr>
          <p:cNvSpPr/>
          <p:nvPr/>
        </p:nvSpPr>
        <p:spPr>
          <a:xfrm>
            <a:off x="6455366" y="3680651"/>
            <a:ext cx="2572294" cy="240822"/>
          </a:xfrm>
          <a:custGeom>
            <a:avLst/>
            <a:gdLst>
              <a:gd name="connsiteX0" fmla="*/ 2560836 w 2572294"/>
              <a:gd name="connsiteY0" fmla="*/ 212687 h 240822"/>
              <a:gd name="connsiteX1" fmla="*/ 2563502 w 2572294"/>
              <a:gd name="connsiteY1" fmla="*/ 213482 h 240822"/>
              <a:gd name="connsiteX2" fmla="*/ 2565941 w 2572294"/>
              <a:gd name="connsiteY2" fmla="*/ 214786 h 240822"/>
              <a:gd name="connsiteX3" fmla="*/ 2568097 w 2572294"/>
              <a:gd name="connsiteY3" fmla="*/ 216601 h 240822"/>
              <a:gd name="connsiteX4" fmla="*/ 2569855 w 2572294"/>
              <a:gd name="connsiteY4" fmla="*/ 218757 h 240822"/>
              <a:gd name="connsiteX5" fmla="*/ 2571159 w 2572294"/>
              <a:gd name="connsiteY5" fmla="*/ 221196 h 240822"/>
              <a:gd name="connsiteX6" fmla="*/ 2572010 w 2572294"/>
              <a:gd name="connsiteY6" fmla="*/ 223805 h 240822"/>
              <a:gd name="connsiteX7" fmla="*/ 2572294 w 2572294"/>
              <a:gd name="connsiteY7" fmla="*/ 226584 h 240822"/>
              <a:gd name="connsiteX8" fmla="*/ 2572010 w 2572294"/>
              <a:gd name="connsiteY8" fmla="*/ 229364 h 240822"/>
              <a:gd name="connsiteX9" fmla="*/ 2571159 w 2572294"/>
              <a:gd name="connsiteY9" fmla="*/ 232030 h 240822"/>
              <a:gd name="connsiteX10" fmla="*/ 2569855 w 2572294"/>
              <a:gd name="connsiteY10" fmla="*/ 234469 h 240822"/>
              <a:gd name="connsiteX11" fmla="*/ 2568097 w 2572294"/>
              <a:gd name="connsiteY11" fmla="*/ 236624 h 240822"/>
              <a:gd name="connsiteX12" fmla="*/ 2565941 w 2572294"/>
              <a:gd name="connsiteY12" fmla="*/ 238383 h 240822"/>
              <a:gd name="connsiteX13" fmla="*/ 2563502 w 2572294"/>
              <a:gd name="connsiteY13" fmla="*/ 239687 h 240822"/>
              <a:gd name="connsiteX14" fmla="*/ 2560836 w 2572294"/>
              <a:gd name="connsiteY14" fmla="*/ 240538 h 240822"/>
              <a:gd name="connsiteX15" fmla="*/ 2558114 w 2572294"/>
              <a:gd name="connsiteY15" fmla="*/ 240822 h 240822"/>
              <a:gd name="connsiteX16" fmla="*/ 2548074 w 2572294"/>
              <a:gd name="connsiteY16" fmla="*/ 236624 h 240822"/>
              <a:gd name="connsiteX17" fmla="*/ 2546315 w 2572294"/>
              <a:gd name="connsiteY17" fmla="*/ 234469 h 240822"/>
              <a:gd name="connsiteX18" fmla="*/ 2545010 w 2572294"/>
              <a:gd name="connsiteY18" fmla="*/ 232030 h 240822"/>
              <a:gd name="connsiteX19" fmla="*/ 2544159 w 2572294"/>
              <a:gd name="connsiteY19" fmla="*/ 229364 h 240822"/>
              <a:gd name="connsiteX20" fmla="*/ 2543933 w 2572294"/>
              <a:gd name="connsiteY20" fmla="*/ 226584 h 240822"/>
              <a:gd name="connsiteX21" fmla="*/ 2544159 w 2572294"/>
              <a:gd name="connsiteY21" fmla="*/ 223805 h 240822"/>
              <a:gd name="connsiteX22" fmla="*/ 2545010 w 2572294"/>
              <a:gd name="connsiteY22" fmla="*/ 221196 h 240822"/>
              <a:gd name="connsiteX23" fmla="*/ 2546315 w 2572294"/>
              <a:gd name="connsiteY23" fmla="*/ 218757 h 240822"/>
              <a:gd name="connsiteX24" fmla="*/ 2548074 w 2572294"/>
              <a:gd name="connsiteY24" fmla="*/ 216601 h 240822"/>
              <a:gd name="connsiteX25" fmla="*/ 2560836 w 2572294"/>
              <a:gd name="connsiteY25" fmla="*/ 212687 h 240822"/>
              <a:gd name="connsiteX26" fmla="*/ 14202 w 2572294"/>
              <a:gd name="connsiteY26" fmla="*/ 212602 h 240822"/>
              <a:gd name="connsiteX27" fmla="*/ 24220 w 2572294"/>
              <a:gd name="connsiteY27" fmla="*/ 216601 h 240822"/>
              <a:gd name="connsiteX28" fmla="*/ 25979 w 2572294"/>
              <a:gd name="connsiteY28" fmla="*/ 218756 h 240822"/>
              <a:gd name="connsiteX29" fmla="*/ 27283 w 2572294"/>
              <a:gd name="connsiteY29" fmla="*/ 221195 h 240822"/>
              <a:gd name="connsiteX30" fmla="*/ 28078 w 2572294"/>
              <a:gd name="connsiteY30" fmla="*/ 223805 h 240822"/>
              <a:gd name="connsiteX31" fmla="*/ 28361 w 2572294"/>
              <a:gd name="connsiteY31" fmla="*/ 226584 h 240822"/>
              <a:gd name="connsiteX32" fmla="*/ 28078 w 2572294"/>
              <a:gd name="connsiteY32" fmla="*/ 229363 h 240822"/>
              <a:gd name="connsiteX33" fmla="*/ 27283 w 2572294"/>
              <a:gd name="connsiteY33" fmla="*/ 232030 h 240822"/>
              <a:gd name="connsiteX34" fmla="*/ 25979 w 2572294"/>
              <a:gd name="connsiteY34" fmla="*/ 234469 h 240822"/>
              <a:gd name="connsiteX35" fmla="*/ 24220 w 2572294"/>
              <a:gd name="connsiteY35" fmla="*/ 236624 h 240822"/>
              <a:gd name="connsiteX36" fmla="*/ 14181 w 2572294"/>
              <a:gd name="connsiteY36" fmla="*/ 240765 h 240822"/>
              <a:gd name="connsiteX37" fmla="*/ 4141 w 2572294"/>
              <a:gd name="connsiteY37" fmla="*/ 236624 h 240822"/>
              <a:gd name="connsiteX38" fmla="*/ 0 w 2572294"/>
              <a:gd name="connsiteY38" fmla="*/ 226584 h 240822"/>
              <a:gd name="connsiteX39" fmla="*/ 284 w 2572294"/>
              <a:gd name="connsiteY39" fmla="*/ 223805 h 240822"/>
              <a:gd name="connsiteX40" fmla="*/ 1078 w 2572294"/>
              <a:gd name="connsiteY40" fmla="*/ 221195 h 240822"/>
              <a:gd name="connsiteX41" fmla="*/ 2382 w 2572294"/>
              <a:gd name="connsiteY41" fmla="*/ 218756 h 240822"/>
              <a:gd name="connsiteX42" fmla="*/ 4141 w 2572294"/>
              <a:gd name="connsiteY42" fmla="*/ 216601 h 240822"/>
              <a:gd name="connsiteX43" fmla="*/ 14202 w 2572294"/>
              <a:gd name="connsiteY43" fmla="*/ 212602 h 240822"/>
              <a:gd name="connsiteX44" fmla="*/ 2501561 w 2572294"/>
              <a:gd name="connsiteY44" fmla="*/ 212404 h 240822"/>
              <a:gd name="connsiteX45" fmla="*/ 2515741 w 2572294"/>
              <a:gd name="connsiteY45" fmla="*/ 226585 h 240822"/>
              <a:gd name="connsiteX46" fmla="*/ 2501561 w 2572294"/>
              <a:gd name="connsiteY46" fmla="*/ 240765 h 240822"/>
              <a:gd name="connsiteX47" fmla="*/ 2487380 w 2572294"/>
              <a:gd name="connsiteY47" fmla="*/ 226585 h 240822"/>
              <a:gd name="connsiteX48" fmla="*/ 2501561 w 2572294"/>
              <a:gd name="connsiteY48" fmla="*/ 212404 h 240822"/>
              <a:gd name="connsiteX49" fmla="*/ 2445009 w 2572294"/>
              <a:gd name="connsiteY49" fmla="*/ 212404 h 240822"/>
              <a:gd name="connsiteX50" fmla="*/ 2459190 w 2572294"/>
              <a:gd name="connsiteY50" fmla="*/ 226585 h 240822"/>
              <a:gd name="connsiteX51" fmla="*/ 2445009 w 2572294"/>
              <a:gd name="connsiteY51" fmla="*/ 240765 h 240822"/>
              <a:gd name="connsiteX52" fmla="*/ 2430829 w 2572294"/>
              <a:gd name="connsiteY52" fmla="*/ 226585 h 240822"/>
              <a:gd name="connsiteX53" fmla="*/ 2445009 w 2572294"/>
              <a:gd name="connsiteY53" fmla="*/ 212404 h 240822"/>
              <a:gd name="connsiteX54" fmla="*/ 2388514 w 2572294"/>
              <a:gd name="connsiteY54" fmla="*/ 212404 h 240822"/>
              <a:gd name="connsiteX55" fmla="*/ 2402695 w 2572294"/>
              <a:gd name="connsiteY55" fmla="*/ 226585 h 240822"/>
              <a:gd name="connsiteX56" fmla="*/ 2388514 w 2572294"/>
              <a:gd name="connsiteY56" fmla="*/ 240765 h 240822"/>
              <a:gd name="connsiteX57" fmla="*/ 2374333 w 2572294"/>
              <a:gd name="connsiteY57" fmla="*/ 226585 h 240822"/>
              <a:gd name="connsiteX58" fmla="*/ 2388514 w 2572294"/>
              <a:gd name="connsiteY58" fmla="*/ 212404 h 240822"/>
              <a:gd name="connsiteX59" fmla="*/ 2331962 w 2572294"/>
              <a:gd name="connsiteY59" fmla="*/ 212404 h 240822"/>
              <a:gd name="connsiteX60" fmla="*/ 2346143 w 2572294"/>
              <a:gd name="connsiteY60" fmla="*/ 226585 h 240822"/>
              <a:gd name="connsiteX61" fmla="*/ 2331962 w 2572294"/>
              <a:gd name="connsiteY61" fmla="*/ 240765 h 240822"/>
              <a:gd name="connsiteX62" fmla="*/ 2317782 w 2572294"/>
              <a:gd name="connsiteY62" fmla="*/ 226585 h 240822"/>
              <a:gd name="connsiteX63" fmla="*/ 2331962 w 2572294"/>
              <a:gd name="connsiteY63" fmla="*/ 212404 h 240822"/>
              <a:gd name="connsiteX64" fmla="*/ 2275410 w 2572294"/>
              <a:gd name="connsiteY64" fmla="*/ 212404 h 240822"/>
              <a:gd name="connsiteX65" fmla="*/ 2289590 w 2572294"/>
              <a:gd name="connsiteY65" fmla="*/ 226585 h 240822"/>
              <a:gd name="connsiteX66" fmla="*/ 2275410 w 2572294"/>
              <a:gd name="connsiteY66" fmla="*/ 240765 h 240822"/>
              <a:gd name="connsiteX67" fmla="*/ 2261229 w 2572294"/>
              <a:gd name="connsiteY67" fmla="*/ 226585 h 240822"/>
              <a:gd name="connsiteX68" fmla="*/ 2275410 w 2572294"/>
              <a:gd name="connsiteY68" fmla="*/ 212404 h 240822"/>
              <a:gd name="connsiteX69" fmla="*/ 2218915 w 2572294"/>
              <a:gd name="connsiteY69" fmla="*/ 212404 h 240822"/>
              <a:gd name="connsiteX70" fmla="*/ 2233095 w 2572294"/>
              <a:gd name="connsiteY70" fmla="*/ 226585 h 240822"/>
              <a:gd name="connsiteX71" fmla="*/ 2218915 w 2572294"/>
              <a:gd name="connsiteY71" fmla="*/ 240765 h 240822"/>
              <a:gd name="connsiteX72" fmla="*/ 2204734 w 2572294"/>
              <a:gd name="connsiteY72" fmla="*/ 226585 h 240822"/>
              <a:gd name="connsiteX73" fmla="*/ 2218915 w 2572294"/>
              <a:gd name="connsiteY73" fmla="*/ 212404 h 240822"/>
              <a:gd name="connsiteX74" fmla="*/ 2162363 w 2572294"/>
              <a:gd name="connsiteY74" fmla="*/ 212404 h 240822"/>
              <a:gd name="connsiteX75" fmla="*/ 2176543 w 2572294"/>
              <a:gd name="connsiteY75" fmla="*/ 226585 h 240822"/>
              <a:gd name="connsiteX76" fmla="*/ 2162363 w 2572294"/>
              <a:gd name="connsiteY76" fmla="*/ 240765 h 240822"/>
              <a:gd name="connsiteX77" fmla="*/ 2148182 w 2572294"/>
              <a:gd name="connsiteY77" fmla="*/ 226585 h 240822"/>
              <a:gd name="connsiteX78" fmla="*/ 2162363 w 2572294"/>
              <a:gd name="connsiteY78" fmla="*/ 212404 h 240822"/>
              <a:gd name="connsiteX79" fmla="*/ 2105811 w 2572294"/>
              <a:gd name="connsiteY79" fmla="*/ 212404 h 240822"/>
              <a:gd name="connsiteX80" fmla="*/ 2120047 w 2572294"/>
              <a:gd name="connsiteY80" fmla="*/ 226585 h 240822"/>
              <a:gd name="connsiteX81" fmla="*/ 2105811 w 2572294"/>
              <a:gd name="connsiteY81" fmla="*/ 240765 h 240822"/>
              <a:gd name="connsiteX82" fmla="*/ 2091686 w 2572294"/>
              <a:gd name="connsiteY82" fmla="*/ 226585 h 240822"/>
              <a:gd name="connsiteX83" fmla="*/ 2105811 w 2572294"/>
              <a:gd name="connsiteY83" fmla="*/ 212404 h 240822"/>
              <a:gd name="connsiteX84" fmla="*/ 2049315 w 2572294"/>
              <a:gd name="connsiteY84" fmla="*/ 212404 h 240822"/>
              <a:gd name="connsiteX85" fmla="*/ 2063496 w 2572294"/>
              <a:gd name="connsiteY85" fmla="*/ 226585 h 240822"/>
              <a:gd name="connsiteX86" fmla="*/ 2049315 w 2572294"/>
              <a:gd name="connsiteY86" fmla="*/ 240765 h 240822"/>
              <a:gd name="connsiteX87" fmla="*/ 2035135 w 2572294"/>
              <a:gd name="connsiteY87" fmla="*/ 226585 h 240822"/>
              <a:gd name="connsiteX88" fmla="*/ 2049315 w 2572294"/>
              <a:gd name="connsiteY88" fmla="*/ 212404 h 240822"/>
              <a:gd name="connsiteX89" fmla="*/ 1992763 w 2572294"/>
              <a:gd name="connsiteY89" fmla="*/ 212404 h 240822"/>
              <a:gd name="connsiteX90" fmla="*/ 2006944 w 2572294"/>
              <a:gd name="connsiteY90" fmla="*/ 226585 h 240822"/>
              <a:gd name="connsiteX91" fmla="*/ 1992763 w 2572294"/>
              <a:gd name="connsiteY91" fmla="*/ 240765 h 240822"/>
              <a:gd name="connsiteX92" fmla="*/ 1978583 w 2572294"/>
              <a:gd name="connsiteY92" fmla="*/ 226585 h 240822"/>
              <a:gd name="connsiteX93" fmla="*/ 1992763 w 2572294"/>
              <a:gd name="connsiteY93" fmla="*/ 212404 h 240822"/>
              <a:gd name="connsiteX94" fmla="*/ 1936268 w 2572294"/>
              <a:gd name="connsiteY94" fmla="*/ 212404 h 240822"/>
              <a:gd name="connsiteX95" fmla="*/ 1950449 w 2572294"/>
              <a:gd name="connsiteY95" fmla="*/ 226585 h 240822"/>
              <a:gd name="connsiteX96" fmla="*/ 1936268 w 2572294"/>
              <a:gd name="connsiteY96" fmla="*/ 240765 h 240822"/>
              <a:gd name="connsiteX97" fmla="*/ 1922088 w 2572294"/>
              <a:gd name="connsiteY97" fmla="*/ 226585 h 240822"/>
              <a:gd name="connsiteX98" fmla="*/ 1936268 w 2572294"/>
              <a:gd name="connsiteY98" fmla="*/ 212404 h 240822"/>
              <a:gd name="connsiteX99" fmla="*/ 1879716 w 2572294"/>
              <a:gd name="connsiteY99" fmla="*/ 212404 h 240822"/>
              <a:gd name="connsiteX100" fmla="*/ 1893896 w 2572294"/>
              <a:gd name="connsiteY100" fmla="*/ 226585 h 240822"/>
              <a:gd name="connsiteX101" fmla="*/ 1879716 w 2572294"/>
              <a:gd name="connsiteY101" fmla="*/ 240765 h 240822"/>
              <a:gd name="connsiteX102" fmla="*/ 1865535 w 2572294"/>
              <a:gd name="connsiteY102" fmla="*/ 226585 h 240822"/>
              <a:gd name="connsiteX103" fmla="*/ 1879716 w 2572294"/>
              <a:gd name="connsiteY103" fmla="*/ 212404 h 240822"/>
              <a:gd name="connsiteX104" fmla="*/ 1823164 w 2572294"/>
              <a:gd name="connsiteY104" fmla="*/ 212404 h 240822"/>
              <a:gd name="connsiteX105" fmla="*/ 1837344 w 2572294"/>
              <a:gd name="connsiteY105" fmla="*/ 226585 h 240822"/>
              <a:gd name="connsiteX106" fmla="*/ 1823164 w 2572294"/>
              <a:gd name="connsiteY106" fmla="*/ 240765 h 240822"/>
              <a:gd name="connsiteX107" fmla="*/ 1808983 w 2572294"/>
              <a:gd name="connsiteY107" fmla="*/ 226585 h 240822"/>
              <a:gd name="connsiteX108" fmla="*/ 1823164 w 2572294"/>
              <a:gd name="connsiteY108" fmla="*/ 212404 h 240822"/>
              <a:gd name="connsiteX109" fmla="*/ 1766669 w 2572294"/>
              <a:gd name="connsiteY109" fmla="*/ 212404 h 240822"/>
              <a:gd name="connsiteX110" fmla="*/ 1780849 w 2572294"/>
              <a:gd name="connsiteY110" fmla="*/ 226585 h 240822"/>
              <a:gd name="connsiteX111" fmla="*/ 1766669 w 2572294"/>
              <a:gd name="connsiteY111" fmla="*/ 240765 h 240822"/>
              <a:gd name="connsiteX112" fmla="*/ 1752488 w 2572294"/>
              <a:gd name="connsiteY112" fmla="*/ 226585 h 240822"/>
              <a:gd name="connsiteX113" fmla="*/ 1766669 w 2572294"/>
              <a:gd name="connsiteY113" fmla="*/ 212404 h 240822"/>
              <a:gd name="connsiteX114" fmla="*/ 1710117 w 2572294"/>
              <a:gd name="connsiteY114" fmla="*/ 212404 h 240822"/>
              <a:gd name="connsiteX115" fmla="*/ 1724297 w 2572294"/>
              <a:gd name="connsiteY115" fmla="*/ 226585 h 240822"/>
              <a:gd name="connsiteX116" fmla="*/ 1710117 w 2572294"/>
              <a:gd name="connsiteY116" fmla="*/ 240765 h 240822"/>
              <a:gd name="connsiteX117" fmla="*/ 1695936 w 2572294"/>
              <a:gd name="connsiteY117" fmla="*/ 226585 h 240822"/>
              <a:gd name="connsiteX118" fmla="*/ 1710117 w 2572294"/>
              <a:gd name="connsiteY118" fmla="*/ 212404 h 240822"/>
              <a:gd name="connsiteX119" fmla="*/ 1653564 w 2572294"/>
              <a:gd name="connsiteY119" fmla="*/ 212404 h 240822"/>
              <a:gd name="connsiteX120" fmla="*/ 1667745 w 2572294"/>
              <a:gd name="connsiteY120" fmla="*/ 226585 h 240822"/>
              <a:gd name="connsiteX121" fmla="*/ 1653564 w 2572294"/>
              <a:gd name="connsiteY121" fmla="*/ 240765 h 240822"/>
              <a:gd name="connsiteX122" fmla="*/ 1639384 w 2572294"/>
              <a:gd name="connsiteY122" fmla="*/ 226585 h 240822"/>
              <a:gd name="connsiteX123" fmla="*/ 1653564 w 2572294"/>
              <a:gd name="connsiteY123" fmla="*/ 212404 h 240822"/>
              <a:gd name="connsiteX124" fmla="*/ 1597069 w 2572294"/>
              <a:gd name="connsiteY124" fmla="*/ 212404 h 240822"/>
              <a:gd name="connsiteX125" fmla="*/ 1611250 w 2572294"/>
              <a:gd name="connsiteY125" fmla="*/ 226585 h 240822"/>
              <a:gd name="connsiteX126" fmla="*/ 1597069 w 2572294"/>
              <a:gd name="connsiteY126" fmla="*/ 240765 h 240822"/>
              <a:gd name="connsiteX127" fmla="*/ 1582889 w 2572294"/>
              <a:gd name="connsiteY127" fmla="*/ 226585 h 240822"/>
              <a:gd name="connsiteX128" fmla="*/ 1597069 w 2572294"/>
              <a:gd name="connsiteY128" fmla="*/ 212404 h 240822"/>
              <a:gd name="connsiteX129" fmla="*/ 1540517 w 2572294"/>
              <a:gd name="connsiteY129" fmla="*/ 212404 h 240822"/>
              <a:gd name="connsiteX130" fmla="*/ 1554698 w 2572294"/>
              <a:gd name="connsiteY130" fmla="*/ 226585 h 240822"/>
              <a:gd name="connsiteX131" fmla="*/ 1540517 w 2572294"/>
              <a:gd name="connsiteY131" fmla="*/ 240765 h 240822"/>
              <a:gd name="connsiteX132" fmla="*/ 1526337 w 2572294"/>
              <a:gd name="connsiteY132" fmla="*/ 226585 h 240822"/>
              <a:gd name="connsiteX133" fmla="*/ 1540517 w 2572294"/>
              <a:gd name="connsiteY133" fmla="*/ 212404 h 240822"/>
              <a:gd name="connsiteX134" fmla="*/ 1484022 w 2572294"/>
              <a:gd name="connsiteY134" fmla="*/ 212404 h 240822"/>
              <a:gd name="connsiteX135" fmla="*/ 1498202 w 2572294"/>
              <a:gd name="connsiteY135" fmla="*/ 226585 h 240822"/>
              <a:gd name="connsiteX136" fmla="*/ 1484022 w 2572294"/>
              <a:gd name="connsiteY136" fmla="*/ 240765 h 240822"/>
              <a:gd name="connsiteX137" fmla="*/ 1469841 w 2572294"/>
              <a:gd name="connsiteY137" fmla="*/ 226585 h 240822"/>
              <a:gd name="connsiteX138" fmla="*/ 1484022 w 2572294"/>
              <a:gd name="connsiteY138" fmla="*/ 212404 h 240822"/>
              <a:gd name="connsiteX139" fmla="*/ 1427470 w 2572294"/>
              <a:gd name="connsiteY139" fmla="*/ 212404 h 240822"/>
              <a:gd name="connsiteX140" fmla="*/ 1441650 w 2572294"/>
              <a:gd name="connsiteY140" fmla="*/ 226585 h 240822"/>
              <a:gd name="connsiteX141" fmla="*/ 1427470 w 2572294"/>
              <a:gd name="connsiteY141" fmla="*/ 240765 h 240822"/>
              <a:gd name="connsiteX142" fmla="*/ 1413289 w 2572294"/>
              <a:gd name="connsiteY142" fmla="*/ 226585 h 240822"/>
              <a:gd name="connsiteX143" fmla="*/ 1427470 w 2572294"/>
              <a:gd name="connsiteY143" fmla="*/ 212404 h 240822"/>
              <a:gd name="connsiteX144" fmla="*/ 1370918 w 2572294"/>
              <a:gd name="connsiteY144" fmla="*/ 212404 h 240822"/>
              <a:gd name="connsiteX145" fmla="*/ 1385099 w 2572294"/>
              <a:gd name="connsiteY145" fmla="*/ 226585 h 240822"/>
              <a:gd name="connsiteX146" fmla="*/ 1370918 w 2572294"/>
              <a:gd name="connsiteY146" fmla="*/ 240765 h 240822"/>
              <a:gd name="connsiteX147" fmla="*/ 1356738 w 2572294"/>
              <a:gd name="connsiteY147" fmla="*/ 226585 h 240822"/>
              <a:gd name="connsiteX148" fmla="*/ 1370918 w 2572294"/>
              <a:gd name="connsiteY148" fmla="*/ 212404 h 240822"/>
              <a:gd name="connsiteX149" fmla="*/ 1314423 w 2572294"/>
              <a:gd name="connsiteY149" fmla="*/ 212404 h 240822"/>
              <a:gd name="connsiteX150" fmla="*/ 1328604 w 2572294"/>
              <a:gd name="connsiteY150" fmla="*/ 226585 h 240822"/>
              <a:gd name="connsiteX151" fmla="*/ 1314423 w 2572294"/>
              <a:gd name="connsiteY151" fmla="*/ 240765 h 240822"/>
              <a:gd name="connsiteX152" fmla="*/ 1300242 w 2572294"/>
              <a:gd name="connsiteY152" fmla="*/ 226585 h 240822"/>
              <a:gd name="connsiteX153" fmla="*/ 1314423 w 2572294"/>
              <a:gd name="connsiteY153" fmla="*/ 212404 h 240822"/>
              <a:gd name="connsiteX154" fmla="*/ 1257870 w 2572294"/>
              <a:gd name="connsiteY154" fmla="*/ 212404 h 240822"/>
              <a:gd name="connsiteX155" fmla="*/ 1272051 w 2572294"/>
              <a:gd name="connsiteY155" fmla="*/ 226585 h 240822"/>
              <a:gd name="connsiteX156" fmla="*/ 1257870 w 2572294"/>
              <a:gd name="connsiteY156" fmla="*/ 240765 h 240822"/>
              <a:gd name="connsiteX157" fmla="*/ 1243690 w 2572294"/>
              <a:gd name="connsiteY157" fmla="*/ 226585 h 240822"/>
              <a:gd name="connsiteX158" fmla="*/ 1257870 w 2572294"/>
              <a:gd name="connsiteY158" fmla="*/ 212404 h 240822"/>
              <a:gd name="connsiteX159" fmla="*/ 1201319 w 2572294"/>
              <a:gd name="connsiteY159" fmla="*/ 212404 h 240822"/>
              <a:gd name="connsiteX160" fmla="*/ 1215556 w 2572294"/>
              <a:gd name="connsiteY160" fmla="*/ 226585 h 240822"/>
              <a:gd name="connsiteX161" fmla="*/ 1201319 w 2572294"/>
              <a:gd name="connsiteY161" fmla="*/ 240765 h 240822"/>
              <a:gd name="connsiteX162" fmla="*/ 1187138 w 2572294"/>
              <a:gd name="connsiteY162" fmla="*/ 226585 h 240822"/>
              <a:gd name="connsiteX163" fmla="*/ 1201319 w 2572294"/>
              <a:gd name="connsiteY163" fmla="*/ 212404 h 240822"/>
              <a:gd name="connsiteX164" fmla="*/ 1144824 w 2572294"/>
              <a:gd name="connsiteY164" fmla="*/ 212404 h 240822"/>
              <a:gd name="connsiteX165" fmla="*/ 1159004 w 2572294"/>
              <a:gd name="connsiteY165" fmla="*/ 226585 h 240822"/>
              <a:gd name="connsiteX166" fmla="*/ 1144824 w 2572294"/>
              <a:gd name="connsiteY166" fmla="*/ 240765 h 240822"/>
              <a:gd name="connsiteX167" fmla="*/ 1130643 w 2572294"/>
              <a:gd name="connsiteY167" fmla="*/ 226585 h 240822"/>
              <a:gd name="connsiteX168" fmla="*/ 1144824 w 2572294"/>
              <a:gd name="connsiteY168" fmla="*/ 212404 h 240822"/>
              <a:gd name="connsiteX169" fmla="*/ 1088272 w 2572294"/>
              <a:gd name="connsiteY169" fmla="*/ 212404 h 240822"/>
              <a:gd name="connsiteX170" fmla="*/ 1102452 w 2572294"/>
              <a:gd name="connsiteY170" fmla="*/ 226585 h 240822"/>
              <a:gd name="connsiteX171" fmla="*/ 1088272 w 2572294"/>
              <a:gd name="connsiteY171" fmla="*/ 240765 h 240822"/>
              <a:gd name="connsiteX172" fmla="*/ 1074091 w 2572294"/>
              <a:gd name="connsiteY172" fmla="*/ 226585 h 240822"/>
              <a:gd name="connsiteX173" fmla="*/ 1088272 w 2572294"/>
              <a:gd name="connsiteY173" fmla="*/ 212404 h 240822"/>
              <a:gd name="connsiteX174" fmla="*/ 1031776 w 2572294"/>
              <a:gd name="connsiteY174" fmla="*/ 212404 h 240822"/>
              <a:gd name="connsiteX175" fmla="*/ 1045956 w 2572294"/>
              <a:gd name="connsiteY175" fmla="*/ 226585 h 240822"/>
              <a:gd name="connsiteX176" fmla="*/ 1031776 w 2572294"/>
              <a:gd name="connsiteY176" fmla="*/ 240765 h 240822"/>
              <a:gd name="connsiteX177" fmla="*/ 1017539 w 2572294"/>
              <a:gd name="connsiteY177" fmla="*/ 226585 h 240822"/>
              <a:gd name="connsiteX178" fmla="*/ 1031776 w 2572294"/>
              <a:gd name="connsiteY178" fmla="*/ 212404 h 240822"/>
              <a:gd name="connsiteX179" fmla="*/ 975224 w 2572294"/>
              <a:gd name="connsiteY179" fmla="*/ 212404 h 240822"/>
              <a:gd name="connsiteX180" fmla="*/ 989405 w 2572294"/>
              <a:gd name="connsiteY180" fmla="*/ 226585 h 240822"/>
              <a:gd name="connsiteX181" fmla="*/ 975224 w 2572294"/>
              <a:gd name="connsiteY181" fmla="*/ 240765 h 240822"/>
              <a:gd name="connsiteX182" fmla="*/ 961044 w 2572294"/>
              <a:gd name="connsiteY182" fmla="*/ 226585 h 240822"/>
              <a:gd name="connsiteX183" fmla="*/ 975224 w 2572294"/>
              <a:gd name="connsiteY183" fmla="*/ 212404 h 240822"/>
              <a:gd name="connsiteX184" fmla="*/ 918672 w 2572294"/>
              <a:gd name="connsiteY184" fmla="*/ 212404 h 240822"/>
              <a:gd name="connsiteX185" fmla="*/ 932853 w 2572294"/>
              <a:gd name="connsiteY185" fmla="*/ 226585 h 240822"/>
              <a:gd name="connsiteX186" fmla="*/ 918672 w 2572294"/>
              <a:gd name="connsiteY186" fmla="*/ 240765 h 240822"/>
              <a:gd name="connsiteX187" fmla="*/ 904492 w 2572294"/>
              <a:gd name="connsiteY187" fmla="*/ 226585 h 240822"/>
              <a:gd name="connsiteX188" fmla="*/ 918672 w 2572294"/>
              <a:gd name="connsiteY188" fmla="*/ 212404 h 240822"/>
              <a:gd name="connsiteX189" fmla="*/ 862177 w 2572294"/>
              <a:gd name="connsiteY189" fmla="*/ 212404 h 240822"/>
              <a:gd name="connsiteX190" fmla="*/ 876358 w 2572294"/>
              <a:gd name="connsiteY190" fmla="*/ 226585 h 240822"/>
              <a:gd name="connsiteX191" fmla="*/ 862177 w 2572294"/>
              <a:gd name="connsiteY191" fmla="*/ 240765 h 240822"/>
              <a:gd name="connsiteX192" fmla="*/ 847997 w 2572294"/>
              <a:gd name="connsiteY192" fmla="*/ 226585 h 240822"/>
              <a:gd name="connsiteX193" fmla="*/ 862177 w 2572294"/>
              <a:gd name="connsiteY193" fmla="*/ 212404 h 240822"/>
              <a:gd name="connsiteX194" fmla="*/ 805625 w 2572294"/>
              <a:gd name="connsiteY194" fmla="*/ 212404 h 240822"/>
              <a:gd name="connsiteX195" fmla="*/ 819805 w 2572294"/>
              <a:gd name="connsiteY195" fmla="*/ 226585 h 240822"/>
              <a:gd name="connsiteX196" fmla="*/ 805625 w 2572294"/>
              <a:gd name="connsiteY196" fmla="*/ 240765 h 240822"/>
              <a:gd name="connsiteX197" fmla="*/ 791444 w 2572294"/>
              <a:gd name="connsiteY197" fmla="*/ 226585 h 240822"/>
              <a:gd name="connsiteX198" fmla="*/ 805625 w 2572294"/>
              <a:gd name="connsiteY198" fmla="*/ 212404 h 240822"/>
              <a:gd name="connsiteX199" fmla="*/ 749073 w 2572294"/>
              <a:gd name="connsiteY199" fmla="*/ 212404 h 240822"/>
              <a:gd name="connsiteX200" fmla="*/ 763310 w 2572294"/>
              <a:gd name="connsiteY200" fmla="*/ 226585 h 240822"/>
              <a:gd name="connsiteX201" fmla="*/ 749073 w 2572294"/>
              <a:gd name="connsiteY201" fmla="*/ 240765 h 240822"/>
              <a:gd name="connsiteX202" fmla="*/ 734949 w 2572294"/>
              <a:gd name="connsiteY202" fmla="*/ 226585 h 240822"/>
              <a:gd name="connsiteX203" fmla="*/ 749073 w 2572294"/>
              <a:gd name="connsiteY203" fmla="*/ 212404 h 240822"/>
              <a:gd name="connsiteX204" fmla="*/ 692578 w 2572294"/>
              <a:gd name="connsiteY204" fmla="*/ 212404 h 240822"/>
              <a:gd name="connsiteX205" fmla="*/ 706758 w 2572294"/>
              <a:gd name="connsiteY205" fmla="*/ 226585 h 240822"/>
              <a:gd name="connsiteX206" fmla="*/ 692578 w 2572294"/>
              <a:gd name="connsiteY206" fmla="*/ 240765 h 240822"/>
              <a:gd name="connsiteX207" fmla="*/ 678397 w 2572294"/>
              <a:gd name="connsiteY207" fmla="*/ 226585 h 240822"/>
              <a:gd name="connsiteX208" fmla="*/ 692578 w 2572294"/>
              <a:gd name="connsiteY208" fmla="*/ 212404 h 240822"/>
              <a:gd name="connsiteX209" fmla="*/ 636026 w 2572294"/>
              <a:gd name="connsiteY209" fmla="*/ 212404 h 240822"/>
              <a:gd name="connsiteX210" fmla="*/ 650206 w 2572294"/>
              <a:gd name="connsiteY210" fmla="*/ 226585 h 240822"/>
              <a:gd name="connsiteX211" fmla="*/ 636026 w 2572294"/>
              <a:gd name="connsiteY211" fmla="*/ 240765 h 240822"/>
              <a:gd name="connsiteX212" fmla="*/ 621845 w 2572294"/>
              <a:gd name="connsiteY212" fmla="*/ 226585 h 240822"/>
              <a:gd name="connsiteX213" fmla="*/ 636026 w 2572294"/>
              <a:gd name="connsiteY213" fmla="*/ 212404 h 240822"/>
              <a:gd name="connsiteX214" fmla="*/ 579530 w 2572294"/>
              <a:gd name="connsiteY214" fmla="*/ 212404 h 240822"/>
              <a:gd name="connsiteX215" fmla="*/ 593711 w 2572294"/>
              <a:gd name="connsiteY215" fmla="*/ 226585 h 240822"/>
              <a:gd name="connsiteX216" fmla="*/ 579530 w 2572294"/>
              <a:gd name="connsiteY216" fmla="*/ 240765 h 240822"/>
              <a:gd name="connsiteX217" fmla="*/ 565350 w 2572294"/>
              <a:gd name="connsiteY217" fmla="*/ 226585 h 240822"/>
              <a:gd name="connsiteX218" fmla="*/ 579530 w 2572294"/>
              <a:gd name="connsiteY218" fmla="*/ 212404 h 240822"/>
              <a:gd name="connsiteX219" fmla="*/ 522978 w 2572294"/>
              <a:gd name="connsiteY219" fmla="*/ 212404 h 240822"/>
              <a:gd name="connsiteX220" fmla="*/ 537159 w 2572294"/>
              <a:gd name="connsiteY220" fmla="*/ 226585 h 240822"/>
              <a:gd name="connsiteX221" fmla="*/ 522978 w 2572294"/>
              <a:gd name="connsiteY221" fmla="*/ 240765 h 240822"/>
              <a:gd name="connsiteX222" fmla="*/ 508798 w 2572294"/>
              <a:gd name="connsiteY222" fmla="*/ 226585 h 240822"/>
              <a:gd name="connsiteX223" fmla="*/ 522978 w 2572294"/>
              <a:gd name="connsiteY223" fmla="*/ 212404 h 240822"/>
              <a:gd name="connsiteX224" fmla="*/ 466426 w 2572294"/>
              <a:gd name="connsiteY224" fmla="*/ 212404 h 240822"/>
              <a:gd name="connsiteX225" fmla="*/ 480607 w 2572294"/>
              <a:gd name="connsiteY225" fmla="*/ 226585 h 240822"/>
              <a:gd name="connsiteX226" fmla="*/ 466426 w 2572294"/>
              <a:gd name="connsiteY226" fmla="*/ 240765 h 240822"/>
              <a:gd name="connsiteX227" fmla="*/ 452246 w 2572294"/>
              <a:gd name="connsiteY227" fmla="*/ 226585 h 240822"/>
              <a:gd name="connsiteX228" fmla="*/ 466426 w 2572294"/>
              <a:gd name="connsiteY228" fmla="*/ 212404 h 240822"/>
              <a:gd name="connsiteX229" fmla="*/ 409931 w 2572294"/>
              <a:gd name="connsiteY229" fmla="*/ 212404 h 240822"/>
              <a:gd name="connsiteX230" fmla="*/ 424112 w 2572294"/>
              <a:gd name="connsiteY230" fmla="*/ 226585 h 240822"/>
              <a:gd name="connsiteX231" fmla="*/ 409931 w 2572294"/>
              <a:gd name="connsiteY231" fmla="*/ 240765 h 240822"/>
              <a:gd name="connsiteX232" fmla="*/ 395751 w 2572294"/>
              <a:gd name="connsiteY232" fmla="*/ 226585 h 240822"/>
              <a:gd name="connsiteX233" fmla="*/ 409931 w 2572294"/>
              <a:gd name="connsiteY233" fmla="*/ 212404 h 240822"/>
              <a:gd name="connsiteX234" fmla="*/ 353379 w 2572294"/>
              <a:gd name="connsiteY234" fmla="*/ 212404 h 240822"/>
              <a:gd name="connsiteX235" fmla="*/ 367559 w 2572294"/>
              <a:gd name="connsiteY235" fmla="*/ 226585 h 240822"/>
              <a:gd name="connsiteX236" fmla="*/ 353379 w 2572294"/>
              <a:gd name="connsiteY236" fmla="*/ 240765 h 240822"/>
              <a:gd name="connsiteX237" fmla="*/ 339198 w 2572294"/>
              <a:gd name="connsiteY237" fmla="*/ 226585 h 240822"/>
              <a:gd name="connsiteX238" fmla="*/ 353379 w 2572294"/>
              <a:gd name="connsiteY238" fmla="*/ 212404 h 240822"/>
              <a:gd name="connsiteX239" fmla="*/ 296884 w 2572294"/>
              <a:gd name="connsiteY239" fmla="*/ 212404 h 240822"/>
              <a:gd name="connsiteX240" fmla="*/ 311008 w 2572294"/>
              <a:gd name="connsiteY240" fmla="*/ 226585 h 240822"/>
              <a:gd name="connsiteX241" fmla="*/ 296884 w 2572294"/>
              <a:gd name="connsiteY241" fmla="*/ 240765 h 240822"/>
              <a:gd name="connsiteX242" fmla="*/ 282647 w 2572294"/>
              <a:gd name="connsiteY242" fmla="*/ 226585 h 240822"/>
              <a:gd name="connsiteX243" fmla="*/ 296884 w 2572294"/>
              <a:gd name="connsiteY243" fmla="*/ 212404 h 240822"/>
              <a:gd name="connsiteX244" fmla="*/ 240332 w 2572294"/>
              <a:gd name="connsiteY244" fmla="*/ 212404 h 240822"/>
              <a:gd name="connsiteX245" fmla="*/ 254512 w 2572294"/>
              <a:gd name="connsiteY245" fmla="*/ 226585 h 240822"/>
              <a:gd name="connsiteX246" fmla="*/ 240332 w 2572294"/>
              <a:gd name="connsiteY246" fmla="*/ 240765 h 240822"/>
              <a:gd name="connsiteX247" fmla="*/ 226151 w 2572294"/>
              <a:gd name="connsiteY247" fmla="*/ 226585 h 240822"/>
              <a:gd name="connsiteX248" fmla="*/ 240332 w 2572294"/>
              <a:gd name="connsiteY248" fmla="*/ 212404 h 240822"/>
              <a:gd name="connsiteX249" fmla="*/ 183780 w 2572294"/>
              <a:gd name="connsiteY249" fmla="*/ 212404 h 240822"/>
              <a:gd name="connsiteX250" fmla="*/ 197960 w 2572294"/>
              <a:gd name="connsiteY250" fmla="*/ 226585 h 240822"/>
              <a:gd name="connsiteX251" fmla="*/ 183780 w 2572294"/>
              <a:gd name="connsiteY251" fmla="*/ 240765 h 240822"/>
              <a:gd name="connsiteX252" fmla="*/ 169599 w 2572294"/>
              <a:gd name="connsiteY252" fmla="*/ 226585 h 240822"/>
              <a:gd name="connsiteX253" fmla="*/ 183780 w 2572294"/>
              <a:gd name="connsiteY253" fmla="*/ 212404 h 240822"/>
              <a:gd name="connsiteX254" fmla="*/ 127284 w 2572294"/>
              <a:gd name="connsiteY254" fmla="*/ 212404 h 240822"/>
              <a:gd name="connsiteX255" fmla="*/ 141408 w 2572294"/>
              <a:gd name="connsiteY255" fmla="*/ 226585 h 240822"/>
              <a:gd name="connsiteX256" fmla="*/ 127284 w 2572294"/>
              <a:gd name="connsiteY256" fmla="*/ 240765 h 240822"/>
              <a:gd name="connsiteX257" fmla="*/ 113104 w 2572294"/>
              <a:gd name="connsiteY257" fmla="*/ 226585 h 240822"/>
              <a:gd name="connsiteX258" fmla="*/ 127284 w 2572294"/>
              <a:gd name="connsiteY258" fmla="*/ 212404 h 240822"/>
              <a:gd name="connsiteX259" fmla="*/ 70733 w 2572294"/>
              <a:gd name="connsiteY259" fmla="*/ 212404 h 240822"/>
              <a:gd name="connsiteX260" fmla="*/ 84913 w 2572294"/>
              <a:gd name="connsiteY260" fmla="*/ 226585 h 240822"/>
              <a:gd name="connsiteX261" fmla="*/ 70733 w 2572294"/>
              <a:gd name="connsiteY261" fmla="*/ 240765 h 240822"/>
              <a:gd name="connsiteX262" fmla="*/ 56552 w 2572294"/>
              <a:gd name="connsiteY262" fmla="*/ 226585 h 240822"/>
              <a:gd name="connsiteX263" fmla="*/ 70733 w 2572294"/>
              <a:gd name="connsiteY263" fmla="*/ 212404 h 240822"/>
              <a:gd name="connsiteX264" fmla="*/ 14181 w 2572294"/>
              <a:gd name="connsiteY264" fmla="*/ 159312 h 240822"/>
              <a:gd name="connsiteX265" fmla="*/ 28361 w 2572294"/>
              <a:gd name="connsiteY265" fmla="*/ 173492 h 240822"/>
              <a:gd name="connsiteX266" fmla="*/ 14181 w 2572294"/>
              <a:gd name="connsiteY266" fmla="*/ 187673 h 240822"/>
              <a:gd name="connsiteX267" fmla="*/ 0 w 2572294"/>
              <a:gd name="connsiteY267" fmla="*/ 173492 h 240822"/>
              <a:gd name="connsiteX268" fmla="*/ 14181 w 2572294"/>
              <a:gd name="connsiteY268" fmla="*/ 159312 h 240822"/>
              <a:gd name="connsiteX269" fmla="*/ 14181 w 2572294"/>
              <a:gd name="connsiteY269" fmla="*/ 106220 h 240822"/>
              <a:gd name="connsiteX270" fmla="*/ 28361 w 2572294"/>
              <a:gd name="connsiteY270" fmla="*/ 120400 h 240822"/>
              <a:gd name="connsiteX271" fmla="*/ 14181 w 2572294"/>
              <a:gd name="connsiteY271" fmla="*/ 134581 h 240822"/>
              <a:gd name="connsiteX272" fmla="*/ 0 w 2572294"/>
              <a:gd name="connsiteY272" fmla="*/ 120400 h 240822"/>
              <a:gd name="connsiteX273" fmla="*/ 14181 w 2572294"/>
              <a:gd name="connsiteY273" fmla="*/ 106220 h 240822"/>
              <a:gd name="connsiteX274" fmla="*/ 14181 w 2572294"/>
              <a:gd name="connsiteY274" fmla="*/ 53071 h 240822"/>
              <a:gd name="connsiteX275" fmla="*/ 28361 w 2572294"/>
              <a:gd name="connsiteY275" fmla="*/ 67252 h 240822"/>
              <a:gd name="connsiteX276" fmla="*/ 14181 w 2572294"/>
              <a:gd name="connsiteY276" fmla="*/ 81432 h 240822"/>
              <a:gd name="connsiteX277" fmla="*/ 0 w 2572294"/>
              <a:gd name="connsiteY277" fmla="*/ 67252 h 240822"/>
              <a:gd name="connsiteX278" fmla="*/ 14181 w 2572294"/>
              <a:gd name="connsiteY278" fmla="*/ 53071 h 240822"/>
              <a:gd name="connsiteX279" fmla="*/ 11401 w 2572294"/>
              <a:gd name="connsiteY279" fmla="*/ 263 h 240822"/>
              <a:gd name="connsiteX280" fmla="*/ 24220 w 2572294"/>
              <a:gd name="connsiteY280" fmla="*/ 4121 h 240822"/>
              <a:gd name="connsiteX281" fmla="*/ 28361 w 2572294"/>
              <a:gd name="connsiteY281" fmla="*/ 14160 h 240822"/>
              <a:gd name="connsiteX282" fmla="*/ 24220 w 2572294"/>
              <a:gd name="connsiteY282" fmla="*/ 24200 h 240822"/>
              <a:gd name="connsiteX283" fmla="*/ 14181 w 2572294"/>
              <a:gd name="connsiteY283" fmla="*/ 28341 h 240822"/>
              <a:gd name="connsiteX284" fmla="*/ 11401 w 2572294"/>
              <a:gd name="connsiteY284" fmla="*/ 28057 h 240822"/>
              <a:gd name="connsiteX285" fmla="*/ 8792 w 2572294"/>
              <a:gd name="connsiteY285" fmla="*/ 27263 h 240822"/>
              <a:gd name="connsiteX286" fmla="*/ 6353 w 2572294"/>
              <a:gd name="connsiteY286" fmla="*/ 25958 h 240822"/>
              <a:gd name="connsiteX287" fmla="*/ 4197 w 2572294"/>
              <a:gd name="connsiteY287" fmla="*/ 24200 h 240822"/>
              <a:gd name="connsiteX288" fmla="*/ 0 w 2572294"/>
              <a:gd name="connsiteY288" fmla="*/ 14160 h 240822"/>
              <a:gd name="connsiteX289" fmla="*/ 4197 w 2572294"/>
              <a:gd name="connsiteY289" fmla="*/ 4121 h 240822"/>
              <a:gd name="connsiteX290" fmla="*/ 6353 w 2572294"/>
              <a:gd name="connsiteY290" fmla="*/ 2362 h 240822"/>
              <a:gd name="connsiteX291" fmla="*/ 8792 w 2572294"/>
              <a:gd name="connsiteY291" fmla="*/ 1057 h 240822"/>
              <a:gd name="connsiteX292" fmla="*/ 11401 w 2572294"/>
              <a:gd name="connsiteY292" fmla="*/ 263 h 2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2572294" h="240822">
                <a:moveTo>
                  <a:pt x="2560836" y="212687"/>
                </a:moveTo>
                <a:cubicBezTo>
                  <a:pt x="2561743" y="212858"/>
                  <a:pt x="2562651" y="213141"/>
                  <a:pt x="2563502" y="213482"/>
                </a:cubicBezTo>
                <a:cubicBezTo>
                  <a:pt x="2564353" y="213879"/>
                  <a:pt x="2565204" y="214276"/>
                  <a:pt x="2565941" y="214786"/>
                </a:cubicBezTo>
                <a:cubicBezTo>
                  <a:pt x="2566735" y="215297"/>
                  <a:pt x="2567472" y="215921"/>
                  <a:pt x="2568097" y="216601"/>
                </a:cubicBezTo>
                <a:cubicBezTo>
                  <a:pt x="2568777" y="217226"/>
                  <a:pt x="2569344" y="217963"/>
                  <a:pt x="2569855" y="218757"/>
                </a:cubicBezTo>
                <a:cubicBezTo>
                  <a:pt x="2570365" y="219494"/>
                  <a:pt x="2570819" y="220345"/>
                  <a:pt x="2571159" y="221196"/>
                </a:cubicBezTo>
                <a:cubicBezTo>
                  <a:pt x="2571557" y="222047"/>
                  <a:pt x="2571783" y="222898"/>
                  <a:pt x="2572010" y="223805"/>
                </a:cubicBezTo>
                <a:cubicBezTo>
                  <a:pt x="2572181" y="224769"/>
                  <a:pt x="2572294" y="225677"/>
                  <a:pt x="2572294" y="226584"/>
                </a:cubicBezTo>
                <a:cubicBezTo>
                  <a:pt x="2572294" y="227549"/>
                  <a:pt x="2572181" y="228456"/>
                  <a:pt x="2572010" y="229364"/>
                </a:cubicBezTo>
                <a:cubicBezTo>
                  <a:pt x="2571783" y="230272"/>
                  <a:pt x="2571557" y="231179"/>
                  <a:pt x="2571159" y="232030"/>
                </a:cubicBezTo>
                <a:cubicBezTo>
                  <a:pt x="2570819" y="232881"/>
                  <a:pt x="2570365" y="233732"/>
                  <a:pt x="2569855" y="234469"/>
                </a:cubicBezTo>
                <a:cubicBezTo>
                  <a:pt x="2569344" y="235263"/>
                  <a:pt x="2568777" y="236001"/>
                  <a:pt x="2568097" y="236624"/>
                </a:cubicBezTo>
                <a:cubicBezTo>
                  <a:pt x="2567472" y="237305"/>
                  <a:pt x="2566735" y="237872"/>
                  <a:pt x="2565941" y="238383"/>
                </a:cubicBezTo>
                <a:cubicBezTo>
                  <a:pt x="2565204" y="238893"/>
                  <a:pt x="2564353" y="239347"/>
                  <a:pt x="2563502" y="239687"/>
                </a:cubicBezTo>
                <a:cubicBezTo>
                  <a:pt x="2562651" y="240084"/>
                  <a:pt x="2561743" y="240311"/>
                  <a:pt x="2560836" y="240538"/>
                </a:cubicBezTo>
                <a:cubicBezTo>
                  <a:pt x="2559928" y="240708"/>
                  <a:pt x="2559021" y="240822"/>
                  <a:pt x="2558114" y="240822"/>
                </a:cubicBezTo>
                <a:cubicBezTo>
                  <a:pt x="2554370" y="240822"/>
                  <a:pt x="2550683" y="239290"/>
                  <a:pt x="2548074" y="236624"/>
                </a:cubicBezTo>
                <a:cubicBezTo>
                  <a:pt x="2547393" y="236001"/>
                  <a:pt x="2546826" y="235263"/>
                  <a:pt x="2546315" y="234469"/>
                </a:cubicBezTo>
                <a:cubicBezTo>
                  <a:pt x="2545805" y="233732"/>
                  <a:pt x="2545351" y="232881"/>
                  <a:pt x="2545010" y="232030"/>
                </a:cubicBezTo>
                <a:cubicBezTo>
                  <a:pt x="2544614" y="231179"/>
                  <a:pt x="2544387" y="230272"/>
                  <a:pt x="2544159" y="229364"/>
                </a:cubicBezTo>
                <a:cubicBezTo>
                  <a:pt x="2543990" y="228456"/>
                  <a:pt x="2543933" y="227549"/>
                  <a:pt x="2543933" y="226584"/>
                </a:cubicBezTo>
                <a:cubicBezTo>
                  <a:pt x="2543933" y="225677"/>
                  <a:pt x="2543933" y="224769"/>
                  <a:pt x="2544159" y="223805"/>
                </a:cubicBezTo>
                <a:cubicBezTo>
                  <a:pt x="2544387" y="222898"/>
                  <a:pt x="2544614" y="222047"/>
                  <a:pt x="2545010" y="221196"/>
                </a:cubicBezTo>
                <a:cubicBezTo>
                  <a:pt x="2545351" y="220345"/>
                  <a:pt x="2545805" y="219494"/>
                  <a:pt x="2546315" y="218757"/>
                </a:cubicBezTo>
                <a:cubicBezTo>
                  <a:pt x="2546826" y="217963"/>
                  <a:pt x="2547393" y="217226"/>
                  <a:pt x="2548074" y="216601"/>
                </a:cubicBezTo>
                <a:cubicBezTo>
                  <a:pt x="2551363" y="213255"/>
                  <a:pt x="2556298" y="211723"/>
                  <a:pt x="2560836" y="212687"/>
                </a:cubicBezTo>
                <a:close/>
                <a:moveTo>
                  <a:pt x="14202" y="212602"/>
                </a:moveTo>
                <a:cubicBezTo>
                  <a:pt x="17896" y="212602"/>
                  <a:pt x="21583" y="213935"/>
                  <a:pt x="24220" y="216601"/>
                </a:cubicBezTo>
                <a:cubicBezTo>
                  <a:pt x="24901" y="217225"/>
                  <a:pt x="25468" y="217963"/>
                  <a:pt x="25979" y="218756"/>
                </a:cubicBezTo>
                <a:cubicBezTo>
                  <a:pt x="26489" y="219494"/>
                  <a:pt x="26943" y="220345"/>
                  <a:pt x="27283" y="221195"/>
                </a:cubicBezTo>
                <a:cubicBezTo>
                  <a:pt x="27624" y="222046"/>
                  <a:pt x="27907" y="222897"/>
                  <a:pt x="28078" y="223805"/>
                </a:cubicBezTo>
                <a:cubicBezTo>
                  <a:pt x="28304" y="224769"/>
                  <a:pt x="28361" y="225677"/>
                  <a:pt x="28361" y="226584"/>
                </a:cubicBezTo>
                <a:cubicBezTo>
                  <a:pt x="28361" y="227548"/>
                  <a:pt x="28304" y="228456"/>
                  <a:pt x="28078" y="229363"/>
                </a:cubicBezTo>
                <a:cubicBezTo>
                  <a:pt x="27907" y="230271"/>
                  <a:pt x="27624" y="231179"/>
                  <a:pt x="27283" y="232030"/>
                </a:cubicBezTo>
                <a:cubicBezTo>
                  <a:pt x="26943" y="232880"/>
                  <a:pt x="26489" y="233731"/>
                  <a:pt x="25979" y="234469"/>
                </a:cubicBezTo>
                <a:cubicBezTo>
                  <a:pt x="25468" y="235263"/>
                  <a:pt x="24901" y="235943"/>
                  <a:pt x="24220" y="236624"/>
                </a:cubicBezTo>
                <a:cubicBezTo>
                  <a:pt x="21611" y="239290"/>
                  <a:pt x="17924" y="240765"/>
                  <a:pt x="14181" y="240765"/>
                </a:cubicBezTo>
                <a:cubicBezTo>
                  <a:pt x="10493" y="240765"/>
                  <a:pt x="6807" y="239290"/>
                  <a:pt x="4141" y="236624"/>
                </a:cubicBezTo>
                <a:cubicBezTo>
                  <a:pt x="1532" y="233958"/>
                  <a:pt x="0" y="230328"/>
                  <a:pt x="0" y="226584"/>
                </a:cubicBezTo>
                <a:cubicBezTo>
                  <a:pt x="0" y="225677"/>
                  <a:pt x="114" y="224769"/>
                  <a:pt x="284" y="223805"/>
                </a:cubicBezTo>
                <a:cubicBezTo>
                  <a:pt x="454" y="222954"/>
                  <a:pt x="737" y="222046"/>
                  <a:pt x="1078" y="221195"/>
                </a:cubicBezTo>
                <a:cubicBezTo>
                  <a:pt x="1475" y="220345"/>
                  <a:pt x="1929" y="219494"/>
                  <a:pt x="2382" y="218756"/>
                </a:cubicBezTo>
                <a:cubicBezTo>
                  <a:pt x="2950" y="217963"/>
                  <a:pt x="3517" y="217225"/>
                  <a:pt x="4141" y="216601"/>
                </a:cubicBezTo>
                <a:cubicBezTo>
                  <a:pt x="6807" y="213935"/>
                  <a:pt x="10508" y="212602"/>
                  <a:pt x="14202" y="212602"/>
                </a:cubicBezTo>
                <a:close/>
                <a:moveTo>
                  <a:pt x="2501561" y="212404"/>
                </a:moveTo>
                <a:cubicBezTo>
                  <a:pt x="2509389" y="212404"/>
                  <a:pt x="2515741" y="218757"/>
                  <a:pt x="2515741" y="226585"/>
                </a:cubicBezTo>
                <a:cubicBezTo>
                  <a:pt x="2515741" y="234412"/>
                  <a:pt x="2509389" y="240765"/>
                  <a:pt x="2501561" y="240765"/>
                </a:cubicBezTo>
                <a:cubicBezTo>
                  <a:pt x="2493733" y="240765"/>
                  <a:pt x="2487380" y="234412"/>
                  <a:pt x="2487380" y="226585"/>
                </a:cubicBezTo>
                <a:cubicBezTo>
                  <a:pt x="2487380" y="218757"/>
                  <a:pt x="2493733" y="212404"/>
                  <a:pt x="2501561" y="212404"/>
                </a:cubicBezTo>
                <a:close/>
                <a:moveTo>
                  <a:pt x="2445009" y="212404"/>
                </a:moveTo>
                <a:cubicBezTo>
                  <a:pt x="2452837" y="212404"/>
                  <a:pt x="2459190" y="218757"/>
                  <a:pt x="2459190" y="226585"/>
                </a:cubicBezTo>
                <a:cubicBezTo>
                  <a:pt x="2459190" y="234412"/>
                  <a:pt x="2452837" y="240765"/>
                  <a:pt x="2445009" y="240765"/>
                </a:cubicBezTo>
                <a:cubicBezTo>
                  <a:pt x="2437181" y="240765"/>
                  <a:pt x="2430829" y="234412"/>
                  <a:pt x="2430829" y="226585"/>
                </a:cubicBezTo>
                <a:cubicBezTo>
                  <a:pt x="2430829" y="218757"/>
                  <a:pt x="2437181" y="212404"/>
                  <a:pt x="2445009" y="212404"/>
                </a:cubicBezTo>
                <a:close/>
                <a:moveTo>
                  <a:pt x="2388514" y="212404"/>
                </a:moveTo>
                <a:cubicBezTo>
                  <a:pt x="2396342" y="212404"/>
                  <a:pt x="2402695" y="218757"/>
                  <a:pt x="2402695" y="226585"/>
                </a:cubicBezTo>
                <a:cubicBezTo>
                  <a:pt x="2402695" y="234412"/>
                  <a:pt x="2396342" y="240765"/>
                  <a:pt x="2388514" y="240765"/>
                </a:cubicBezTo>
                <a:cubicBezTo>
                  <a:pt x="2380686" y="240765"/>
                  <a:pt x="2374333" y="234412"/>
                  <a:pt x="2374333" y="226585"/>
                </a:cubicBezTo>
                <a:cubicBezTo>
                  <a:pt x="2374333" y="218757"/>
                  <a:pt x="2380686" y="212404"/>
                  <a:pt x="2388514" y="212404"/>
                </a:cubicBezTo>
                <a:close/>
                <a:moveTo>
                  <a:pt x="2331962" y="212404"/>
                </a:moveTo>
                <a:cubicBezTo>
                  <a:pt x="2339790" y="212404"/>
                  <a:pt x="2346143" y="218757"/>
                  <a:pt x="2346143" y="226585"/>
                </a:cubicBezTo>
                <a:cubicBezTo>
                  <a:pt x="2346143" y="234412"/>
                  <a:pt x="2339790" y="240765"/>
                  <a:pt x="2331962" y="240765"/>
                </a:cubicBezTo>
                <a:cubicBezTo>
                  <a:pt x="2324135" y="240765"/>
                  <a:pt x="2317782" y="234412"/>
                  <a:pt x="2317782" y="226585"/>
                </a:cubicBezTo>
                <a:cubicBezTo>
                  <a:pt x="2317782" y="218757"/>
                  <a:pt x="2324135" y="212404"/>
                  <a:pt x="2331962" y="212404"/>
                </a:cubicBezTo>
                <a:close/>
                <a:moveTo>
                  <a:pt x="2275410" y="212404"/>
                </a:moveTo>
                <a:cubicBezTo>
                  <a:pt x="2283294" y="212404"/>
                  <a:pt x="2289590" y="218757"/>
                  <a:pt x="2289590" y="226585"/>
                </a:cubicBezTo>
                <a:cubicBezTo>
                  <a:pt x="2289590" y="234412"/>
                  <a:pt x="2283294" y="240765"/>
                  <a:pt x="2275410" y="240765"/>
                </a:cubicBezTo>
                <a:cubicBezTo>
                  <a:pt x="2267582" y="240765"/>
                  <a:pt x="2261229" y="234412"/>
                  <a:pt x="2261229" y="226585"/>
                </a:cubicBezTo>
                <a:cubicBezTo>
                  <a:pt x="2261229" y="218757"/>
                  <a:pt x="2267582" y="212404"/>
                  <a:pt x="2275410" y="212404"/>
                </a:cubicBezTo>
                <a:close/>
                <a:moveTo>
                  <a:pt x="2218915" y="212404"/>
                </a:moveTo>
                <a:cubicBezTo>
                  <a:pt x="2226742" y="212404"/>
                  <a:pt x="2233095" y="218757"/>
                  <a:pt x="2233095" y="226585"/>
                </a:cubicBezTo>
                <a:cubicBezTo>
                  <a:pt x="2233095" y="234412"/>
                  <a:pt x="2226742" y="240765"/>
                  <a:pt x="2218915" y="240765"/>
                </a:cubicBezTo>
                <a:cubicBezTo>
                  <a:pt x="2211087" y="240765"/>
                  <a:pt x="2204734" y="234412"/>
                  <a:pt x="2204734" y="226585"/>
                </a:cubicBezTo>
                <a:cubicBezTo>
                  <a:pt x="2204734" y="218757"/>
                  <a:pt x="2211087" y="212404"/>
                  <a:pt x="2218915" y="212404"/>
                </a:cubicBezTo>
                <a:close/>
                <a:moveTo>
                  <a:pt x="2162363" y="212404"/>
                </a:moveTo>
                <a:cubicBezTo>
                  <a:pt x="2170190" y="212404"/>
                  <a:pt x="2176543" y="218757"/>
                  <a:pt x="2176543" y="226585"/>
                </a:cubicBezTo>
                <a:cubicBezTo>
                  <a:pt x="2176543" y="234412"/>
                  <a:pt x="2170190" y="240765"/>
                  <a:pt x="2162363" y="240765"/>
                </a:cubicBezTo>
                <a:cubicBezTo>
                  <a:pt x="2154535" y="240765"/>
                  <a:pt x="2148182" y="234412"/>
                  <a:pt x="2148182" y="226585"/>
                </a:cubicBezTo>
                <a:cubicBezTo>
                  <a:pt x="2148182" y="218757"/>
                  <a:pt x="2154535" y="212404"/>
                  <a:pt x="2162363" y="212404"/>
                </a:cubicBezTo>
                <a:close/>
                <a:moveTo>
                  <a:pt x="2105811" y="212404"/>
                </a:moveTo>
                <a:cubicBezTo>
                  <a:pt x="2113695" y="212404"/>
                  <a:pt x="2120047" y="218757"/>
                  <a:pt x="2120047" y="226585"/>
                </a:cubicBezTo>
                <a:cubicBezTo>
                  <a:pt x="2120047" y="234412"/>
                  <a:pt x="2113695" y="240765"/>
                  <a:pt x="2105811" y="240765"/>
                </a:cubicBezTo>
                <a:cubicBezTo>
                  <a:pt x="2097983" y="240765"/>
                  <a:pt x="2091686" y="234412"/>
                  <a:pt x="2091686" y="226585"/>
                </a:cubicBezTo>
                <a:cubicBezTo>
                  <a:pt x="2091686" y="218757"/>
                  <a:pt x="2097983" y="212404"/>
                  <a:pt x="2105811" y="212404"/>
                </a:cubicBezTo>
                <a:close/>
                <a:moveTo>
                  <a:pt x="2049315" y="212404"/>
                </a:moveTo>
                <a:cubicBezTo>
                  <a:pt x="2057143" y="212404"/>
                  <a:pt x="2063496" y="218757"/>
                  <a:pt x="2063496" y="226585"/>
                </a:cubicBezTo>
                <a:cubicBezTo>
                  <a:pt x="2063496" y="234412"/>
                  <a:pt x="2057143" y="240765"/>
                  <a:pt x="2049315" y="240765"/>
                </a:cubicBezTo>
                <a:cubicBezTo>
                  <a:pt x="2041487" y="240765"/>
                  <a:pt x="2035135" y="234412"/>
                  <a:pt x="2035135" y="226585"/>
                </a:cubicBezTo>
                <a:cubicBezTo>
                  <a:pt x="2035135" y="218757"/>
                  <a:pt x="2041487" y="212404"/>
                  <a:pt x="2049315" y="212404"/>
                </a:cubicBezTo>
                <a:close/>
                <a:moveTo>
                  <a:pt x="1992763" y="212404"/>
                </a:moveTo>
                <a:cubicBezTo>
                  <a:pt x="2000591" y="212404"/>
                  <a:pt x="2006944" y="218757"/>
                  <a:pt x="2006944" y="226585"/>
                </a:cubicBezTo>
                <a:cubicBezTo>
                  <a:pt x="2006944" y="234412"/>
                  <a:pt x="2000591" y="240765"/>
                  <a:pt x="1992763" y="240765"/>
                </a:cubicBezTo>
                <a:cubicBezTo>
                  <a:pt x="1984936" y="240765"/>
                  <a:pt x="1978583" y="234412"/>
                  <a:pt x="1978583" y="226585"/>
                </a:cubicBezTo>
                <a:cubicBezTo>
                  <a:pt x="1978583" y="218757"/>
                  <a:pt x="1984936" y="212404"/>
                  <a:pt x="1992763" y="212404"/>
                </a:cubicBezTo>
                <a:close/>
                <a:moveTo>
                  <a:pt x="1936268" y="212404"/>
                </a:moveTo>
                <a:cubicBezTo>
                  <a:pt x="1944096" y="212404"/>
                  <a:pt x="1950449" y="218757"/>
                  <a:pt x="1950449" y="226585"/>
                </a:cubicBezTo>
                <a:cubicBezTo>
                  <a:pt x="1950449" y="234412"/>
                  <a:pt x="1944096" y="240765"/>
                  <a:pt x="1936268" y="240765"/>
                </a:cubicBezTo>
                <a:cubicBezTo>
                  <a:pt x="1928441" y="240765"/>
                  <a:pt x="1922088" y="234412"/>
                  <a:pt x="1922088" y="226585"/>
                </a:cubicBezTo>
                <a:cubicBezTo>
                  <a:pt x="1922088" y="218757"/>
                  <a:pt x="1928441" y="212404"/>
                  <a:pt x="1936268" y="212404"/>
                </a:cubicBezTo>
                <a:close/>
                <a:moveTo>
                  <a:pt x="1879716" y="212404"/>
                </a:moveTo>
                <a:cubicBezTo>
                  <a:pt x="1887543" y="212404"/>
                  <a:pt x="1893896" y="218757"/>
                  <a:pt x="1893896" y="226585"/>
                </a:cubicBezTo>
                <a:cubicBezTo>
                  <a:pt x="1893896" y="234412"/>
                  <a:pt x="1887543" y="240765"/>
                  <a:pt x="1879716" y="240765"/>
                </a:cubicBezTo>
                <a:cubicBezTo>
                  <a:pt x="1871888" y="240765"/>
                  <a:pt x="1865535" y="234412"/>
                  <a:pt x="1865535" y="226585"/>
                </a:cubicBezTo>
                <a:cubicBezTo>
                  <a:pt x="1865535" y="218757"/>
                  <a:pt x="1871888" y="212404"/>
                  <a:pt x="1879716" y="212404"/>
                </a:cubicBezTo>
                <a:close/>
                <a:moveTo>
                  <a:pt x="1823164" y="212404"/>
                </a:moveTo>
                <a:cubicBezTo>
                  <a:pt x="1830992" y="212404"/>
                  <a:pt x="1837344" y="218757"/>
                  <a:pt x="1837344" y="226585"/>
                </a:cubicBezTo>
                <a:cubicBezTo>
                  <a:pt x="1837344" y="234412"/>
                  <a:pt x="1830992" y="240765"/>
                  <a:pt x="1823164" y="240765"/>
                </a:cubicBezTo>
                <a:cubicBezTo>
                  <a:pt x="1815336" y="240765"/>
                  <a:pt x="1808983" y="234412"/>
                  <a:pt x="1808983" y="226585"/>
                </a:cubicBezTo>
                <a:cubicBezTo>
                  <a:pt x="1808983" y="218757"/>
                  <a:pt x="1815336" y="212404"/>
                  <a:pt x="1823164" y="212404"/>
                </a:cubicBezTo>
                <a:close/>
                <a:moveTo>
                  <a:pt x="1766669" y="212404"/>
                </a:moveTo>
                <a:cubicBezTo>
                  <a:pt x="1774496" y="212404"/>
                  <a:pt x="1780849" y="218757"/>
                  <a:pt x="1780849" y="226585"/>
                </a:cubicBezTo>
                <a:cubicBezTo>
                  <a:pt x="1780849" y="234412"/>
                  <a:pt x="1774496" y="240765"/>
                  <a:pt x="1766669" y="240765"/>
                </a:cubicBezTo>
                <a:cubicBezTo>
                  <a:pt x="1758841" y="240765"/>
                  <a:pt x="1752488" y="234412"/>
                  <a:pt x="1752488" y="226585"/>
                </a:cubicBezTo>
                <a:cubicBezTo>
                  <a:pt x="1752488" y="218757"/>
                  <a:pt x="1758841" y="212404"/>
                  <a:pt x="1766669" y="212404"/>
                </a:cubicBezTo>
                <a:close/>
                <a:moveTo>
                  <a:pt x="1710117" y="212404"/>
                </a:moveTo>
                <a:cubicBezTo>
                  <a:pt x="1717945" y="212404"/>
                  <a:pt x="1724297" y="218757"/>
                  <a:pt x="1724297" y="226585"/>
                </a:cubicBezTo>
                <a:cubicBezTo>
                  <a:pt x="1724297" y="234412"/>
                  <a:pt x="1717945" y="240765"/>
                  <a:pt x="1710117" y="240765"/>
                </a:cubicBezTo>
                <a:cubicBezTo>
                  <a:pt x="1702289" y="240765"/>
                  <a:pt x="1695936" y="234412"/>
                  <a:pt x="1695936" y="226585"/>
                </a:cubicBezTo>
                <a:cubicBezTo>
                  <a:pt x="1695936" y="218757"/>
                  <a:pt x="1702289" y="212404"/>
                  <a:pt x="1710117" y="212404"/>
                </a:cubicBezTo>
                <a:close/>
                <a:moveTo>
                  <a:pt x="1653564" y="212404"/>
                </a:moveTo>
                <a:cubicBezTo>
                  <a:pt x="1661392" y="212404"/>
                  <a:pt x="1667745" y="218757"/>
                  <a:pt x="1667745" y="226585"/>
                </a:cubicBezTo>
                <a:cubicBezTo>
                  <a:pt x="1667745" y="234412"/>
                  <a:pt x="1661392" y="240765"/>
                  <a:pt x="1653564" y="240765"/>
                </a:cubicBezTo>
                <a:cubicBezTo>
                  <a:pt x="1645737" y="240765"/>
                  <a:pt x="1639384" y="234412"/>
                  <a:pt x="1639384" y="226585"/>
                </a:cubicBezTo>
                <a:cubicBezTo>
                  <a:pt x="1639384" y="218757"/>
                  <a:pt x="1645737" y="212404"/>
                  <a:pt x="1653564" y="212404"/>
                </a:cubicBezTo>
                <a:close/>
                <a:moveTo>
                  <a:pt x="1597069" y="212404"/>
                </a:moveTo>
                <a:cubicBezTo>
                  <a:pt x="1604897" y="212404"/>
                  <a:pt x="1611250" y="218757"/>
                  <a:pt x="1611250" y="226585"/>
                </a:cubicBezTo>
                <a:cubicBezTo>
                  <a:pt x="1611250" y="234412"/>
                  <a:pt x="1604897" y="240765"/>
                  <a:pt x="1597069" y="240765"/>
                </a:cubicBezTo>
                <a:cubicBezTo>
                  <a:pt x="1589242" y="240765"/>
                  <a:pt x="1582889" y="234412"/>
                  <a:pt x="1582889" y="226585"/>
                </a:cubicBezTo>
                <a:cubicBezTo>
                  <a:pt x="1582889" y="218757"/>
                  <a:pt x="1589242" y="212404"/>
                  <a:pt x="1597069" y="212404"/>
                </a:cubicBezTo>
                <a:close/>
                <a:moveTo>
                  <a:pt x="1540517" y="212404"/>
                </a:moveTo>
                <a:cubicBezTo>
                  <a:pt x="1548345" y="212404"/>
                  <a:pt x="1554698" y="218757"/>
                  <a:pt x="1554698" y="226585"/>
                </a:cubicBezTo>
                <a:cubicBezTo>
                  <a:pt x="1554698" y="234412"/>
                  <a:pt x="1548345" y="240765"/>
                  <a:pt x="1540517" y="240765"/>
                </a:cubicBezTo>
                <a:cubicBezTo>
                  <a:pt x="1532690" y="240765"/>
                  <a:pt x="1526337" y="234412"/>
                  <a:pt x="1526337" y="226585"/>
                </a:cubicBezTo>
                <a:cubicBezTo>
                  <a:pt x="1526337" y="218757"/>
                  <a:pt x="1532690" y="212404"/>
                  <a:pt x="1540517" y="212404"/>
                </a:cubicBezTo>
                <a:close/>
                <a:moveTo>
                  <a:pt x="1484022" y="212404"/>
                </a:moveTo>
                <a:cubicBezTo>
                  <a:pt x="1491849" y="212404"/>
                  <a:pt x="1498202" y="218757"/>
                  <a:pt x="1498202" y="226585"/>
                </a:cubicBezTo>
                <a:cubicBezTo>
                  <a:pt x="1498202" y="234412"/>
                  <a:pt x="1491849" y="240765"/>
                  <a:pt x="1484022" y="240765"/>
                </a:cubicBezTo>
                <a:cubicBezTo>
                  <a:pt x="1476195" y="240765"/>
                  <a:pt x="1469841" y="234412"/>
                  <a:pt x="1469841" y="226585"/>
                </a:cubicBezTo>
                <a:cubicBezTo>
                  <a:pt x="1469841" y="218757"/>
                  <a:pt x="1476195" y="212404"/>
                  <a:pt x="1484022" y="212404"/>
                </a:cubicBezTo>
                <a:close/>
                <a:moveTo>
                  <a:pt x="1427470" y="212404"/>
                </a:moveTo>
                <a:cubicBezTo>
                  <a:pt x="1435298" y="212404"/>
                  <a:pt x="1441650" y="218757"/>
                  <a:pt x="1441650" y="226585"/>
                </a:cubicBezTo>
                <a:cubicBezTo>
                  <a:pt x="1441650" y="234412"/>
                  <a:pt x="1435298" y="240765"/>
                  <a:pt x="1427470" y="240765"/>
                </a:cubicBezTo>
                <a:cubicBezTo>
                  <a:pt x="1419642" y="240765"/>
                  <a:pt x="1413289" y="234412"/>
                  <a:pt x="1413289" y="226585"/>
                </a:cubicBezTo>
                <a:cubicBezTo>
                  <a:pt x="1413289" y="218757"/>
                  <a:pt x="1419642" y="212404"/>
                  <a:pt x="1427470" y="212404"/>
                </a:cubicBezTo>
                <a:close/>
                <a:moveTo>
                  <a:pt x="1370918" y="212404"/>
                </a:moveTo>
                <a:cubicBezTo>
                  <a:pt x="1378803" y="212404"/>
                  <a:pt x="1385099" y="218757"/>
                  <a:pt x="1385099" y="226585"/>
                </a:cubicBezTo>
                <a:cubicBezTo>
                  <a:pt x="1385099" y="234412"/>
                  <a:pt x="1378803" y="240765"/>
                  <a:pt x="1370918" y="240765"/>
                </a:cubicBezTo>
                <a:cubicBezTo>
                  <a:pt x="1363090" y="240765"/>
                  <a:pt x="1356738" y="234412"/>
                  <a:pt x="1356738" y="226585"/>
                </a:cubicBezTo>
                <a:cubicBezTo>
                  <a:pt x="1356738" y="218757"/>
                  <a:pt x="1363090" y="212404"/>
                  <a:pt x="1370918" y="212404"/>
                </a:cubicBezTo>
                <a:close/>
                <a:moveTo>
                  <a:pt x="1314423" y="212404"/>
                </a:moveTo>
                <a:cubicBezTo>
                  <a:pt x="1322251" y="212404"/>
                  <a:pt x="1328604" y="218757"/>
                  <a:pt x="1328604" y="226585"/>
                </a:cubicBezTo>
                <a:cubicBezTo>
                  <a:pt x="1328604" y="234412"/>
                  <a:pt x="1322251" y="240765"/>
                  <a:pt x="1314423" y="240765"/>
                </a:cubicBezTo>
                <a:cubicBezTo>
                  <a:pt x="1306595" y="240765"/>
                  <a:pt x="1300242" y="234412"/>
                  <a:pt x="1300242" y="226585"/>
                </a:cubicBezTo>
                <a:cubicBezTo>
                  <a:pt x="1300242" y="218757"/>
                  <a:pt x="1306595" y="212404"/>
                  <a:pt x="1314423" y="212404"/>
                </a:cubicBezTo>
                <a:close/>
                <a:moveTo>
                  <a:pt x="1257870" y="212404"/>
                </a:moveTo>
                <a:cubicBezTo>
                  <a:pt x="1265698" y="212404"/>
                  <a:pt x="1272051" y="218757"/>
                  <a:pt x="1272051" y="226585"/>
                </a:cubicBezTo>
                <a:cubicBezTo>
                  <a:pt x="1272051" y="234412"/>
                  <a:pt x="1265698" y="240765"/>
                  <a:pt x="1257870" y="240765"/>
                </a:cubicBezTo>
                <a:cubicBezTo>
                  <a:pt x="1250043" y="240765"/>
                  <a:pt x="1243690" y="234412"/>
                  <a:pt x="1243690" y="226585"/>
                </a:cubicBezTo>
                <a:cubicBezTo>
                  <a:pt x="1243690" y="218757"/>
                  <a:pt x="1250043" y="212404"/>
                  <a:pt x="1257870" y="212404"/>
                </a:cubicBezTo>
                <a:close/>
                <a:moveTo>
                  <a:pt x="1201319" y="212404"/>
                </a:moveTo>
                <a:cubicBezTo>
                  <a:pt x="1209203" y="212404"/>
                  <a:pt x="1215556" y="218757"/>
                  <a:pt x="1215556" y="226585"/>
                </a:cubicBezTo>
                <a:cubicBezTo>
                  <a:pt x="1215556" y="234412"/>
                  <a:pt x="1209203" y="240765"/>
                  <a:pt x="1201319" y="240765"/>
                </a:cubicBezTo>
                <a:cubicBezTo>
                  <a:pt x="1193491" y="240765"/>
                  <a:pt x="1187138" y="234412"/>
                  <a:pt x="1187138" y="226585"/>
                </a:cubicBezTo>
                <a:cubicBezTo>
                  <a:pt x="1187138" y="218757"/>
                  <a:pt x="1193491" y="212404"/>
                  <a:pt x="1201319" y="212404"/>
                </a:cubicBezTo>
                <a:close/>
                <a:moveTo>
                  <a:pt x="1144824" y="212404"/>
                </a:moveTo>
                <a:cubicBezTo>
                  <a:pt x="1152651" y="212404"/>
                  <a:pt x="1159004" y="218757"/>
                  <a:pt x="1159004" y="226585"/>
                </a:cubicBezTo>
                <a:cubicBezTo>
                  <a:pt x="1159004" y="234412"/>
                  <a:pt x="1152651" y="240765"/>
                  <a:pt x="1144824" y="240765"/>
                </a:cubicBezTo>
                <a:cubicBezTo>
                  <a:pt x="1136996" y="240765"/>
                  <a:pt x="1130643" y="234412"/>
                  <a:pt x="1130643" y="226585"/>
                </a:cubicBezTo>
                <a:cubicBezTo>
                  <a:pt x="1130643" y="218757"/>
                  <a:pt x="1136996" y="212404"/>
                  <a:pt x="1144824" y="212404"/>
                </a:cubicBezTo>
                <a:close/>
                <a:moveTo>
                  <a:pt x="1088272" y="212404"/>
                </a:moveTo>
                <a:cubicBezTo>
                  <a:pt x="1096099" y="212404"/>
                  <a:pt x="1102452" y="218757"/>
                  <a:pt x="1102452" y="226585"/>
                </a:cubicBezTo>
                <a:cubicBezTo>
                  <a:pt x="1102452" y="234412"/>
                  <a:pt x="1096099" y="240765"/>
                  <a:pt x="1088272" y="240765"/>
                </a:cubicBezTo>
                <a:cubicBezTo>
                  <a:pt x="1080444" y="240765"/>
                  <a:pt x="1074091" y="234412"/>
                  <a:pt x="1074091" y="226585"/>
                </a:cubicBezTo>
                <a:cubicBezTo>
                  <a:pt x="1074091" y="218757"/>
                  <a:pt x="1080444" y="212404"/>
                  <a:pt x="1088272" y="212404"/>
                </a:cubicBezTo>
                <a:close/>
                <a:moveTo>
                  <a:pt x="1031776" y="212404"/>
                </a:moveTo>
                <a:cubicBezTo>
                  <a:pt x="1039604" y="212404"/>
                  <a:pt x="1045956" y="218757"/>
                  <a:pt x="1045956" y="226585"/>
                </a:cubicBezTo>
                <a:cubicBezTo>
                  <a:pt x="1045956" y="234412"/>
                  <a:pt x="1039604" y="240765"/>
                  <a:pt x="1031776" y="240765"/>
                </a:cubicBezTo>
                <a:cubicBezTo>
                  <a:pt x="1023891" y="240765"/>
                  <a:pt x="1017539" y="234412"/>
                  <a:pt x="1017539" y="226585"/>
                </a:cubicBezTo>
                <a:cubicBezTo>
                  <a:pt x="1017539" y="218757"/>
                  <a:pt x="1023891" y="212404"/>
                  <a:pt x="1031776" y="212404"/>
                </a:cubicBezTo>
                <a:close/>
                <a:moveTo>
                  <a:pt x="975224" y="212404"/>
                </a:moveTo>
                <a:cubicBezTo>
                  <a:pt x="983052" y="212404"/>
                  <a:pt x="989405" y="218757"/>
                  <a:pt x="989405" y="226585"/>
                </a:cubicBezTo>
                <a:cubicBezTo>
                  <a:pt x="989405" y="234412"/>
                  <a:pt x="983052" y="240765"/>
                  <a:pt x="975224" y="240765"/>
                </a:cubicBezTo>
                <a:cubicBezTo>
                  <a:pt x="967396" y="240765"/>
                  <a:pt x="961044" y="234412"/>
                  <a:pt x="961044" y="226585"/>
                </a:cubicBezTo>
                <a:cubicBezTo>
                  <a:pt x="961044" y="218757"/>
                  <a:pt x="967396" y="212404"/>
                  <a:pt x="975224" y="212404"/>
                </a:cubicBezTo>
                <a:close/>
                <a:moveTo>
                  <a:pt x="918672" y="212404"/>
                </a:moveTo>
                <a:cubicBezTo>
                  <a:pt x="926500" y="212404"/>
                  <a:pt x="932853" y="218757"/>
                  <a:pt x="932853" y="226585"/>
                </a:cubicBezTo>
                <a:cubicBezTo>
                  <a:pt x="932853" y="234412"/>
                  <a:pt x="926500" y="240765"/>
                  <a:pt x="918672" y="240765"/>
                </a:cubicBezTo>
                <a:cubicBezTo>
                  <a:pt x="910845" y="240765"/>
                  <a:pt x="904492" y="234412"/>
                  <a:pt x="904492" y="226585"/>
                </a:cubicBezTo>
                <a:cubicBezTo>
                  <a:pt x="904492" y="218757"/>
                  <a:pt x="910845" y="212404"/>
                  <a:pt x="918672" y="212404"/>
                </a:cubicBezTo>
                <a:close/>
                <a:moveTo>
                  <a:pt x="862177" y="212404"/>
                </a:moveTo>
                <a:cubicBezTo>
                  <a:pt x="870004" y="212404"/>
                  <a:pt x="876358" y="218757"/>
                  <a:pt x="876358" y="226585"/>
                </a:cubicBezTo>
                <a:cubicBezTo>
                  <a:pt x="876358" y="234412"/>
                  <a:pt x="870004" y="240765"/>
                  <a:pt x="862177" y="240765"/>
                </a:cubicBezTo>
                <a:cubicBezTo>
                  <a:pt x="854350" y="240765"/>
                  <a:pt x="847997" y="234412"/>
                  <a:pt x="847997" y="226585"/>
                </a:cubicBezTo>
                <a:cubicBezTo>
                  <a:pt x="847997" y="218757"/>
                  <a:pt x="854350" y="212404"/>
                  <a:pt x="862177" y="212404"/>
                </a:cubicBezTo>
                <a:close/>
                <a:moveTo>
                  <a:pt x="805625" y="212404"/>
                </a:moveTo>
                <a:cubicBezTo>
                  <a:pt x="813452" y="212404"/>
                  <a:pt x="819805" y="218757"/>
                  <a:pt x="819805" y="226585"/>
                </a:cubicBezTo>
                <a:cubicBezTo>
                  <a:pt x="819805" y="234412"/>
                  <a:pt x="813452" y="240765"/>
                  <a:pt x="805625" y="240765"/>
                </a:cubicBezTo>
                <a:cubicBezTo>
                  <a:pt x="797797" y="240765"/>
                  <a:pt x="791444" y="234412"/>
                  <a:pt x="791444" y="226585"/>
                </a:cubicBezTo>
                <a:cubicBezTo>
                  <a:pt x="791444" y="218757"/>
                  <a:pt x="797797" y="212404"/>
                  <a:pt x="805625" y="212404"/>
                </a:cubicBezTo>
                <a:close/>
                <a:moveTo>
                  <a:pt x="749073" y="212404"/>
                </a:moveTo>
                <a:cubicBezTo>
                  <a:pt x="756957" y="212404"/>
                  <a:pt x="763310" y="218757"/>
                  <a:pt x="763310" y="226585"/>
                </a:cubicBezTo>
                <a:cubicBezTo>
                  <a:pt x="763310" y="234412"/>
                  <a:pt x="756957" y="240765"/>
                  <a:pt x="749073" y="240765"/>
                </a:cubicBezTo>
                <a:cubicBezTo>
                  <a:pt x="741245" y="240765"/>
                  <a:pt x="734949" y="234412"/>
                  <a:pt x="734949" y="226585"/>
                </a:cubicBezTo>
                <a:cubicBezTo>
                  <a:pt x="734949" y="218757"/>
                  <a:pt x="741245" y="212404"/>
                  <a:pt x="749073" y="212404"/>
                </a:cubicBezTo>
                <a:close/>
                <a:moveTo>
                  <a:pt x="692578" y="212404"/>
                </a:moveTo>
                <a:cubicBezTo>
                  <a:pt x="700405" y="212404"/>
                  <a:pt x="706758" y="218757"/>
                  <a:pt x="706758" y="226585"/>
                </a:cubicBezTo>
                <a:cubicBezTo>
                  <a:pt x="706758" y="234412"/>
                  <a:pt x="700405" y="240765"/>
                  <a:pt x="692578" y="240765"/>
                </a:cubicBezTo>
                <a:cubicBezTo>
                  <a:pt x="684750" y="240765"/>
                  <a:pt x="678397" y="234412"/>
                  <a:pt x="678397" y="226585"/>
                </a:cubicBezTo>
                <a:cubicBezTo>
                  <a:pt x="678397" y="218757"/>
                  <a:pt x="684750" y="212404"/>
                  <a:pt x="692578" y="212404"/>
                </a:cubicBezTo>
                <a:close/>
                <a:moveTo>
                  <a:pt x="636026" y="212404"/>
                </a:moveTo>
                <a:cubicBezTo>
                  <a:pt x="643853" y="212404"/>
                  <a:pt x="650206" y="218757"/>
                  <a:pt x="650206" y="226585"/>
                </a:cubicBezTo>
                <a:cubicBezTo>
                  <a:pt x="650206" y="234412"/>
                  <a:pt x="643853" y="240765"/>
                  <a:pt x="636026" y="240765"/>
                </a:cubicBezTo>
                <a:cubicBezTo>
                  <a:pt x="628198" y="240765"/>
                  <a:pt x="621845" y="234412"/>
                  <a:pt x="621845" y="226585"/>
                </a:cubicBezTo>
                <a:cubicBezTo>
                  <a:pt x="621845" y="218757"/>
                  <a:pt x="628198" y="212404"/>
                  <a:pt x="636026" y="212404"/>
                </a:cubicBezTo>
                <a:close/>
                <a:moveTo>
                  <a:pt x="579530" y="212404"/>
                </a:moveTo>
                <a:cubicBezTo>
                  <a:pt x="587358" y="212404"/>
                  <a:pt x="593711" y="218757"/>
                  <a:pt x="593711" y="226585"/>
                </a:cubicBezTo>
                <a:cubicBezTo>
                  <a:pt x="593711" y="234412"/>
                  <a:pt x="587358" y="240765"/>
                  <a:pt x="579530" y="240765"/>
                </a:cubicBezTo>
                <a:cubicBezTo>
                  <a:pt x="571702" y="240765"/>
                  <a:pt x="565350" y="234412"/>
                  <a:pt x="565350" y="226585"/>
                </a:cubicBezTo>
                <a:cubicBezTo>
                  <a:pt x="565350" y="218757"/>
                  <a:pt x="571702" y="212404"/>
                  <a:pt x="579530" y="212404"/>
                </a:cubicBezTo>
                <a:close/>
                <a:moveTo>
                  <a:pt x="522978" y="212404"/>
                </a:moveTo>
                <a:cubicBezTo>
                  <a:pt x="530806" y="212404"/>
                  <a:pt x="537159" y="218757"/>
                  <a:pt x="537159" y="226585"/>
                </a:cubicBezTo>
                <a:cubicBezTo>
                  <a:pt x="537159" y="234412"/>
                  <a:pt x="530806" y="240765"/>
                  <a:pt x="522978" y="240765"/>
                </a:cubicBezTo>
                <a:cubicBezTo>
                  <a:pt x="515151" y="240765"/>
                  <a:pt x="508798" y="234412"/>
                  <a:pt x="508798" y="226585"/>
                </a:cubicBezTo>
                <a:cubicBezTo>
                  <a:pt x="508798" y="218757"/>
                  <a:pt x="515151" y="212404"/>
                  <a:pt x="522978" y="212404"/>
                </a:cubicBezTo>
                <a:close/>
                <a:moveTo>
                  <a:pt x="466426" y="212404"/>
                </a:moveTo>
                <a:cubicBezTo>
                  <a:pt x="474254" y="212404"/>
                  <a:pt x="480607" y="218757"/>
                  <a:pt x="480607" y="226585"/>
                </a:cubicBezTo>
                <a:cubicBezTo>
                  <a:pt x="480607" y="234412"/>
                  <a:pt x="474254" y="240765"/>
                  <a:pt x="466426" y="240765"/>
                </a:cubicBezTo>
                <a:cubicBezTo>
                  <a:pt x="458598" y="240765"/>
                  <a:pt x="452246" y="234412"/>
                  <a:pt x="452246" y="226585"/>
                </a:cubicBezTo>
                <a:cubicBezTo>
                  <a:pt x="452246" y="218757"/>
                  <a:pt x="458598" y="212404"/>
                  <a:pt x="466426" y="212404"/>
                </a:cubicBezTo>
                <a:close/>
                <a:moveTo>
                  <a:pt x="409931" y="212404"/>
                </a:moveTo>
                <a:cubicBezTo>
                  <a:pt x="417759" y="212404"/>
                  <a:pt x="424112" y="218757"/>
                  <a:pt x="424112" y="226585"/>
                </a:cubicBezTo>
                <a:cubicBezTo>
                  <a:pt x="424112" y="234412"/>
                  <a:pt x="417759" y="240765"/>
                  <a:pt x="409931" y="240765"/>
                </a:cubicBezTo>
                <a:cubicBezTo>
                  <a:pt x="402103" y="240765"/>
                  <a:pt x="395751" y="234412"/>
                  <a:pt x="395751" y="226585"/>
                </a:cubicBezTo>
                <a:cubicBezTo>
                  <a:pt x="395751" y="218757"/>
                  <a:pt x="402103" y="212404"/>
                  <a:pt x="409931" y="212404"/>
                </a:cubicBezTo>
                <a:close/>
                <a:moveTo>
                  <a:pt x="353379" y="212404"/>
                </a:moveTo>
                <a:cubicBezTo>
                  <a:pt x="361207" y="212404"/>
                  <a:pt x="367559" y="218757"/>
                  <a:pt x="367559" y="226585"/>
                </a:cubicBezTo>
                <a:cubicBezTo>
                  <a:pt x="367559" y="234412"/>
                  <a:pt x="361207" y="240765"/>
                  <a:pt x="353379" y="240765"/>
                </a:cubicBezTo>
                <a:cubicBezTo>
                  <a:pt x="345551" y="240765"/>
                  <a:pt x="339198" y="234412"/>
                  <a:pt x="339198" y="226585"/>
                </a:cubicBezTo>
                <a:cubicBezTo>
                  <a:pt x="339198" y="218757"/>
                  <a:pt x="345551" y="212404"/>
                  <a:pt x="353379" y="212404"/>
                </a:cubicBezTo>
                <a:close/>
                <a:moveTo>
                  <a:pt x="296884" y="212404"/>
                </a:moveTo>
                <a:cubicBezTo>
                  <a:pt x="304712" y="212404"/>
                  <a:pt x="311008" y="218757"/>
                  <a:pt x="311008" y="226585"/>
                </a:cubicBezTo>
                <a:cubicBezTo>
                  <a:pt x="311008" y="234412"/>
                  <a:pt x="304712" y="240765"/>
                  <a:pt x="296884" y="240765"/>
                </a:cubicBezTo>
                <a:cubicBezTo>
                  <a:pt x="288999" y="240765"/>
                  <a:pt x="282647" y="234412"/>
                  <a:pt x="282647" y="226585"/>
                </a:cubicBezTo>
                <a:cubicBezTo>
                  <a:pt x="282647" y="218757"/>
                  <a:pt x="288999" y="212404"/>
                  <a:pt x="296884" y="212404"/>
                </a:cubicBezTo>
                <a:close/>
                <a:moveTo>
                  <a:pt x="240332" y="212404"/>
                </a:moveTo>
                <a:cubicBezTo>
                  <a:pt x="248159" y="212404"/>
                  <a:pt x="254512" y="218757"/>
                  <a:pt x="254512" y="226585"/>
                </a:cubicBezTo>
                <a:cubicBezTo>
                  <a:pt x="254512" y="234412"/>
                  <a:pt x="248159" y="240765"/>
                  <a:pt x="240332" y="240765"/>
                </a:cubicBezTo>
                <a:cubicBezTo>
                  <a:pt x="232504" y="240765"/>
                  <a:pt x="226151" y="234412"/>
                  <a:pt x="226151" y="226585"/>
                </a:cubicBezTo>
                <a:cubicBezTo>
                  <a:pt x="226151" y="218757"/>
                  <a:pt x="232504" y="212404"/>
                  <a:pt x="240332" y="212404"/>
                </a:cubicBezTo>
                <a:close/>
                <a:moveTo>
                  <a:pt x="183780" y="212404"/>
                </a:moveTo>
                <a:cubicBezTo>
                  <a:pt x="191607" y="212404"/>
                  <a:pt x="197960" y="218757"/>
                  <a:pt x="197960" y="226585"/>
                </a:cubicBezTo>
                <a:cubicBezTo>
                  <a:pt x="197960" y="234412"/>
                  <a:pt x="191607" y="240765"/>
                  <a:pt x="183780" y="240765"/>
                </a:cubicBezTo>
                <a:cubicBezTo>
                  <a:pt x="175952" y="240765"/>
                  <a:pt x="169599" y="234412"/>
                  <a:pt x="169599" y="226585"/>
                </a:cubicBezTo>
                <a:cubicBezTo>
                  <a:pt x="169599" y="218757"/>
                  <a:pt x="175952" y="212404"/>
                  <a:pt x="183780" y="212404"/>
                </a:cubicBezTo>
                <a:close/>
                <a:moveTo>
                  <a:pt x="127284" y="212404"/>
                </a:moveTo>
                <a:cubicBezTo>
                  <a:pt x="135112" y="212404"/>
                  <a:pt x="141408" y="218757"/>
                  <a:pt x="141408" y="226585"/>
                </a:cubicBezTo>
                <a:cubicBezTo>
                  <a:pt x="141408" y="234412"/>
                  <a:pt x="135112" y="240765"/>
                  <a:pt x="127284" y="240765"/>
                </a:cubicBezTo>
                <a:cubicBezTo>
                  <a:pt x="119457" y="240765"/>
                  <a:pt x="113104" y="234412"/>
                  <a:pt x="113104" y="226585"/>
                </a:cubicBezTo>
                <a:cubicBezTo>
                  <a:pt x="113104" y="218757"/>
                  <a:pt x="119457" y="212404"/>
                  <a:pt x="127284" y="212404"/>
                </a:cubicBezTo>
                <a:close/>
                <a:moveTo>
                  <a:pt x="70733" y="212404"/>
                </a:moveTo>
                <a:cubicBezTo>
                  <a:pt x="78560" y="212404"/>
                  <a:pt x="84913" y="218757"/>
                  <a:pt x="84913" y="226585"/>
                </a:cubicBezTo>
                <a:cubicBezTo>
                  <a:pt x="84913" y="234412"/>
                  <a:pt x="78560" y="240765"/>
                  <a:pt x="70733" y="240765"/>
                </a:cubicBezTo>
                <a:cubicBezTo>
                  <a:pt x="62905" y="240765"/>
                  <a:pt x="56552" y="234412"/>
                  <a:pt x="56552" y="226585"/>
                </a:cubicBezTo>
                <a:cubicBezTo>
                  <a:pt x="56552" y="218757"/>
                  <a:pt x="62905" y="212404"/>
                  <a:pt x="70733" y="212404"/>
                </a:cubicBezTo>
                <a:close/>
                <a:moveTo>
                  <a:pt x="14181" y="159312"/>
                </a:moveTo>
                <a:cubicBezTo>
                  <a:pt x="22065" y="159312"/>
                  <a:pt x="28361" y="165664"/>
                  <a:pt x="28361" y="173492"/>
                </a:cubicBezTo>
                <a:cubicBezTo>
                  <a:pt x="28361" y="181320"/>
                  <a:pt x="22065" y="187673"/>
                  <a:pt x="14181" y="187673"/>
                </a:cubicBezTo>
                <a:cubicBezTo>
                  <a:pt x="6353" y="187673"/>
                  <a:pt x="0" y="181320"/>
                  <a:pt x="0" y="173492"/>
                </a:cubicBezTo>
                <a:cubicBezTo>
                  <a:pt x="0" y="165664"/>
                  <a:pt x="6353" y="159312"/>
                  <a:pt x="14181" y="159312"/>
                </a:cubicBezTo>
                <a:close/>
                <a:moveTo>
                  <a:pt x="14181" y="106220"/>
                </a:moveTo>
                <a:cubicBezTo>
                  <a:pt x="22065" y="106220"/>
                  <a:pt x="28361" y="112573"/>
                  <a:pt x="28361" y="120400"/>
                </a:cubicBezTo>
                <a:cubicBezTo>
                  <a:pt x="28361" y="128228"/>
                  <a:pt x="22065" y="134581"/>
                  <a:pt x="14181" y="134581"/>
                </a:cubicBezTo>
                <a:cubicBezTo>
                  <a:pt x="6353" y="134581"/>
                  <a:pt x="0" y="128228"/>
                  <a:pt x="0" y="120400"/>
                </a:cubicBezTo>
                <a:cubicBezTo>
                  <a:pt x="0" y="112573"/>
                  <a:pt x="6353" y="106220"/>
                  <a:pt x="14181" y="106220"/>
                </a:cubicBezTo>
                <a:close/>
                <a:moveTo>
                  <a:pt x="14181" y="53071"/>
                </a:moveTo>
                <a:cubicBezTo>
                  <a:pt x="22065" y="53071"/>
                  <a:pt x="28361" y="59424"/>
                  <a:pt x="28361" y="67252"/>
                </a:cubicBezTo>
                <a:cubicBezTo>
                  <a:pt x="28361" y="75079"/>
                  <a:pt x="22065" y="81432"/>
                  <a:pt x="14181" y="81432"/>
                </a:cubicBezTo>
                <a:cubicBezTo>
                  <a:pt x="6353" y="81432"/>
                  <a:pt x="0" y="75079"/>
                  <a:pt x="0" y="67252"/>
                </a:cubicBezTo>
                <a:cubicBezTo>
                  <a:pt x="0" y="59424"/>
                  <a:pt x="6353" y="53071"/>
                  <a:pt x="14181" y="53071"/>
                </a:cubicBezTo>
                <a:close/>
                <a:moveTo>
                  <a:pt x="11401" y="263"/>
                </a:moveTo>
                <a:cubicBezTo>
                  <a:pt x="16052" y="-644"/>
                  <a:pt x="20930" y="831"/>
                  <a:pt x="24220" y="4121"/>
                </a:cubicBezTo>
                <a:cubicBezTo>
                  <a:pt x="26886" y="6786"/>
                  <a:pt x="28361" y="10417"/>
                  <a:pt x="28361" y="14160"/>
                </a:cubicBezTo>
                <a:cubicBezTo>
                  <a:pt x="28361" y="17904"/>
                  <a:pt x="26886" y="21534"/>
                  <a:pt x="24220" y="24200"/>
                </a:cubicBezTo>
                <a:cubicBezTo>
                  <a:pt x="21611" y="26809"/>
                  <a:pt x="17924" y="28341"/>
                  <a:pt x="14181" y="28341"/>
                </a:cubicBezTo>
                <a:cubicBezTo>
                  <a:pt x="13273" y="28341"/>
                  <a:pt x="12365" y="28227"/>
                  <a:pt x="11401" y="28057"/>
                </a:cubicBezTo>
                <a:cubicBezTo>
                  <a:pt x="10550" y="27887"/>
                  <a:pt x="9643" y="27603"/>
                  <a:pt x="8792" y="27263"/>
                </a:cubicBezTo>
                <a:cubicBezTo>
                  <a:pt x="7941" y="26923"/>
                  <a:pt x="7090" y="26469"/>
                  <a:pt x="6353" y="25958"/>
                </a:cubicBezTo>
                <a:cubicBezTo>
                  <a:pt x="5559" y="25448"/>
                  <a:pt x="4821" y="24824"/>
                  <a:pt x="4197" y="24200"/>
                </a:cubicBezTo>
                <a:cubicBezTo>
                  <a:pt x="1532" y="21534"/>
                  <a:pt x="0" y="17904"/>
                  <a:pt x="0" y="14160"/>
                </a:cubicBezTo>
                <a:cubicBezTo>
                  <a:pt x="0" y="10417"/>
                  <a:pt x="1532" y="6786"/>
                  <a:pt x="4197" y="4121"/>
                </a:cubicBezTo>
                <a:cubicBezTo>
                  <a:pt x="4821" y="3496"/>
                  <a:pt x="5559" y="2872"/>
                  <a:pt x="6353" y="2362"/>
                </a:cubicBezTo>
                <a:cubicBezTo>
                  <a:pt x="7090" y="1851"/>
                  <a:pt x="7941" y="1398"/>
                  <a:pt x="8792" y="1057"/>
                </a:cubicBezTo>
                <a:cubicBezTo>
                  <a:pt x="9643" y="717"/>
                  <a:pt x="10550" y="433"/>
                  <a:pt x="11401" y="263"/>
                </a:cubicBezTo>
                <a:close/>
              </a:path>
            </a:pathLst>
          </a:custGeom>
          <a:solidFill>
            <a:schemeClr val="accent4"/>
          </a:solidFill>
          <a:ln w="0" cap="flat">
            <a:noFill/>
            <a:prstDash val="solid"/>
            <a:miter/>
          </a:ln>
        </p:spPr>
        <p:txBody>
          <a:bodyPr rtlCol="0" anchor="ctr"/>
          <a:lstStyle/>
          <a:p>
            <a:endParaRPr lang="sv-SE"/>
          </a:p>
        </p:txBody>
      </p:sp>
      <p:sp>
        <p:nvSpPr>
          <p:cNvPr id="16" name="Freeform 15">
            <a:extLst>
              <a:ext uri="{FF2B5EF4-FFF2-40B4-BE49-F238E27FC236}">
                <a16:creationId xmlns:a16="http://schemas.microsoft.com/office/drawing/2014/main" id="{29C2180D-A14A-4024-A1F2-955915D2687B}"/>
              </a:ext>
            </a:extLst>
          </p:cNvPr>
          <p:cNvSpPr/>
          <p:nvPr/>
        </p:nvSpPr>
        <p:spPr>
          <a:xfrm>
            <a:off x="2667801" y="3680651"/>
            <a:ext cx="3815927" cy="1746228"/>
          </a:xfrm>
          <a:custGeom>
            <a:avLst/>
            <a:gdLst>
              <a:gd name="connsiteX0" fmla="*/ 16960 w 3815927"/>
              <a:gd name="connsiteY0" fmla="*/ 1718151 h 1746228"/>
              <a:gd name="connsiteX1" fmla="*/ 19626 w 3815927"/>
              <a:gd name="connsiteY1" fmla="*/ 1718945 h 1746228"/>
              <a:gd name="connsiteX2" fmla="*/ 22065 w 3815927"/>
              <a:gd name="connsiteY2" fmla="*/ 1720250 h 1746228"/>
              <a:gd name="connsiteX3" fmla="*/ 24220 w 3815927"/>
              <a:gd name="connsiteY3" fmla="*/ 1722065 h 1746228"/>
              <a:gd name="connsiteX4" fmla="*/ 25979 w 3815927"/>
              <a:gd name="connsiteY4" fmla="*/ 1724220 h 1746228"/>
              <a:gd name="connsiteX5" fmla="*/ 27283 w 3815927"/>
              <a:gd name="connsiteY5" fmla="*/ 1726659 h 1746228"/>
              <a:gd name="connsiteX6" fmla="*/ 28077 w 3815927"/>
              <a:gd name="connsiteY6" fmla="*/ 1729268 h 1746228"/>
              <a:gd name="connsiteX7" fmla="*/ 28361 w 3815927"/>
              <a:gd name="connsiteY7" fmla="*/ 1732048 h 1746228"/>
              <a:gd name="connsiteX8" fmla="*/ 24220 w 3815927"/>
              <a:gd name="connsiteY8" fmla="*/ 1742088 h 1746228"/>
              <a:gd name="connsiteX9" fmla="*/ 22065 w 3815927"/>
              <a:gd name="connsiteY9" fmla="*/ 1743846 h 1746228"/>
              <a:gd name="connsiteX10" fmla="*/ 19626 w 3815927"/>
              <a:gd name="connsiteY10" fmla="*/ 1745151 h 1746228"/>
              <a:gd name="connsiteX11" fmla="*/ 16960 w 3815927"/>
              <a:gd name="connsiteY11" fmla="*/ 1745945 h 1746228"/>
              <a:gd name="connsiteX12" fmla="*/ 14181 w 3815927"/>
              <a:gd name="connsiteY12" fmla="*/ 1746228 h 1746228"/>
              <a:gd name="connsiteX13" fmla="*/ 4141 w 3815927"/>
              <a:gd name="connsiteY13" fmla="*/ 1742088 h 1746228"/>
              <a:gd name="connsiteX14" fmla="*/ 0 w 3815927"/>
              <a:gd name="connsiteY14" fmla="*/ 1732048 h 1746228"/>
              <a:gd name="connsiteX15" fmla="*/ 284 w 3815927"/>
              <a:gd name="connsiteY15" fmla="*/ 1729268 h 1746228"/>
              <a:gd name="connsiteX16" fmla="*/ 1078 w 3815927"/>
              <a:gd name="connsiteY16" fmla="*/ 1726659 h 1746228"/>
              <a:gd name="connsiteX17" fmla="*/ 2382 w 3815927"/>
              <a:gd name="connsiteY17" fmla="*/ 1724220 h 1746228"/>
              <a:gd name="connsiteX18" fmla="*/ 4141 w 3815927"/>
              <a:gd name="connsiteY18" fmla="*/ 1722065 h 1746228"/>
              <a:gd name="connsiteX19" fmla="*/ 16960 w 3815927"/>
              <a:gd name="connsiteY19" fmla="*/ 1718151 h 1746228"/>
              <a:gd name="connsiteX20" fmla="*/ 14181 w 3815927"/>
              <a:gd name="connsiteY20" fmla="*/ 1660521 h 1746228"/>
              <a:gd name="connsiteX21" fmla="*/ 28361 w 3815927"/>
              <a:gd name="connsiteY21" fmla="*/ 1674702 h 1746228"/>
              <a:gd name="connsiteX22" fmla="*/ 14181 w 3815927"/>
              <a:gd name="connsiteY22" fmla="*/ 1688882 h 1746228"/>
              <a:gd name="connsiteX23" fmla="*/ 0 w 3815927"/>
              <a:gd name="connsiteY23" fmla="*/ 1674702 h 1746228"/>
              <a:gd name="connsiteX24" fmla="*/ 14181 w 3815927"/>
              <a:gd name="connsiteY24" fmla="*/ 1660521 h 1746228"/>
              <a:gd name="connsiteX25" fmla="*/ 14181 w 3815927"/>
              <a:gd name="connsiteY25" fmla="*/ 1603118 h 1746228"/>
              <a:gd name="connsiteX26" fmla="*/ 28361 w 3815927"/>
              <a:gd name="connsiteY26" fmla="*/ 1617299 h 1746228"/>
              <a:gd name="connsiteX27" fmla="*/ 14181 w 3815927"/>
              <a:gd name="connsiteY27" fmla="*/ 1631480 h 1746228"/>
              <a:gd name="connsiteX28" fmla="*/ 0 w 3815927"/>
              <a:gd name="connsiteY28" fmla="*/ 1617299 h 1746228"/>
              <a:gd name="connsiteX29" fmla="*/ 14181 w 3815927"/>
              <a:gd name="connsiteY29" fmla="*/ 1603118 h 1746228"/>
              <a:gd name="connsiteX30" fmla="*/ 14181 w 3815927"/>
              <a:gd name="connsiteY30" fmla="*/ 1545716 h 1746228"/>
              <a:gd name="connsiteX31" fmla="*/ 28361 w 3815927"/>
              <a:gd name="connsiteY31" fmla="*/ 1559953 h 1746228"/>
              <a:gd name="connsiteX32" fmla="*/ 14181 w 3815927"/>
              <a:gd name="connsiteY32" fmla="*/ 1574133 h 1746228"/>
              <a:gd name="connsiteX33" fmla="*/ 0 w 3815927"/>
              <a:gd name="connsiteY33" fmla="*/ 1559953 h 1746228"/>
              <a:gd name="connsiteX34" fmla="*/ 14181 w 3815927"/>
              <a:gd name="connsiteY34" fmla="*/ 1545716 h 1746228"/>
              <a:gd name="connsiteX35" fmla="*/ 14181 w 3815927"/>
              <a:gd name="connsiteY35" fmla="*/ 1488370 h 1746228"/>
              <a:gd name="connsiteX36" fmla="*/ 28361 w 3815927"/>
              <a:gd name="connsiteY36" fmla="*/ 1502550 h 1746228"/>
              <a:gd name="connsiteX37" fmla="*/ 14181 w 3815927"/>
              <a:gd name="connsiteY37" fmla="*/ 1516731 h 1746228"/>
              <a:gd name="connsiteX38" fmla="*/ 0 w 3815927"/>
              <a:gd name="connsiteY38" fmla="*/ 1502550 h 1746228"/>
              <a:gd name="connsiteX39" fmla="*/ 14181 w 3815927"/>
              <a:gd name="connsiteY39" fmla="*/ 1488370 h 1746228"/>
              <a:gd name="connsiteX40" fmla="*/ 14181 w 3815927"/>
              <a:gd name="connsiteY40" fmla="*/ 1430967 h 1746228"/>
              <a:gd name="connsiteX41" fmla="*/ 28361 w 3815927"/>
              <a:gd name="connsiteY41" fmla="*/ 1445204 h 1746228"/>
              <a:gd name="connsiteX42" fmla="*/ 14181 w 3815927"/>
              <a:gd name="connsiteY42" fmla="*/ 1459328 h 1746228"/>
              <a:gd name="connsiteX43" fmla="*/ 0 w 3815927"/>
              <a:gd name="connsiteY43" fmla="*/ 1445204 h 1746228"/>
              <a:gd name="connsiteX44" fmla="*/ 14181 w 3815927"/>
              <a:gd name="connsiteY44" fmla="*/ 1430967 h 1746228"/>
              <a:gd name="connsiteX45" fmla="*/ 14181 w 3815927"/>
              <a:gd name="connsiteY45" fmla="*/ 1373621 h 1746228"/>
              <a:gd name="connsiteX46" fmla="*/ 28361 w 3815927"/>
              <a:gd name="connsiteY46" fmla="*/ 1387801 h 1746228"/>
              <a:gd name="connsiteX47" fmla="*/ 14181 w 3815927"/>
              <a:gd name="connsiteY47" fmla="*/ 1401982 h 1746228"/>
              <a:gd name="connsiteX48" fmla="*/ 0 w 3815927"/>
              <a:gd name="connsiteY48" fmla="*/ 1387801 h 1746228"/>
              <a:gd name="connsiteX49" fmla="*/ 14181 w 3815927"/>
              <a:gd name="connsiteY49" fmla="*/ 1373621 h 1746228"/>
              <a:gd name="connsiteX50" fmla="*/ 14181 w 3815927"/>
              <a:gd name="connsiteY50" fmla="*/ 1316218 h 1746228"/>
              <a:gd name="connsiteX51" fmla="*/ 28361 w 3815927"/>
              <a:gd name="connsiteY51" fmla="*/ 1330398 h 1746228"/>
              <a:gd name="connsiteX52" fmla="*/ 14181 w 3815927"/>
              <a:gd name="connsiteY52" fmla="*/ 1344579 h 1746228"/>
              <a:gd name="connsiteX53" fmla="*/ 0 w 3815927"/>
              <a:gd name="connsiteY53" fmla="*/ 1330398 h 1746228"/>
              <a:gd name="connsiteX54" fmla="*/ 14181 w 3815927"/>
              <a:gd name="connsiteY54" fmla="*/ 1316218 h 1746228"/>
              <a:gd name="connsiteX55" fmla="*/ 14181 w 3815927"/>
              <a:gd name="connsiteY55" fmla="*/ 1258872 h 1746228"/>
              <a:gd name="connsiteX56" fmla="*/ 28361 w 3815927"/>
              <a:gd name="connsiteY56" fmla="*/ 1273052 h 1746228"/>
              <a:gd name="connsiteX57" fmla="*/ 14181 w 3815927"/>
              <a:gd name="connsiteY57" fmla="*/ 1287233 h 1746228"/>
              <a:gd name="connsiteX58" fmla="*/ 0 w 3815927"/>
              <a:gd name="connsiteY58" fmla="*/ 1273052 h 1746228"/>
              <a:gd name="connsiteX59" fmla="*/ 14181 w 3815927"/>
              <a:gd name="connsiteY59" fmla="*/ 1258872 h 1746228"/>
              <a:gd name="connsiteX60" fmla="*/ 14181 w 3815927"/>
              <a:gd name="connsiteY60" fmla="*/ 1201469 h 1746228"/>
              <a:gd name="connsiteX61" fmla="*/ 28361 w 3815927"/>
              <a:gd name="connsiteY61" fmla="*/ 1215649 h 1746228"/>
              <a:gd name="connsiteX62" fmla="*/ 14181 w 3815927"/>
              <a:gd name="connsiteY62" fmla="*/ 1229830 h 1746228"/>
              <a:gd name="connsiteX63" fmla="*/ 0 w 3815927"/>
              <a:gd name="connsiteY63" fmla="*/ 1215649 h 1746228"/>
              <a:gd name="connsiteX64" fmla="*/ 14181 w 3815927"/>
              <a:gd name="connsiteY64" fmla="*/ 1201469 h 1746228"/>
              <a:gd name="connsiteX65" fmla="*/ 14181 w 3815927"/>
              <a:gd name="connsiteY65" fmla="*/ 1144123 h 1746228"/>
              <a:gd name="connsiteX66" fmla="*/ 28361 w 3815927"/>
              <a:gd name="connsiteY66" fmla="*/ 1158303 h 1746228"/>
              <a:gd name="connsiteX67" fmla="*/ 14181 w 3815927"/>
              <a:gd name="connsiteY67" fmla="*/ 1172484 h 1746228"/>
              <a:gd name="connsiteX68" fmla="*/ 0 w 3815927"/>
              <a:gd name="connsiteY68" fmla="*/ 1158303 h 1746228"/>
              <a:gd name="connsiteX69" fmla="*/ 14181 w 3815927"/>
              <a:gd name="connsiteY69" fmla="*/ 1144123 h 1746228"/>
              <a:gd name="connsiteX70" fmla="*/ 14181 w 3815927"/>
              <a:gd name="connsiteY70" fmla="*/ 1086720 h 1746228"/>
              <a:gd name="connsiteX71" fmla="*/ 28361 w 3815927"/>
              <a:gd name="connsiteY71" fmla="*/ 1100900 h 1746228"/>
              <a:gd name="connsiteX72" fmla="*/ 14181 w 3815927"/>
              <a:gd name="connsiteY72" fmla="*/ 1115081 h 1746228"/>
              <a:gd name="connsiteX73" fmla="*/ 0 w 3815927"/>
              <a:gd name="connsiteY73" fmla="*/ 1100900 h 1746228"/>
              <a:gd name="connsiteX74" fmla="*/ 14181 w 3815927"/>
              <a:gd name="connsiteY74" fmla="*/ 1086720 h 1746228"/>
              <a:gd name="connsiteX75" fmla="*/ 14181 w 3815927"/>
              <a:gd name="connsiteY75" fmla="*/ 1029317 h 1746228"/>
              <a:gd name="connsiteX76" fmla="*/ 28361 w 3815927"/>
              <a:gd name="connsiteY76" fmla="*/ 1043498 h 1746228"/>
              <a:gd name="connsiteX77" fmla="*/ 14181 w 3815927"/>
              <a:gd name="connsiteY77" fmla="*/ 1057678 h 1746228"/>
              <a:gd name="connsiteX78" fmla="*/ 0 w 3815927"/>
              <a:gd name="connsiteY78" fmla="*/ 1043498 h 1746228"/>
              <a:gd name="connsiteX79" fmla="*/ 14181 w 3815927"/>
              <a:gd name="connsiteY79" fmla="*/ 1029317 h 1746228"/>
              <a:gd name="connsiteX80" fmla="*/ 14181 w 3815927"/>
              <a:gd name="connsiteY80" fmla="*/ 971971 h 1746228"/>
              <a:gd name="connsiteX81" fmla="*/ 28361 w 3815927"/>
              <a:gd name="connsiteY81" fmla="*/ 986152 h 1746228"/>
              <a:gd name="connsiteX82" fmla="*/ 14181 w 3815927"/>
              <a:gd name="connsiteY82" fmla="*/ 1000332 h 1746228"/>
              <a:gd name="connsiteX83" fmla="*/ 0 w 3815927"/>
              <a:gd name="connsiteY83" fmla="*/ 986152 h 1746228"/>
              <a:gd name="connsiteX84" fmla="*/ 14181 w 3815927"/>
              <a:gd name="connsiteY84" fmla="*/ 971971 h 1746228"/>
              <a:gd name="connsiteX85" fmla="*/ 14181 w 3815927"/>
              <a:gd name="connsiteY85" fmla="*/ 914568 h 1746228"/>
              <a:gd name="connsiteX86" fmla="*/ 28361 w 3815927"/>
              <a:gd name="connsiteY86" fmla="*/ 928749 h 1746228"/>
              <a:gd name="connsiteX87" fmla="*/ 14181 w 3815927"/>
              <a:gd name="connsiteY87" fmla="*/ 942929 h 1746228"/>
              <a:gd name="connsiteX88" fmla="*/ 0 w 3815927"/>
              <a:gd name="connsiteY88" fmla="*/ 928749 h 1746228"/>
              <a:gd name="connsiteX89" fmla="*/ 14181 w 3815927"/>
              <a:gd name="connsiteY89" fmla="*/ 914568 h 1746228"/>
              <a:gd name="connsiteX90" fmla="*/ 14181 w 3815927"/>
              <a:gd name="connsiteY90" fmla="*/ 857222 h 1746228"/>
              <a:gd name="connsiteX91" fmla="*/ 28361 w 3815927"/>
              <a:gd name="connsiteY91" fmla="*/ 871402 h 1746228"/>
              <a:gd name="connsiteX92" fmla="*/ 14181 w 3815927"/>
              <a:gd name="connsiteY92" fmla="*/ 885583 h 1746228"/>
              <a:gd name="connsiteX93" fmla="*/ 0 w 3815927"/>
              <a:gd name="connsiteY93" fmla="*/ 871402 h 1746228"/>
              <a:gd name="connsiteX94" fmla="*/ 14181 w 3815927"/>
              <a:gd name="connsiteY94" fmla="*/ 857222 h 1746228"/>
              <a:gd name="connsiteX95" fmla="*/ 14181 w 3815927"/>
              <a:gd name="connsiteY95" fmla="*/ 799819 h 1746228"/>
              <a:gd name="connsiteX96" fmla="*/ 28361 w 3815927"/>
              <a:gd name="connsiteY96" fmla="*/ 814000 h 1746228"/>
              <a:gd name="connsiteX97" fmla="*/ 14181 w 3815927"/>
              <a:gd name="connsiteY97" fmla="*/ 828180 h 1746228"/>
              <a:gd name="connsiteX98" fmla="*/ 0 w 3815927"/>
              <a:gd name="connsiteY98" fmla="*/ 814000 h 1746228"/>
              <a:gd name="connsiteX99" fmla="*/ 14181 w 3815927"/>
              <a:gd name="connsiteY99" fmla="*/ 799819 h 1746228"/>
              <a:gd name="connsiteX100" fmla="*/ 14181 w 3815927"/>
              <a:gd name="connsiteY100" fmla="*/ 742416 h 1746228"/>
              <a:gd name="connsiteX101" fmla="*/ 28361 w 3815927"/>
              <a:gd name="connsiteY101" fmla="*/ 756653 h 1746228"/>
              <a:gd name="connsiteX102" fmla="*/ 14181 w 3815927"/>
              <a:gd name="connsiteY102" fmla="*/ 770834 h 1746228"/>
              <a:gd name="connsiteX103" fmla="*/ 0 w 3815927"/>
              <a:gd name="connsiteY103" fmla="*/ 756653 h 1746228"/>
              <a:gd name="connsiteX104" fmla="*/ 14181 w 3815927"/>
              <a:gd name="connsiteY104" fmla="*/ 742416 h 1746228"/>
              <a:gd name="connsiteX105" fmla="*/ 14181 w 3815927"/>
              <a:gd name="connsiteY105" fmla="*/ 685070 h 1746228"/>
              <a:gd name="connsiteX106" fmla="*/ 28361 w 3815927"/>
              <a:gd name="connsiteY106" fmla="*/ 699251 h 1746228"/>
              <a:gd name="connsiteX107" fmla="*/ 14181 w 3815927"/>
              <a:gd name="connsiteY107" fmla="*/ 713431 h 1746228"/>
              <a:gd name="connsiteX108" fmla="*/ 0 w 3815927"/>
              <a:gd name="connsiteY108" fmla="*/ 699251 h 1746228"/>
              <a:gd name="connsiteX109" fmla="*/ 14181 w 3815927"/>
              <a:gd name="connsiteY109" fmla="*/ 685070 h 1746228"/>
              <a:gd name="connsiteX110" fmla="*/ 14181 w 3815927"/>
              <a:gd name="connsiteY110" fmla="*/ 627667 h 1746228"/>
              <a:gd name="connsiteX111" fmla="*/ 28361 w 3815927"/>
              <a:gd name="connsiteY111" fmla="*/ 641905 h 1746228"/>
              <a:gd name="connsiteX112" fmla="*/ 14181 w 3815927"/>
              <a:gd name="connsiteY112" fmla="*/ 656028 h 1746228"/>
              <a:gd name="connsiteX113" fmla="*/ 0 w 3815927"/>
              <a:gd name="connsiteY113" fmla="*/ 641905 h 1746228"/>
              <a:gd name="connsiteX114" fmla="*/ 14181 w 3815927"/>
              <a:gd name="connsiteY114" fmla="*/ 627667 h 1746228"/>
              <a:gd name="connsiteX115" fmla="*/ 14181 w 3815927"/>
              <a:gd name="connsiteY115" fmla="*/ 570321 h 1746228"/>
              <a:gd name="connsiteX116" fmla="*/ 28361 w 3815927"/>
              <a:gd name="connsiteY116" fmla="*/ 584502 h 1746228"/>
              <a:gd name="connsiteX117" fmla="*/ 14181 w 3815927"/>
              <a:gd name="connsiteY117" fmla="*/ 598682 h 1746228"/>
              <a:gd name="connsiteX118" fmla="*/ 0 w 3815927"/>
              <a:gd name="connsiteY118" fmla="*/ 584502 h 1746228"/>
              <a:gd name="connsiteX119" fmla="*/ 14181 w 3815927"/>
              <a:gd name="connsiteY119" fmla="*/ 570321 h 1746228"/>
              <a:gd name="connsiteX120" fmla="*/ 14181 w 3815927"/>
              <a:gd name="connsiteY120" fmla="*/ 512918 h 1746228"/>
              <a:gd name="connsiteX121" fmla="*/ 28361 w 3815927"/>
              <a:gd name="connsiteY121" fmla="*/ 527099 h 1746228"/>
              <a:gd name="connsiteX122" fmla="*/ 14181 w 3815927"/>
              <a:gd name="connsiteY122" fmla="*/ 541280 h 1746228"/>
              <a:gd name="connsiteX123" fmla="*/ 0 w 3815927"/>
              <a:gd name="connsiteY123" fmla="*/ 527099 h 1746228"/>
              <a:gd name="connsiteX124" fmla="*/ 14181 w 3815927"/>
              <a:gd name="connsiteY124" fmla="*/ 512918 h 1746228"/>
              <a:gd name="connsiteX125" fmla="*/ 14181 w 3815927"/>
              <a:gd name="connsiteY125" fmla="*/ 455572 h 1746228"/>
              <a:gd name="connsiteX126" fmla="*/ 28361 w 3815927"/>
              <a:gd name="connsiteY126" fmla="*/ 469753 h 1746228"/>
              <a:gd name="connsiteX127" fmla="*/ 14181 w 3815927"/>
              <a:gd name="connsiteY127" fmla="*/ 483933 h 1746228"/>
              <a:gd name="connsiteX128" fmla="*/ 0 w 3815927"/>
              <a:gd name="connsiteY128" fmla="*/ 469753 h 1746228"/>
              <a:gd name="connsiteX129" fmla="*/ 14181 w 3815927"/>
              <a:gd name="connsiteY129" fmla="*/ 455572 h 1746228"/>
              <a:gd name="connsiteX130" fmla="*/ 14181 w 3815927"/>
              <a:gd name="connsiteY130" fmla="*/ 398169 h 1746228"/>
              <a:gd name="connsiteX131" fmla="*/ 28361 w 3815927"/>
              <a:gd name="connsiteY131" fmla="*/ 412350 h 1746228"/>
              <a:gd name="connsiteX132" fmla="*/ 14181 w 3815927"/>
              <a:gd name="connsiteY132" fmla="*/ 426530 h 1746228"/>
              <a:gd name="connsiteX133" fmla="*/ 0 w 3815927"/>
              <a:gd name="connsiteY133" fmla="*/ 412350 h 1746228"/>
              <a:gd name="connsiteX134" fmla="*/ 14181 w 3815927"/>
              <a:gd name="connsiteY134" fmla="*/ 398169 h 1746228"/>
              <a:gd name="connsiteX135" fmla="*/ 14181 w 3815927"/>
              <a:gd name="connsiteY135" fmla="*/ 340766 h 1746228"/>
              <a:gd name="connsiteX136" fmla="*/ 28361 w 3815927"/>
              <a:gd name="connsiteY136" fmla="*/ 355004 h 1746228"/>
              <a:gd name="connsiteX137" fmla="*/ 14181 w 3815927"/>
              <a:gd name="connsiteY137" fmla="*/ 369128 h 1746228"/>
              <a:gd name="connsiteX138" fmla="*/ 0 w 3815927"/>
              <a:gd name="connsiteY138" fmla="*/ 355004 h 1746228"/>
              <a:gd name="connsiteX139" fmla="*/ 14181 w 3815927"/>
              <a:gd name="connsiteY139" fmla="*/ 340766 h 1746228"/>
              <a:gd name="connsiteX140" fmla="*/ 38684 w 3815927"/>
              <a:gd name="connsiteY140" fmla="*/ 293545 h 1746228"/>
              <a:gd name="connsiteX141" fmla="*/ 48724 w 3815927"/>
              <a:gd name="connsiteY141" fmla="*/ 297714 h 1746228"/>
              <a:gd name="connsiteX142" fmla="*/ 48724 w 3815927"/>
              <a:gd name="connsiteY142" fmla="*/ 317794 h 1746228"/>
              <a:gd name="connsiteX143" fmla="*/ 38684 w 3815927"/>
              <a:gd name="connsiteY143" fmla="*/ 321935 h 1746228"/>
              <a:gd name="connsiteX144" fmla="*/ 28645 w 3815927"/>
              <a:gd name="connsiteY144" fmla="*/ 317794 h 1746228"/>
              <a:gd name="connsiteX145" fmla="*/ 28645 w 3815927"/>
              <a:gd name="connsiteY145" fmla="*/ 297714 h 1746228"/>
              <a:gd name="connsiteX146" fmla="*/ 38684 w 3815927"/>
              <a:gd name="connsiteY146" fmla="*/ 293545 h 1746228"/>
              <a:gd name="connsiteX147" fmla="*/ 79270 w 3815927"/>
              <a:gd name="connsiteY147" fmla="*/ 252989 h 1746228"/>
              <a:gd name="connsiteX148" fmla="*/ 89281 w 3815927"/>
              <a:gd name="connsiteY148" fmla="*/ 257158 h 1746228"/>
              <a:gd name="connsiteX149" fmla="*/ 89281 w 3815927"/>
              <a:gd name="connsiteY149" fmla="*/ 277181 h 1746228"/>
              <a:gd name="connsiteX150" fmla="*/ 79298 w 3815927"/>
              <a:gd name="connsiteY150" fmla="*/ 281378 h 1746228"/>
              <a:gd name="connsiteX151" fmla="*/ 69258 w 3815927"/>
              <a:gd name="connsiteY151" fmla="*/ 277181 h 1746228"/>
              <a:gd name="connsiteX152" fmla="*/ 69258 w 3815927"/>
              <a:gd name="connsiteY152" fmla="*/ 257158 h 1746228"/>
              <a:gd name="connsiteX153" fmla="*/ 79270 w 3815927"/>
              <a:gd name="connsiteY153" fmla="*/ 252989 h 1746228"/>
              <a:gd name="connsiteX154" fmla="*/ 3743323 w 3815927"/>
              <a:gd name="connsiteY154" fmla="*/ 212688 h 1746228"/>
              <a:gd name="connsiteX155" fmla="*/ 3748882 w 3815927"/>
              <a:gd name="connsiteY155" fmla="*/ 212688 h 1746228"/>
              <a:gd name="connsiteX156" fmla="*/ 3751548 w 3815927"/>
              <a:gd name="connsiteY156" fmla="*/ 213482 h 1746228"/>
              <a:gd name="connsiteX157" fmla="*/ 3753987 w 3815927"/>
              <a:gd name="connsiteY157" fmla="*/ 214786 h 1746228"/>
              <a:gd name="connsiteX158" fmla="*/ 3756142 w 3815927"/>
              <a:gd name="connsiteY158" fmla="*/ 216601 h 1746228"/>
              <a:gd name="connsiteX159" fmla="*/ 3757901 w 3815927"/>
              <a:gd name="connsiteY159" fmla="*/ 218757 h 1746228"/>
              <a:gd name="connsiteX160" fmla="*/ 3759205 w 3815927"/>
              <a:gd name="connsiteY160" fmla="*/ 221196 h 1746228"/>
              <a:gd name="connsiteX161" fmla="*/ 3760000 w 3815927"/>
              <a:gd name="connsiteY161" fmla="*/ 223805 h 1746228"/>
              <a:gd name="connsiteX162" fmla="*/ 3760283 w 3815927"/>
              <a:gd name="connsiteY162" fmla="*/ 226585 h 1746228"/>
              <a:gd name="connsiteX163" fmla="*/ 3760000 w 3815927"/>
              <a:gd name="connsiteY163" fmla="*/ 229364 h 1746228"/>
              <a:gd name="connsiteX164" fmla="*/ 3759205 w 3815927"/>
              <a:gd name="connsiteY164" fmla="*/ 232030 h 1746228"/>
              <a:gd name="connsiteX165" fmla="*/ 3757901 w 3815927"/>
              <a:gd name="connsiteY165" fmla="*/ 234469 h 1746228"/>
              <a:gd name="connsiteX166" fmla="*/ 3756142 w 3815927"/>
              <a:gd name="connsiteY166" fmla="*/ 236625 h 1746228"/>
              <a:gd name="connsiteX167" fmla="*/ 3753987 w 3815927"/>
              <a:gd name="connsiteY167" fmla="*/ 238383 h 1746228"/>
              <a:gd name="connsiteX168" fmla="*/ 3751548 w 3815927"/>
              <a:gd name="connsiteY168" fmla="*/ 239687 h 1746228"/>
              <a:gd name="connsiteX169" fmla="*/ 3748882 w 3815927"/>
              <a:gd name="connsiteY169" fmla="*/ 240482 h 1746228"/>
              <a:gd name="connsiteX170" fmla="*/ 3746103 w 3815927"/>
              <a:gd name="connsiteY170" fmla="*/ 240765 h 1746228"/>
              <a:gd name="connsiteX171" fmla="*/ 3743323 w 3815927"/>
              <a:gd name="connsiteY171" fmla="*/ 240482 h 1746228"/>
              <a:gd name="connsiteX172" fmla="*/ 3740657 w 3815927"/>
              <a:gd name="connsiteY172" fmla="*/ 239687 h 1746228"/>
              <a:gd name="connsiteX173" fmla="*/ 3738218 w 3815927"/>
              <a:gd name="connsiteY173" fmla="*/ 238383 h 1746228"/>
              <a:gd name="connsiteX174" fmla="*/ 3736063 w 3815927"/>
              <a:gd name="connsiteY174" fmla="*/ 236625 h 1746228"/>
              <a:gd name="connsiteX175" fmla="*/ 3734304 w 3815927"/>
              <a:gd name="connsiteY175" fmla="*/ 234469 h 1746228"/>
              <a:gd name="connsiteX176" fmla="*/ 3733000 w 3815927"/>
              <a:gd name="connsiteY176" fmla="*/ 232030 h 1746228"/>
              <a:gd name="connsiteX177" fmla="*/ 3732206 w 3815927"/>
              <a:gd name="connsiteY177" fmla="*/ 229364 h 1746228"/>
              <a:gd name="connsiteX178" fmla="*/ 3731922 w 3815927"/>
              <a:gd name="connsiteY178" fmla="*/ 226585 h 1746228"/>
              <a:gd name="connsiteX179" fmla="*/ 3732206 w 3815927"/>
              <a:gd name="connsiteY179" fmla="*/ 223805 h 1746228"/>
              <a:gd name="connsiteX180" fmla="*/ 3733000 w 3815927"/>
              <a:gd name="connsiteY180" fmla="*/ 221196 h 1746228"/>
              <a:gd name="connsiteX181" fmla="*/ 3734304 w 3815927"/>
              <a:gd name="connsiteY181" fmla="*/ 218757 h 1746228"/>
              <a:gd name="connsiteX182" fmla="*/ 3736063 w 3815927"/>
              <a:gd name="connsiteY182" fmla="*/ 216601 h 1746228"/>
              <a:gd name="connsiteX183" fmla="*/ 3738218 w 3815927"/>
              <a:gd name="connsiteY183" fmla="*/ 214786 h 1746228"/>
              <a:gd name="connsiteX184" fmla="*/ 3740657 w 3815927"/>
              <a:gd name="connsiteY184" fmla="*/ 213482 h 1746228"/>
              <a:gd name="connsiteX185" fmla="*/ 3743323 w 3815927"/>
              <a:gd name="connsiteY185" fmla="*/ 212688 h 1746228"/>
              <a:gd name="connsiteX186" fmla="*/ 117074 w 3815927"/>
              <a:gd name="connsiteY186" fmla="*/ 212688 h 1746228"/>
              <a:gd name="connsiteX187" fmla="*/ 122633 w 3815927"/>
              <a:gd name="connsiteY187" fmla="*/ 212688 h 1746228"/>
              <a:gd name="connsiteX188" fmla="*/ 125242 w 3815927"/>
              <a:gd name="connsiteY188" fmla="*/ 213482 h 1746228"/>
              <a:gd name="connsiteX189" fmla="*/ 127738 w 3815927"/>
              <a:gd name="connsiteY189" fmla="*/ 214786 h 1746228"/>
              <a:gd name="connsiteX190" fmla="*/ 129893 w 3815927"/>
              <a:gd name="connsiteY190" fmla="*/ 216601 h 1746228"/>
              <a:gd name="connsiteX191" fmla="*/ 131652 w 3815927"/>
              <a:gd name="connsiteY191" fmla="*/ 218757 h 1746228"/>
              <a:gd name="connsiteX192" fmla="*/ 132956 w 3815927"/>
              <a:gd name="connsiteY192" fmla="*/ 221196 h 1746228"/>
              <a:gd name="connsiteX193" fmla="*/ 133750 w 3815927"/>
              <a:gd name="connsiteY193" fmla="*/ 223805 h 1746228"/>
              <a:gd name="connsiteX194" fmla="*/ 134034 w 3815927"/>
              <a:gd name="connsiteY194" fmla="*/ 226585 h 1746228"/>
              <a:gd name="connsiteX195" fmla="*/ 129893 w 3815927"/>
              <a:gd name="connsiteY195" fmla="*/ 236625 h 1746228"/>
              <a:gd name="connsiteX196" fmla="*/ 127738 w 3815927"/>
              <a:gd name="connsiteY196" fmla="*/ 238383 h 1746228"/>
              <a:gd name="connsiteX197" fmla="*/ 125242 w 3815927"/>
              <a:gd name="connsiteY197" fmla="*/ 239687 h 1746228"/>
              <a:gd name="connsiteX198" fmla="*/ 122633 w 3815927"/>
              <a:gd name="connsiteY198" fmla="*/ 240482 h 1746228"/>
              <a:gd name="connsiteX199" fmla="*/ 119854 w 3815927"/>
              <a:gd name="connsiteY199" fmla="*/ 240765 h 1746228"/>
              <a:gd name="connsiteX200" fmla="*/ 117074 w 3815927"/>
              <a:gd name="connsiteY200" fmla="*/ 240482 h 1746228"/>
              <a:gd name="connsiteX201" fmla="*/ 114408 w 3815927"/>
              <a:gd name="connsiteY201" fmla="*/ 239687 h 1746228"/>
              <a:gd name="connsiteX202" fmla="*/ 111969 w 3815927"/>
              <a:gd name="connsiteY202" fmla="*/ 238383 h 1746228"/>
              <a:gd name="connsiteX203" fmla="*/ 109814 w 3815927"/>
              <a:gd name="connsiteY203" fmla="*/ 236625 h 1746228"/>
              <a:gd name="connsiteX204" fmla="*/ 108055 w 3815927"/>
              <a:gd name="connsiteY204" fmla="*/ 234469 h 1746228"/>
              <a:gd name="connsiteX205" fmla="*/ 106751 w 3815927"/>
              <a:gd name="connsiteY205" fmla="*/ 232030 h 1746228"/>
              <a:gd name="connsiteX206" fmla="*/ 105957 w 3815927"/>
              <a:gd name="connsiteY206" fmla="*/ 229364 h 1746228"/>
              <a:gd name="connsiteX207" fmla="*/ 105673 w 3815927"/>
              <a:gd name="connsiteY207" fmla="*/ 226585 h 1746228"/>
              <a:gd name="connsiteX208" fmla="*/ 105957 w 3815927"/>
              <a:gd name="connsiteY208" fmla="*/ 223805 h 1746228"/>
              <a:gd name="connsiteX209" fmla="*/ 106751 w 3815927"/>
              <a:gd name="connsiteY209" fmla="*/ 221196 h 1746228"/>
              <a:gd name="connsiteX210" fmla="*/ 108055 w 3815927"/>
              <a:gd name="connsiteY210" fmla="*/ 218757 h 1746228"/>
              <a:gd name="connsiteX211" fmla="*/ 109814 w 3815927"/>
              <a:gd name="connsiteY211" fmla="*/ 216601 h 1746228"/>
              <a:gd name="connsiteX212" fmla="*/ 111969 w 3815927"/>
              <a:gd name="connsiteY212" fmla="*/ 214786 h 1746228"/>
              <a:gd name="connsiteX213" fmla="*/ 114408 w 3815927"/>
              <a:gd name="connsiteY213" fmla="*/ 213482 h 1746228"/>
              <a:gd name="connsiteX214" fmla="*/ 117074 w 3815927"/>
              <a:gd name="connsiteY214" fmla="*/ 212688 h 1746228"/>
              <a:gd name="connsiteX215" fmla="*/ 3801768 w 3815927"/>
              <a:gd name="connsiteY215" fmla="*/ 212602 h 1746228"/>
              <a:gd name="connsiteX216" fmla="*/ 3811786 w 3815927"/>
              <a:gd name="connsiteY216" fmla="*/ 216601 h 1746228"/>
              <a:gd name="connsiteX217" fmla="*/ 3813545 w 3815927"/>
              <a:gd name="connsiteY217" fmla="*/ 218756 h 1746228"/>
              <a:gd name="connsiteX218" fmla="*/ 3814849 w 3815927"/>
              <a:gd name="connsiteY218" fmla="*/ 221195 h 1746228"/>
              <a:gd name="connsiteX219" fmla="*/ 3815644 w 3815927"/>
              <a:gd name="connsiteY219" fmla="*/ 223805 h 1746228"/>
              <a:gd name="connsiteX220" fmla="*/ 3815927 w 3815927"/>
              <a:gd name="connsiteY220" fmla="*/ 226584 h 1746228"/>
              <a:gd name="connsiteX221" fmla="*/ 3815644 w 3815927"/>
              <a:gd name="connsiteY221" fmla="*/ 229363 h 1746228"/>
              <a:gd name="connsiteX222" fmla="*/ 3814849 w 3815927"/>
              <a:gd name="connsiteY222" fmla="*/ 232030 h 1746228"/>
              <a:gd name="connsiteX223" fmla="*/ 3813545 w 3815927"/>
              <a:gd name="connsiteY223" fmla="*/ 234469 h 1746228"/>
              <a:gd name="connsiteX224" fmla="*/ 3811786 w 3815927"/>
              <a:gd name="connsiteY224" fmla="*/ 236624 h 1746228"/>
              <a:gd name="connsiteX225" fmla="*/ 3801747 w 3815927"/>
              <a:gd name="connsiteY225" fmla="*/ 240765 h 1746228"/>
              <a:gd name="connsiteX226" fmla="*/ 3791707 w 3815927"/>
              <a:gd name="connsiteY226" fmla="*/ 236624 h 1746228"/>
              <a:gd name="connsiteX227" fmla="*/ 3787566 w 3815927"/>
              <a:gd name="connsiteY227" fmla="*/ 226584 h 1746228"/>
              <a:gd name="connsiteX228" fmla="*/ 3787850 w 3815927"/>
              <a:gd name="connsiteY228" fmla="*/ 223805 h 1746228"/>
              <a:gd name="connsiteX229" fmla="*/ 3788644 w 3815927"/>
              <a:gd name="connsiteY229" fmla="*/ 221195 h 1746228"/>
              <a:gd name="connsiteX230" fmla="*/ 3789948 w 3815927"/>
              <a:gd name="connsiteY230" fmla="*/ 218756 h 1746228"/>
              <a:gd name="connsiteX231" fmla="*/ 3791707 w 3815927"/>
              <a:gd name="connsiteY231" fmla="*/ 216601 h 1746228"/>
              <a:gd name="connsiteX232" fmla="*/ 3801768 w 3815927"/>
              <a:gd name="connsiteY232" fmla="*/ 212602 h 1746228"/>
              <a:gd name="connsiteX233" fmla="*/ 3689437 w 3815927"/>
              <a:gd name="connsiteY233" fmla="*/ 212404 h 1746228"/>
              <a:gd name="connsiteX234" fmla="*/ 3703618 w 3815927"/>
              <a:gd name="connsiteY234" fmla="*/ 226585 h 1746228"/>
              <a:gd name="connsiteX235" fmla="*/ 3689437 w 3815927"/>
              <a:gd name="connsiteY235" fmla="*/ 240765 h 1746228"/>
              <a:gd name="connsiteX236" fmla="*/ 3675257 w 3815927"/>
              <a:gd name="connsiteY236" fmla="*/ 226585 h 1746228"/>
              <a:gd name="connsiteX237" fmla="*/ 3689437 w 3815927"/>
              <a:gd name="connsiteY237" fmla="*/ 212404 h 1746228"/>
              <a:gd name="connsiteX238" fmla="*/ 3632772 w 3815927"/>
              <a:gd name="connsiteY238" fmla="*/ 212404 h 1746228"/>
              <a:gd name="connsiteX239" fmla="*/ 3646952 w 3815927"/>
              <a:gd name="connsiteY239" fmla="*/ 226585 h 1746228"/>
              <a:gd name="connsiteX240" fmla="*/ 3632772 w 3815927"/>
              <a:gd name="connsiteY240" fmla="*/ 240765 h 1746228"/>
              <a:gd name="connsiteX241" fmla="*/ 3618591 w 3815927"/>
              <a:gd name="connsiteY241" fmla="*/ 226585 h 1746228"/>
              <a:gd name="connsiteX242" fmla="*/ 3632772 w 3815927"/>
              <a:gd name="connsiteY242" fmla="*/ 212404 h 1746228"/>
              <a:gd name="connsiteX243" fmla="*/ 3576106 w 3815927"/>
              <a:gd name="connsiteY243" fmla="*/ 212404 h 1746228"/>
              <a:gd name="connsiteX244" fmla="*/ 3590287 w 3815927"/>
              <a:gd name="connsiteY244" fmla="*/ 226585 h 1746228"/>
              <a:gd name="connsiteX245" fmla="*/ 3576106 w 3815927"/>
              <a:gd name="connsiteY245" fmla="*/ 240765 h 1746228"/>
              <a:gd name="connsiteX246" fmla="*/ 3561926 w 3815927"/>
              <a:gd name="connsiteY246" fmla="*/ 226585 h 1746228"/>
              <a:gd name="connsiteX247" fmla="*/ 3576106 w 3815927"/>
              <a:gd name="connsiteY247" fmla="*/ 212404 h 1746228"/>
              <a:gd name="connsiteX248" fmla="*/ 3519441 w 3815927"/>
              <a:gd name="connsiteY248" fmla="*/ 212404 h 1746228"/>
              <a:gd name="connsiteX249" fmla="*/ 3533621 w 3815927"/>
              <a:gd name="connsiteY249" fmla="*/ 226585 h 1746228"/>
              <a:gd name="connsiteX250" fmla="*/ 3519441 w 3815927"/>
              <a:gd name="connsiteY250" fmla="*/ 240765 h 1746228"/>
              <a:gd name="connsiteX251" fmla="*/ 3505260 w 3815927"/>
              <a:gd name="connsiteY251" fmla="*/ 226585 h 1746228"/>
              <a:gd name="connsiteX252" fmla="*/ 3519441 w 3815927"/>
              <a:gd name="connsiteY252" fmla="*/ 212404 h 1746228"/>
              <a:gd name="connsiteX253" fmla="*/ 3462832 w 3815927"/>
              <a:gd name="connsiteY253" fmla="*/ 212404 h 1746228"/>
              <a:gd name="connsiteX254" fmla="*/ 3477013 w 3815927"/>
              <a:gd name="connsiteY254" fmla="*/ 226585 h 1746228"/>
              <a:gd name="connsiteX255" fmla="*/ 3462832 w 3815927"/>
              <a:gd name="connsiteY255" fmla="*/ 240765 h 1746228"/>
              <a:gd name="connsiteX256" fmla="*/ 3448652 w 3815927"/>
              <a:gd name="connsiteY256" fmla="*/ 226585 h 1746228"/>
              <a:gd name="connsiteX257" fmla="*/ 3462832 w 3815927"/>
              <a:gd name="connsiteY257" fmla="*/ 212404 h 1746228"/>
              <a:gd name="connsiteX258" fmla="*/ 3406167 w 3815927"/>
              <a:gd name="connsiteY258" fmla="*/ 212404 h 1746228"/>
              <a:gd name="connsiteX259" fmla="*/ 3420347 w 3815927"/>
              <a:gd name="connsiteY259" fmla="*/ 226585 h 1746228"/>
              <a:gd name="connsiteX260" fmla="*/ 3406167 w 3815927"/>
              <a:gd name="connsiteY260" fmla="*/ 240765 h 1746228"/>
              <a:gd name="connsiteX261" fmla="*/ 3391929 w 3815927"/>
              <a:gd name="connsiteY261" fmla="*/ 226585 h 1746228"/>
              <a:gd name="connsiteX262" fmla="*/ 3406167 w 3815927"/>
              <a:gd name="connsiteY262" fmla="*/ 212404 h 1746228"/>
              <a:gd name="connsiteX263" fmla="*/ 3349501 w 3815927"/>
              <a:gd name="connsiteY263" fmla="*/ 212404 h 1746228"/>
              <a:gd name="connsiteX264" fmla="*/ 3363682 w 3815927"/>
              <a:gd name="connsiteY264" fmla="*/ 226585 h 1746228"/>
              <a:gd name="connsiteX265" fmla="*/ 3349501 w 3815927"/>
              <a:gd name="connsiteY265" fmla="*/ 240765 h 1746228"/>
              <a:gd name="connsiteX266" fmla="*/ 3335321 w 3815927"/>
              <a:gd name="connsiteY266" fmla="*/ 226585 h 1746228"/>
              <a:gd name="connsiteX267" fmla="*/ 3349501 w 3815927"/>
              <a:gd name="connsiteY267" fmla="*/ 212404 h 1746228"/>
              <a:gd name="connsiteX268" fmla="*/ 3292836 w 3815927"/>
              <a:gd name="connsiteY268" fmla="*/ 212404 h 1746228"/>
              <a:gd name="connsiteX269" fmla="*/ 3307016 w 3815927"/>
              <a:gd name="connsiteY269" fmla="*/ 226585 h 1746228"/>
              <a:gd name="connsiteX270" fmla="*/ 3292836 w 3815927"/>
              <a:gd name="connsiteY270" fmla="*/ 240765 h 1746228"/>
              <a:gd name="connsiteX271" fmla="*/ 3278655 w 3815927"/>
              <a:gd name="connsiteY271" fmla="*/ 226585 h 1746228"/>
              <a:gd name="connsiteX272" fmla="*/ 3292836 w 3815927"/>
              <a:gd name="connsiteY272" fmla="*/ 212404 h 1746228"/>
              <a:gd name="connsiteX273" fmla="*/ 3236170 w 3815927"/>
              <a:gd name="connsiteY273" fmla="*/ 212404 h 1746228"/>
              <a:gd name="connsiteX274" fmla="*/ 3250351 w 3815927"/>
              <a:gd name="connsiteY274" fmla="*/ 226585 h 1746228"/>
              <a:gd name="connsiteX275" fmla="*/ 3236170 w 3815927"/>
              <a:gd name="connsiteY275" fmla="*/ 240765 h 1746228"/>
              <a:gd name="connsiteX276" fmla="*/ 3221990 w 3815927"/>
              <a:gd name="connsiteY276" fmla="*/ 226585 h 1746228"/>
              <a:gd name="connsiteX277" fmla="*/ 3236170 w 3815927"/>
              <a:gd name="connsiteY277" fmla="*/ 212404 h 1746228"/>
              <a:gd name="connsiteX278" fmla="*/ 3179505 w 3815927"/>
              <a:gd name="connsiteY278" fmla="*/ 212404 h 1746228"/>
              <a:gd name="connsiteX279" fmla="*/ 3193685 w 3815927"/>
              <a:gd name="connsiteY279" fmla="*/ 226585 h 1746228"/>
              <a:gd name="connsiteX280" fmla="*/ 3179505 w 3815927"/>
              <a:gd name="connsiteY280" fmla="*/ 240765 h 1746228"/>
              <a:gd name="connsiteX281" fmla="*/ 3165324 w 3815927"/>
              <a:gd name="connsiteY281" fmla="*/ 226585 h 1746228"/>
              <a:gd name="connsiteX282" fmla="*/ 3179505 w 3815927"/>
              <a:gd name="connsiteY282" fmla="*/ 212404 h 1746228"/>
              <a:gd name="connsiteX283" fmla="*/ 3122839 w 3815927"/>
              <a:gd name="connsiteY283" fmla="*/ 212404 h 1746228"/>
              <a:gd name="connsiteX284" fmla="*/ 3137020 w 3815927"/>
              <a:gd name="connsiteY284" fmla="*/ 226585 h 1746228"/>
              <a:gd name="connsiteX285" fmla="*/ 3122839 w 3815927"/>
              <a:gd name="connsiteY285" fmla="*/ 240765 h 1746228"/>
              <a:gd name="connsiteX286" fmla="*/ 3108659 w 3815927"/>
              <a:gd name="connsiteY286" fmla="*/ 226585 h 1746228"/>
              <a:gd name="connsiteX287" fmla="*/ 3122839 w 3815927"/>
              <a:gd name="connsiteY287" fmla="*/ 212404 h 1746228"/>
              <a:gd name="connsiteX288" fmla="*/ 3066174 w 3815927"/>
              <a:gd name="connsiteY288" fmla="*/ 212404 h 1746228"/>
              <a:gd name="connsiteX289" fmla="*/ 3080355 w 3815927"/>
              <a:gd name="connsiteY289" fmla="*/ 226585 h 1746228"/>
              <a:gd name="connsiteX290" fmla="*/ 3066174 w 3815927"/>
              <a:gd name="connsiteY290" fmla="*/ 240765 h 1746228"/>
              <a:gd name="connsiteX291" fmla="*/ 3051993 w 3815927"/>
              <a:gd name="connsiteY291" fmla="*/ 226585 h 1746228"/>
              <a:gd name="connsiteX292" fmla="*/ 3066174 w 3815927"/>
              <a:gd name="connsiteY292" fmla="*/ 212404 h 1746228"/>
              <a:gd name="connsiteX293" fmla="*/ 3009509 w 3815927"/>
              <a:gd name="connsiteY293" fmla="*/ 212404 h 1746228"/>
              <a:gd name="connsiteX294" fmla="*/ 3023689 w 3815927"/>
              <a:gd name="connsiteY294" fmla="*/ 226585 h 1746228"/>
              <a:gd name="connsiteX295" fmla="*/ 3009509 w 3815927"/>
              <a:gd name="connsiteY295" fmla="*/ 240765 h 1746228"/>
              <a:gd name="connsiteX296" fmla="*/ 2995328 w 3815927"/>
              <a:gd name="connsiteY296" fmla="*/ 226585 h 1746228"/>
              <a:gd name="connsiteX297" fmla="*/ 3009509 w 3815927"/>
              <a:gd name="connsiteY297" fmla="*/ 212404 h 1746228"/>
              <a:gd name="connsiteX298" fmla="*/ 2952843 w 3815927"/>
              <a:gd name="connsiteY298" fmla="*/ 212404 h 1746228"/>
              <a:gd name="connsiteX299" fmla="*/ 2967024 w 3815927"/>
              <a:gd name="connsiteY299" fmla="*/ 226585 h 1746228"/>
              <a:gd name="connsiteX300" fmla="*/ 2952843 w 3815927"/>
              <a:gd name="connsiteY300" fmla="*/ 240765 h 1746228"/>
              <a:gd name="connsiteX301" fmla="*/ 2938663 w 3815927"/>
              <a:gd name="connsiteY301" fmla="*/ 226585 h 1746228"/>
              <a:gd name="connsiteX302" fmla="*/ 2952843 w 3815927"/>
              <a:gd name="connsiteY302" fmla="*/ 212404 h 1746228"/>
              <a:gd name="connsiteX303" fmla="*/ 2896177 w 3815927"/>
              <a:gd name="connsiteY303" fmla="*/ 212404 h 1746228"/>
              <a:gd name="connsiteX304" fmla="*/ 2910358 w 3815927"/>
              <a:gd name="connsiteY304" fmla="*/ 226585 h 1746228"/>
              <a:gd name="connsiteX305" fmla="*/ 2896177 w 3815927"/>
              <a:gd name="connsiteY305" fmla="*/ 240765 h 1746228"/>
              <a:gd name="connsiteX306" fmla="*/ 2881997 w 3815927"/>
              <a:gd name="connsiteY306" fmla="*/ 226585 h 1746228"/>
              <a:gd name="connsiteX307" fmla="*/ 2896177 w 3815927"/>
              <a:gd name="connsiteY307" fmla="*/ 212404 h 1746228"/>
              <a:gd name="connsiteX308" fmla="*/ 2839569 w 3815927"/>
              <a:gd name="connsiteY308" fmla="*/ 212404 h 1746228"/>
              <a:gd name="connsiteX309" fmla="*/ 2853693 w 3815927"/>
              <a:gd name="connsiteY309" fmla="*/ 226585 h 1746228"/>
              <a:gd name="connsiteX310" fmla="*/ 2839569 w 3815927"/>
              <a:gd name="connsiteY310" fmla="*/ 240765 h 1746228"/>
              <a:gd name="connsiteX311" fmla="*/ 2825388 w 3815927"/>
              <a:gd name="connsiteY311" fmla="*/ 226585 h 1746228"/>
              <a:gd name="connsiteX312" fmla="*/ 2839569 w 3815927"/>
              <a:gd name="connsiteY312" fmla="*/ 212404 h 1746228"/>
              <a:gd name="connsiteX313" fmla="*/ 2782847 w 3815927"/>
              <a:gd name="connsiteY313" fmla="*/ 212404 h 1746228"/>
              <a:gd name="connsiteX314" fmla="*/ 2797084 w 3815927"/>
              <a:gd name="connsiteY314" fmla="*/ 226585 h 1746228"/>
              <a:gd name="connsiteX315" fmla="*/ 2782847 w 3815927"/>
              <a:gd name="connsiteY315" fmla="*/ 240765 h 1746228"/>
              <a:gd name="connsiteX316" fmla="*/ 2768723 w 3815927"/>
              <a:gd name="connsiteY316" fmla="*/ 226585 h 1746228"/>
              <a:gd name="connsiteX317" fmla="*/ 2782847 w 3815927"/>
              <a:gd name="connsiteY317" fmla="*/ 212404 h 1746228"/>
              <a:gd name="connsiteX318" fmla="*/ 2726238 w 3815927"/>
              <a:gd name="connsiteY318" fmla="*/ 212404 h 1746228"/>
              <a:gd name="connsiteX319" fmla="*/ 2740419 w 3815927"/>
              <a:gd name="connsiteY319" fmla="*/ 226585 h 1746228"/>
              <a:gd name="connsiteX320" fmla="*/ 2726238 w 3815927"/>
              <a:gd name="connsiteY320" fmla="*/ 240765 h 1746228"/>
              <a:gd name="connsiteX321" fmla="*/ 2712058 w 3815927"/>
              <a:gd name="connsiteY321" fmla="*/ 226585 h 1746228"/>
              <a:gd name="connsiteX322" fmla="*/ 2726238 w 3815927"/>
              <a:gd name="connsiteY322" fmla="*/ 212404 h 1746228"/>
              <a:gd name="connsiteX323" fmla="*/ 2669573 w 3815927"/>
              <a:gd name="connsiteY323" fmla="*/ 212404 h 1746228"/>
              <a:gd name="connsiteX324" fmla="*/ 2683753 w 3815927"/>
              <a:gd name="connsiteY324" fmla="*/ 226585 h 1746228"/>
              <a:gd name="connsiteX325" fmla="*/ 2669573 w 3815927"/>
              <a:gd name="connsiteY325" fmla="*/ 240765 h 1746228"/>
              <a:gd name="connsiteX326" fmla="*/ 2655392 w 3815927"/>
              <a:gd name="connsiteY326" fmla="*/ 226585 h 1746228"/>
              <a:gd name="connsiteX327" fmla="*/ 2669573 w 3815927"/>
              <a:gd name="connsiteY327" fmla="*/ 212404 h 1746228"/>
              <a:gd name="connsiteX328" fmla="*/ 2612907 w 3815927"/>
              <a:gd name="connsiteY328" fmla="*/ 212404 h 1746228"/>
              <a:gd name="connsiteX329" fmla="*/ 2627087 w 3815927"/>
              <a:gd name="connsiteY329" fmla="*/ 226585 h 1746228"/>
              <a:gd name="connsiteX330" fmla="*/ 2612907 w 3815927"/>
              <a:gd name="connsiteY330" fmla="*/ 240765 h 1746228"/>
              <a:gd name="connsiteX331" fmla="*/ 2598726 w 3815927"/>
              <a:gd name="connsiteY331" fmla="*/ 226585 h 1746228"/>
              <a:gd name="connsiteX332" fmla="*/ 2612907 w 3815927"/>
              <a:gd name="connsiteY332" fmla="*/ 212404 h 1746228"/>
              <a:gd name="connsiteX333" fmla="*/ 2556242 w 3815927"/>
              <a:gd name="connsiteY333" fmla="*/ 212404 h 1746228"/>
              <a:gd name="connsiteX334" fmla="*/ 2570422 w 3815927"/>
              <a:gd name="connsiteY334" fmla="*/ 226585 h 1746228"/>
              <a:gd name="connsiteX335" fmla="*/ 2556242 w 3815927"/>
              <a:gd name="connsiteY335" fmla="*/ 240765 h 1746228"/>
              <a:gd name="connsiteX336" fmla="*/ 2542061 w 3815927"/>
              <a:gd name="connsiteY336" fmla="*/ 226585 h 1746228"/>
              <a:gd name="connsiteX337" fmla="*/ 2556242 w 3815927"/>
              <a:gd name="connsiteY337" fmla="*/ 212404 h 1746228"/>
              <a:gd name="connsiteX338" fmla="*/ 2499576 w 3815927"/>
              <a:gd name="connsiteY338" fmla="*/ 212404 h 1746228"/>
              <a:gd name="connsiteX339" fmla="*/ 2513757 w 3815927"/>
              <a:gd name="connsiteY339" fmla="*/ 226585 h 1746228"/>
              <a:gd name="connsiteX340" fmla="*/ 2499576 w 3815927"/>
              <a:gd name="connsiteY340" fmla="*/ 240765 h 1746228"/>
              <a:gd name="connsiteX341" fmla="*/ 2485396 w 3815927"/>
              <a:gd name="connsiteY341" fmla="*/ 226585 h 1746228"/>
              <a:gd name="connsiteX342" fmla="*/ 2499576 w 3815927"/>
              <a:gd name="connsiteY342" fmla="*/ 212404 h 1746228"/>
              <a:gd name="connsiteX343" fmla="*/ 2442911 w 3815927"/>
              <a:gd name="connsiteY343" fmla="*/ 212404 h 1746228"/>
              <a:gd name="connsiteX344" fmla="*/ 2457091 w 3815927"/>
              <a:gd name="connsiteY344" fmla="*/ 226585 h 1746228"/>
              <a:gd name="connsiteX345" fmla="*/ 2442911 w 3815927"/>
              <a:gd name="connsiteY345" fmla="*/ 240765 h 1746228"/>
              <a:gd name="connsiteX346" fmla="*/ 2428730 w 3815927"/>
              <a:gd name="connsiteY346" fmla="*/ 226585 h 1746228"/>
              <a:gd name="connsiteX347" fmla="*/ 2442911 w 3815927"/>
              <a:gd name="connsiteY347" fmla="*/ 212404 h 1746228"/>
              <a:gd name="connsiteX348" fmla="*/ 2386245 w 3815927"/>
              <a:gd name="connsiteY348" fmla="*/ 212404 h 1746228"/>
              <a:gd name="connsiteX349" fmla="*/ 2400426 w 3815927"/>
              <a:gd name="connsiteY349" fmla="*/ 226585 h 1746228"/>
              <a:gd name="connsiteX350" fmla="*/ 2386245 w 3815927"/>
              <a:gd name="connsiteY350" fmla="*/ 240765 h 1746228"/>
              <a:gd name="connsiteX351" fmla="*/ 2372065 w 3815927"/>
              <a:gd name="connsiteY351" fmla="*/ 226585 h 1746228"/>
              <a:gd name="connsiteX352" fmla="*/ 2386245 w 3815927"/>
              <a:gd name="connsiteY352" fmla="*/ 212404 h 1746228"/>
              <a:gd name="connsiteX353" fmla="*/ 2329580 w 3815927"/>
              <a:gd name="connsiteY353" fmla="*/ 212404 h 1746228"/>
              <a:gd name="connsiteX354" fmla="*/ 2343761 w 3815927"/>
              <a:gd name="connsiteY354" fmla="*/ 226585 h 1746228"/>
              <a:gd name="connsiteX355" fmla="*/ 2329580 w 3815927"/>
              <a:gd name="connsiteY355" fmla="*/ 240765 h 1746228"/>
              <a:gd name="connsiteX356" fmla="*/ 2315399 w 3815927"/>
              <a:gd name="connsiteY356" fmla="*/ 226585 h 1746228"/>
              <a:gd name="connsiteX357" fmla="*/ 2329580 w 3815927"/>
              <a:gd name="connsiteY357" fmla="*/ 212404 h 1746228"/>
              <a:gd name="connsiteX358" fmla="*/ 2272915 w 3815927"/>
              <a:gd name="connsiteY358" fmla="*/ 212404 h 1746228"/>
              <a:gd name="connsiteX359" fmla="*/ 2287095 w 3815927"/>
              <a:gd name="connsiteY359" fmla="*/ 226585 h 1746228"/>
              <a:gd name="connsiteX360" fmla="*/ 2272915 w 3815927"/>
              <a:gd name="connsiteY360" fmla="*/ 240765 h 1746228"/>
              <a:gd name="connsiteX361" fmla="*/ 2258734 w 3815927"/>
              <a:gd name="connsiteY361" fmla="*/ 226585 h 1746228"/>
              <a:gd name="connsiteX362" fmla="*/ 2272915 w 3815927"/>
              <a:gd name="connsiteY362" fmla="*/ 212404 h 1746228"/>
              <a:gd name="connsiteX363" fmla="*/ 2216306 w 3815927"/>
              <a:gd name="connsiteY363" fmla="*/ 212404 h 1746228"/>
              <a:gd name="connsiteX364" fmla="*/ 2230429 w 3815927"/>
              <a:gd name="connsiteY364" fmla="*/ 226585 h 1746228"/>
              <a:gd name="connsiteX365" fmla="*/ 2216306 w 3815927"/>
              <a:gd name="connsiteY365" fmla="*/ 240765 h 1746228"/>
              <a:gd name="connsiteX366" fmla="*/ 2202125 w 3815927"/>
              <a:gd name="connsiteY366" fmla="*/ 226585 h 1746228"/>
              <a:gd name="connsiteX367" fmla="*/ 2216306 w 3815927"/>
              <a:gd name="connsiteY367" fmla="*/ 212404 h 1746228"/>
              <a:gd name="connsiteX368" fmla="*/ 2159640 w 3815927"/>
              <a:gd name="connsiteY368" fmla="*/ 212404 h 1746228"/>
              <a:gd name="connsiteX369" fmla="*/ 2173821 w 3815927"/>
              <a:gd name="connsiteY369" fmla="*/ 226585 h 1746228"/>
              <a:gd name="connsiteX370" fmla="*/ 2159640 w 3815927"/>
              <a:gd name="connsiteY370" fmla="*/ 240765 h 1746228"/>
              <a:gd name="connsiteX371" fmla="*/ 2145403 w 3815927"/>
              <a:gd name="connsiteY371" fmla="*/ 226585 h 1746228"/>
              <a:gd name="connsiteX372" fmla="*/ 2159640 w 3815927"/>
              <a:gd name="connsiteY372" fmla="*/ 212404 h 1746228"/>
              <a:gd name="connsiteX373" fmla="*/ 2102975 w 3815927"/>
              <a:gd name="connsiteY373" fmla="*/ 212404 h 1746228"/>
              <a:gd name="connsiteX374" fmla="*/ 2117155 w 3815927"/>
              <a:gd name="connsiteY374" fmla="*/ 226585 h 1746228"/>
              <a:gd name="connsiteX375" fmla="*/ 2102975 w 3815927"/>
              <a:gd name="connsiteY375" fmla="*/ 240765 h 1746228"/>
              <a:gd name="connsiteX376" fmla="*/ 2088794 w 3815927"/>
              <a:gd name="connsiteY376" fmla="*/ 226585 h 1746228"/>
              <a:gd name="connsiteX377" fmla="*/ 2102975 w 3815927"/>
              <a:gd name="connsiteY377" fmla="*/ 212404 h 1746228"/>
              <a:gd name="connsiteX378" fmla="*/ 2046309 w 3815927"/>
              <a:gd name="connsiteY378" fmla="*/ 212404 h 1746228"/>
              <a:gd name="connsiteX379" fmla="*/ 2060490 w 3815927"/>
              <a:gd name="connsiteY379" fmla="*/ 226585 h 1746228"/>
              <a:gd name="connsiteX380" fmla="*/ 2046309 w 3815927"/>
              <a:gd name="connsiteY380" fmla="*/ 240765 h 1746228"/>
              <a:gd name="connsiteX381" fmla="*/ 2032129 w 3815927"/>
              <a:gd name="connsiteY381" fmla="*/ 226585 h 1746228"/>
              <a:gd name="connsiteX382" fmla="*/ 2046309 w 3815927"/>
              <a:gd name="connsiteY382" fmla="*/ 212404 h 1746228"/>
              <a:gd name="connsiteX383" fmla="*/ 1989644 w 3815927"/>
              <a:gd name="connsiteY383" fmla="*/ 212404 h 1746228"/>
              <a:gd name="connsiteX384" fmla="*/ 2003825 w 3815927"/>
              <a:gd name="connsiteY384" fmla="*/ 226585 h 1746228"/>
              <a:gd name="connsiteX385" fmla="*/ 1989644 w 3815927"/>
              <a:gd name="connsiteY385" fmla="*/ 240765 h 1746228"/>
              <a:gd name="connsiteX386" fmla="*/ 1975463 w 3815927"/>
              <a:gd name="connsiteY386" fmla="*/ 226585 h 1746228"/>
              <a:gd name="connsiteX387" fmla="*/ 1989644 w 3815927"/>
              <a:gd name="connsiteY387" fmla="*/ 212404 h 1746228"/>
              <a:gd name="connsiteX388" fmla="*/ 1932978 w 3815927"/>
              <a:gd name="connsiteY388" fmla="*/ 212404 h 1746228"/>
              <a:gd name="connsiteX389" fmla="*/ 1947159 w 3815927"/>
              <a:gd name="connsiteY389" fmla="*/ 226585 h 1746228"/>
              <a:gd name="connsiteX390" fmla="*/ 1932978 w 3815927"/>
              <a:gd name="connsiteY390" fmla="*/ 240765 h 1746228"/>
              <a:gd name="connsiteX391" fmla="*/ 1918798 w 3815927"/>
              <a:gd name="connsiteY391" fmla="*/ 226585 h 1746228"/>
              <a:gd name="connsiteX392" fmla="*/ 1932978 w 3815927"/>
              <a:gd name="connsiteY392" fmla="*/ 212404 h 1746228"/>
              <a:gd name="connsiteX393" fmla="*/ 1876313 w 3815927"/>
              <a:gd name="connsiteY393" fmla="*/ 212404 h 1746228"/>
              <a:gd name="connsiteX394" fmla="*/ 1890493 w 3815927"/>
              <a:gd name="connsiteY394" fmla="*/ 226585 h 1746228"/>
              <a:gd name="connsiteX395" fmla="*/ 1876313 w 3815927"/>
              <a:gd name="connsiteY395" fmla="*/ 240765 h 1746228"/>
              <a:gd name="connsiteX396" fmla="*/ 1862132 w 3815927"/>
              <a:gd name="connsiteY396" fmla="*/ 226585 h 1746228"/>
              <a:gd name="connsiteX397" fmla="*/ 1876313 w 3815927"/>
              <a:gd name="connsiteY397" fmla="*/ 212404 h 1746228"/>
              <a:gd name="connsiteX398" fmla="*/ 1819647 w 3815927"/>
              <a:gd name="connsiteY398" fmla="*/ 212404 h 1746228"/>
              <a:gd name="connsiteX399" fmla="*/ 1833828 w 3815927"/>
              <a:gd name="connsiteY399" fmla="*/ 226585 h 1746228"/>
              <a:gd name="connsiteX400" fmla="*/ 1819647 w 3815927"/>
              <a:gd name="connsiteY400" fmla="*/ 240765 h 1746228"/>
              <a:gd name="connsiteX401" fmla="*/ 1805467 w 3815927"/>
              <a:gd name="connsiteY401" fmla="*/ 226585 h 1746228"/>
              <a:gd name="connsiteX402" fmla="*/ 1819647 w 3815927"/>
              <a:gd name="connsiteY402" fmla="*/ 212404 h 1746228"/>
              <a:gd name="connsiteX403" fmla="*/ 1762982 w 3815927"/>
              <a:gd name="connsiteY403" fmla="*/ 212404 h 1746228"/>
              <a:gd name="connsiteX404" fmla="*/ 1777163 w 3815927"/>
              <a:gd name="connsiteY404" fmla="*/ 226585 h 1746228"/>
              <a:gd name="connsiteX405" fmla="*/ 1762982 w 3815927"/>
              <a:gd name="connsiteY405" fmla="*/ 240765 h 1746228"/>
              <a:gd name="connsiteX406" fmla="*/ 1748802 w 3815927"/>
              <a:gd name="connsiteY406" fmla="*/ 226585 h 1746228"/>
              <a:gd name="connsiteX407" fmla="*/ 1762982 w 3815927"/>
              <a:gd name="connsiteY407" fmla="*/ 212404 h 1746228"/>
              <a:gd name="connsiteX408" fmla="*/ 1706317 w 3815927"/>
              <a:gd name="connsiteY408" fmla="*/ 212404 h 1746228"/>
              <a:gd name="connsiteX409" fmla="*/ 1720497 w 3815927"/>
              <a:gd name="connsiteY409" fmla="*/ 226585 h 1746228"/>
              <a:gd name="connsiteX410" fmla="*/ 1706317 w 3815927"/>
              <a:gd name="connsiteY410" fmla="*/ 240765 h 1746228"/>
              <a:gd name="connsiteX411" fmla="*/ 1692136 w 3815927"/>
              <a:gd name="connsiteY411" fmla="*/ 226585 h 1746228"/>
              <a:gd name="connsiteX412" fmla="*/ 1706317 w 3815927"/>
              <a:gd name="connsiteY412" fmla="*/ 212404 h 1746228"/>
              <a:gd name="connsiteX413" fmla="*/ 1649651 w 3815927"/>
              <a:gd name="connsiteY413" fmla="*/ 212404 h 1746228"/>
              <a:gd name="connsiteX414" fmla="*/ 1663832 w 3815927"/>
              <a:gd name="connsiteY414" fmla="*/ 226585 h 1746228"/>
              <a:gd name="connsiteX415" fmla="*/ 1649651 w 3815927"/>
              <a:gd name="connsiteY415" fmla="*/ 240765 h 1746228"/>
              <a:gd name="connsiteX416" fmla="*/ 1635471 w 3815927"/>
              <a:gd name="connsiteY416" fmla="*/ 226585 h 1746228"/>
              <a:gd name="connsiteX417" fmla="*/ 1649651 w 3815927"/>
              <a:gd name="connsiteY417" fmla="*/ 212404 h 1746228"/>
              <a:gd name="connsiteX418" fmla="*/ 1593042 w 3815927"/>
              <a:gd name="connsiteY418" fmla="*/ 212404 h 1746228"/>
              <a:gd name="connsiteX419" fmla="*/ 1607223 w 3815927"/>
              <a:gd name="connsiteY419" fmla="*/ 226585 h 1746228"/>
              <a:gd name="connsiteX420" fmla="*/ 1593042 w 3815927"/>
              <a:gd name="connsiteY420" fmla="*/ 240765 h 1746228"/>
              <a:gd name="connsiteX421" fmla="*/ 1578862 w 3815927"/>
              <a:gd name="connsiteY421" fmla="*/ 226585 h 1746228"/>
              <a:gd name="connsiteX422" fmla="*/ 1593042 w 3815927"/>
              <a:gd name="connsiteY422" fmla="*/ 212404 h 1746228"/>
              <a:gd name="connsiteX423" fmla="*/ 1536377 w 3815927"/>
              <a:gd name="connsiteY423" fmla="*/ 212404 h 1746228"/>
              <a:gd name="connsiteX424" fmla="*/ 1550557 w 3815927"/>
              <a:gd name="connsiteY424" fmla="*/ 226585 h 1746228"/>
              <a:gd name="connsiteX425" fmla="*/ 1536377 w 3815927"/>
              <a:gd name="connsiteY425" fmla="*/ 240765 h 1746228"/>
              <a:gd name="connsiteX426" fmla="*/ 1522140 w 3815927"/>
              <a:gd name="connsiteY426" fmla="*/ 226585 h 1746228"/>
              <a:gd name="connsiteX427" fmla="*/ 1536377 w 3815927"/>
              <a:gd name="connsiteY427" fmla="*/ 212404 h 1746228"/>
              <a:gd name="connsiteX428" fmla="*/ 1479712 w 3815927"/>
              <a:gd name="connsiteY428" fmla="*/ 212404 h 1746228"/>
              <a:gd name="connsiteX429" fmla="*/ 1493892 w 3815927"/>
              <a:gd name="connsiteY429" fmla="*/ 226585 h 1746228"/>
              <a:gd name="connsiteX430" fmla="*/ 1479712 w 3815927"/>
              <a:gd name="connsiteY430" fmla="*/ 240765 h 1746228"/>
              <a:gd name="connsiteX431" fmla="*/ 1465531 w 3815927"/>
              <a:gd name="connsiteY431" fmla="*/ 226585 h 1746228"/>
              <a:gd name="connsiteX432" fmla="*/ 1479712 w 3815927"/>
              <a:gd name="connsiteY432" fmla="*/ 212404 h 1746228"/>
              <a:gd name="connsiteX433" fmla="*/ 1423046 w 3815927"/>
              <a:gd name="connsiteY433" fmla="*/ 212404 h 1746228"/>
              <a:gd name="connsiteX434" fmla="*/ 1437227 w 3815927"/>
              <a:gd name="connsiteY434" fmla="*/ 226585 h 1746228"/>
              <a:gd name="connsiteX435" fmla="*/ 1423046 w 3815927"/>
              <a:gd name="connsiteY435" fmla="*/ 240765 h 1746228"/>
              <a:gd name="connsiteX436" fmla="*/ 1408866 w 3815927"/>
              <a:gd name="connsiteY436" fmla="*/ 226585 h 1746228"/>
              <a:gd name="connsiteX437" fmla="*/ 1423046 w 3815927"/>
              <a:gd name="connsiteY437" fmla="*/ 212404 h 1746228"/>
              <a:gd name="connsiteX438" fmla="*/ 1366381 w 3815927"/>
              <a:gd name="connsiteY438" fmla="*/ 212404 h 1746228"/>
              <a:gd name="connsiteX439" fmla="*/ 1380561 w 3815927"/>
              <a:gd name="connsiteY439" fmla="*/ 226585 h 1746228"/>
              <a:gd name="connsiteX440" fmla="*/ 1366381 w 3815927"/>
              <a:gd name="connsiteY440" fmla="*/ 240765 h 1746228"/>
              <a:gd name="connsiteX441" fmla="*/ 1352200 w 3815927"/>
              <a:gd name="connsiteY441" fmla="*/ 226585 h 1746228"/>
              <a:gd name="connsiteX442" fmla="*/ 1366381 w 3815927"/>
              <a:gd name="connsiteY442" fmla="*/ 212404 h 1746228"/>
              <a:gd name="connsiteX443" fmla="*/ 1309715 w 3815927"/>
              <a:gd name="connsiteY443" fmla="*/ 212404 h 1746228"/>
              <a:gd name="connsiteX444" fmla="*/ 1323896 w 3815927"/>
              <a:gd name="connsiteY444" fmla="*/ 226585 h 1746228"/>
              <a:gd name="connsiteX445" fmla="*/ 1309715 w 3815927"/>
              <a:gd name="connsiteY445" fmla="*/ 240765 h 1746228"/>
              <a:gd name="connsiteX446" fmla="*/ 1295535 w 3815927"/>
              <a:gd name="connsiteY446" fmla="*/ 226585 h 1746228"/>
              <a:gd name="connsiteX447" fmla="*/ 1309715 w 3815927"/>
              <a:gd name="connsiteY447" fmla="*/ 212404 h 1746228"/>
              <a:gd name="connsiteX448" fmla="*/ 1253050 w 3815927"/>
              <a:gd name="connsiteY448" fmla="*/ 212404 h 1746228"/>
              <a:gd name="connsiteX449" fmla="*/ 1267230 w 3815927"/>
              <a:gd name="connsiteY449" fmla="*/ 226585 h 1746228"/>
              <a:gd name="connsiteX450" fmla="*/ 1253050 w 3815927"/>
              <a:gd name="connsiteY450" fmla="*/ 240765 h 1746228"/>
              <a:gd name="connsiteX451" fmla="*/ 1238869 w 3815927"/>
              <a:gd name="connsiteY451" fmla="*/ 226585 h 1746228"/>
              <a:gd name="connsiteX452" fmla="*/ 1253050 w 3815927"/>
              <a:gd name="connsiteY452" fmla="*/ 212404 h 1746228"/>
              <a:gd name="connsiteX453" fmla="*/ 1196384 w 3815927"/>
              <a:gd name="connsiteY453" fmla="*/ 212404 h 1746228"/>
              <a:gd name="connsiteX454" fmla="*/ 1210565 w 3815927"/>
              <a:gd name="connsiteY454" fmla="*/ 226585 h 1746228"/>
              <a:gd name="connsiteX455" fmla="*/ 1196384 w 3815927"/>
              <a:gd name="connsiteY455" fmla="*/ 240765 h 1746228"/>
              <a:gd name="connsiteX456" fmla="*/ 1182204 w 3815927"/>
              <a:gd name="connsiteY456" fmla="*/ 226585 h 1746228"/>
              <a:gd name="connsiteX457" fmla="*/ 1196384 w 3815927"/>
              <a:gd name="connsiteY457" fmla="*/ 212404 h 1746228"/>
              <a:gd name="connsiteX458" fmla="*/ 1139719 w 3815927"/>
              <a:gd name="connsiteY458" fmla="*/ 212404 h 1746228"/>
              <a:gd name="connsiteX459" fmla="*/ 1153899 w 3815927"/>
              <a:gd name="connsiteY459" fmla="*/ 226585 h 1746228"/>
              <a:gd name="connsiteX460" fmla="*/ 1139719 w 3815927"/>
              <a:gd name="connsiteY460" fmla="*/ 240765 h 1746228"/>
              <a:gd name="connsiteX461" fmla="*/ 1125538 w 3815927"/>
              <a:gd name="connsiteY461" fmla="*/ 226585 h 1746228"/>
              <a:gd name="connsiteX462" fmla="*/ 1139719 w 3815927"/>
              <a:gd name="connsiteY462" fmla="*/ 212404 h 1746228"/>
              <a:gd name="connsiteX463" fmla="*/ 1083053 w 3815927"/>
              <a:gd name="connsiteY463" fmla="*/ 212404 h 1746228"/>
              <a:gd name="connsiteX464" fmla="*/ 1097234 w 3815927"/>
              <a:gd name="connsiteY464" fmla="*/ 226585 h 1746228"/>
              <a:gd name="connsiteX465" fmla="*/ 1083053 w 3815927"/>
              <a:gd name="connsiteY465" fmla="*/ 240765 h 1746228"/>
              <a:gd name="connsiteX466" fmla="*/ 1068873 w 3815927"/>
              <a:gd name="connsiteY466" fmla="*/ 226585 h 1746228"/>
              <a:gd name="connsiteX467" fmla="*/ 1083053 w 3815927"/>
              <a:gd name="connsiteY467" fmla="*/ 212404 h 1746228"/>
              <a:gd name="connsiteX468" fmla="*/ 1026388 w 3815927"/>
              <a:gd name="connsiteY468" fmla="*/ 212404 h 1746228"/>
              <a:gd name="connsiteX469" fmla="*/ 1040568 w 3815927"/>
              <a:gd name="connsiteY469" fmla="*/ 226585 h 1746228"/>
              <a:gd name="connsiteX470" fmla="*/ 1026388 w 3815927"/>
              <a:gd name="connsiteY470" fmla="*/ 240765 h 1746228"/>
              <a:gd name="connsiteX471" fmla="*/ 1012207 w 3815927"/>
              <a:gd name="connsiteY471" fmla="*/ 226585 h 1746228"/>
              <a:gd name="connsiteX472" fmla="*/ 1026388 w 3815927"/>
              <a:gd name="connsiteY472" fmla="*/ 212404 h 1746228"/>
              <a:gd name="connsiteX473" fmla="*/ 969779 w 3815927"/>
              <a:gd name="connsiteY473" fmla="*/ 212404 h 1746228"/>
              <a:gd name="connsiteX474" fmla="*/ 983903 w 3815927"/>
              <a:gd name="connsiteY474" fmla="*/ 226585 h 1746228"/>
              <a:gd name="connsiteX475" fmla="*/ 969779 w 3815927"/>
              <a:gd name="connsiteY475" fmla="*/ 240765 h 1746228"/>
              <a:gd name="connsiteX476" fmla="*/ 955599 w 3815927"/>
              <a:gd name="connsiteY476" fmla="*/ 226585 h 1746228"/>
              <a:gd name="connsiteX477" fmla="*/ 969779 w 3815927"/>
              <a:gd name="connsiteY477" fmla="*/ 212404 h 1746228"/>
              <a:gd name="connsiteX478" fmla="*/ 913057 w 3815927"/>
              <a:gd name="connsiteY478" fmla="*/ 212404 h 1746228"/>
              <a:gd name="connsiteX479" fmla="*/ 927294 w 3815927"/>
              <a:gd name="connsiteY479" fmla="*/ 226585 h 1746228"/>
              <a:gd name="connsiteX480" fmla="*/ 913057 w 3815927"/>
              <a:gd name="connsiteY480" fmla="*/ 240765 h 1746228"/>
              <a:gd name="connsiteX481" fmla="*/ 898876 w 3815927"/>
              <a:gd name="connsiteY481" fmla="*/ 226585 h 1746228"/>
              <a:gd name="connsiteX482" fmla="*/ 913057 w 3815927"/>
              <a:gd name="connsiteY482" fmla="*/ 212404 h 1746228"/>
              <a:gd name="connsiteX483" fmla="*/ 856448 w 3815927"/>
              <a:gd name="connsiteY483" fmla="*/ 212404 h 1746228"/>
              <a:gd name="connsiteX484" fmla="*/ 870629 w 3815927"/>
              <a:gd name="connsiteY484" fmla="*/ 226585 h 1746228"/>
              <a:gd name="connsiteX485" fmla="*/ 856448 w 3815927"/>
              <a:gd name="connsiteY485" fmla="*/ 240765 h 1746228"/>
              <a:gd name="connsiteX486" fmla="*/ 842268 w 3815927"/>
              <a:gd name="connsiteY486" fmla="*/ 226585 h 1746228"/>
              <a:gd name="connsiteX487" fmla="*/ 856448 w 3815927"/>
              <a:gd name="connsiteY487" fmla="*/ 212404 h 1746228"/>
              <a:gd name="connsiteX488" fmla="*/ 799783 w 3815927"/>
              <a:gd name="connsiteY488" fmla="*/ 212404 h 1746228"/>
              <a:gd name="connsiteX489" fmla="*/ 813963 w 3815927"/>
              <a:gd name="connsiteY489" fmla="*/ 226585 h 1746228"/>
              <a:gd name="connsiteX490" fmla="*/ 799783 w 3815927"/>
              <a:gd name="connsiteY490" fmla="*/ 240765 h 1746228"/>
              <a:gd name="connsiteX491" fmla="*/ 785602 w 3815927"/>
              <a:gd name="connsiteY491" fmla="*/ 226585 h 1746228"/>
              <a:gd name="connsiteX492" fmla="*/ 799783 w 3815927"/>
              <a:gd name="connsiteY492" fmla="*/ 212404 h 1746228"/>
              <a:gd name="connsiteX493" fmla="*/ 743117 w 3815927"/>
              <a:gd name="connsiteY493" fmla="*/ 212404 h 1746228"/>
              <a:gd name="connsiteX494" fmla="*/ 757298 w 3815927"/>
              <a:gd name="connsiteY494" fmla="*/ 226585 h 1746228"/>
              <a:gd name="connsiteX495" fmla="*/ 743117 w 3815927"/>
              <a:gd name="connsiteY495" fmla="*/ 240765 h 1746228"/>
              <a:gd name="connsiteX496" fmla="*/ 728937 w 3815927"/>
              <a:gd name="connsiteY496" fmla="*/ 226585 h 1746228"/>
              <a:gd name="connsiteX497" fmla="*/ 743117 w 3815927"/>
              <a:gd name="connsiteY497" fmla="*/ 212404 h 1746228"/>
              <a:gd name="connsiteX498" fmla="*/ 686452 w 3815927"/>
              <a:gd name="connsiteY498" fmla="*/ 212404 h 1746228"/>
              <a:gd name="connsiteX499" fmla="*/ 700632 w 3815927"/>
              <a:gd name="connsiteY499" fmla="*/ 226585 h 1746228"/>
              <a:gd name="connsiteX500" fmla="*/ 686452 w 3815927"/>
              <a:gd name="connsiteY500" fmla="*/ 240765 h 1746228"/>
              <a:gd name="connsiteX501" fmla="*/ 672271 w 3815927"/>
              <a:gd name="connsiteY501" fmla="*/ 226585 h 1746228"/>
              <a:gd name="connsiteX502" fmla="*/ 686452 w 3815927"/>
              <a:gd name="connsiteY502" fmla="*/ 212404 h 1746228"/>
              <a:gd name="connsiteX503" fmla="*/ 629786 w 3815927"/>
              <a:gd name="connsiteY503" fmla="*/ 212404 h 1746228"/>
              <a:gd name="connsiteX504" fmla="*/ 643967 w 3815927"/>
              <a:gd name="connsiteY504" fmla="*/ 226585 h 1746228"/>
              <a:gd name="connsiteX505" fmla="*/ 629786 w 3815927"/>
              <a:gd name="connsiteY505" fmla="*/ 240765 h 1746228"/>
              <a:gd name="connsiteX506" fmla="*/ 615606 w 3815927"/>
              <a:gd name="connsiteY506" fmla="*/ 226585 h 1746228"/>
              <a:gd name="connsiteX507" fmla="*/ 629786 w 3815927"/>
              <a:gd name="connsiteY507" fmla="*/ 212404 h 1746228"/>
              <a:gd name="connsiteX508" fmla="*/ 573121 w 3815927"/>
              <a:gd name="connsiteY508" fmla="*/ 212404 h 1746228"/>
              <a:gd name="connsiteX509" fmla="*/ 587301 w 3815927"/>
              <a:gd name="connsiteY509" fmla="*/ 226585 h 1746228"/>
              <a:gd name="connsiteX510" fmla="*/ 573121 w 3815927"/>
              <a:gd name="connsiteY510" fmla="*/ 240765 h 1746228"/>
              <a:gd name="connsiteX511" fmla="*/ 558940 w 3815927"/>
              <a:gd name="connsiteY511" fmla="*/ 226585 h 1746228"/>
              <a:gd name="connsiteX512" fmla="*/ 573121 w 3815927"/>
              <a:gd name="connsiteY512" fmla="*/ 212404 h 1746228"/>
              <a:gd name="connsiteX513" fmla="*/ 516455 w 3815927"/>
              <a:gd name="connsiteY513" fmla="*/ 212404 h 1746228"/>
              <a:gd name="connsiteX514" fmla="*/ 530636 w 3815927"/>
              <a:gd name="connsiteY514" fmla="*/ 226585 h 1746228"/>
              <a:gd name="connsiteX515" fmla="*/ 516455 w 3815927"/>
              <a:gd name="connsiteY515" fmla="*/ 240765 h 1746228"/>
              <a:gd name="connsiteX516" fmla="*/ 502275 w 3815927"/>
              <a:gd name="connsiteY516" fmla="*/ 226585 h 1746228"/>
              <a:gd name="connsiteX517" fmla="*/ 516455 w 3815927"/>
              <a:gd name="connsiteY517" fmla="*/ 212404 h 1746228"/>
              <a:gd name="connsiteX518" fmla="*/ 459790 w 3815927"/>
              <a:gd name="connsiteY518" fmla="*/ 212404 h 1746228"/>
              <a:gd name="connsiteX519" fmla="*/ 473971 w 3815927"/>
              <a:gd name="connsiteY519" fmla="*/ 226585 h 1746228"/>
              <a:gd name="connsiteX520" fmla="*/ 459790 w 3815927"/>
              <a:gd name="connsiteY520" fmla="*/ 240765 h 1746228"/>
              <a:gd name="connsiteX521" fmla="*/ 445610 w 3815927"/>
              <a:gd name="connsiteY521" fmla="*/ 226585 h 1746228"/>
              <a:gd name="connsiteX522" fmla="*/ 459790 w 3815927"/>
              <a:gd name="connsiteY522" fmla="*/ 212404 h 1746228"/>
              <a:gd name="connsiteX523" fmla="*/ 403125 w 3815927"/>
              <a:gd name="connsiteY523" fmla="*/ 212404 h 1746228"/>
              <a:gd name="connsiteX524" fmla="*/ 417305 w 3815927"/>
              <a:gd name="connsiteY524" fmla="*/ 226585 h 1746228"/>
              <a:gd name="connsiteX525" fmla="*/ 403125 w 3815927"/>
              <a:gd name="connsiteY525" fmla="*/ 240765 h 1746228"/>
              <a:gd name="connsiteX526" fmla="*/ 388944 w 3815927"/>
              <a:gd name="connsiteY526" fmla="*/ 226585 h 1746228"/>
              <a:gd name="connsiteX527" fmla="*/ 403125 w 3815927"/>
              <a:gd name="connsiteY527" fmla="*/ 212404 h 1746228"/>
              <a:gd name="connsiteX528" fmla="*/ 346516 w 3815927"/>
              <a:gd name="connsiteY528" fmla="*/ 212404 h 1746228"/>
              <a:gd name="connsiteX529" fmla="*/ 360640 w 3815927"/>
              <a:gd name="connsiteY529" fmla="*/ 226585 h 1746228"/>
              <a:gd name="connsiteX530" fmla="*/ 346516 w 3815927"/>
              <a:gd name="connsiteY530" fmla="*/ 240765 h 1746228"/>
              <a:gd name="connsiteX531" fmla="*/ 332279 w 3815927"/>
              <a:gd name="connsiteY531" fmla="*/ 226585 h 1746228"/>
              <a:gd name="connsiteX532" fmla="*/ 346516 w 3815927"/>
              <a:gd name="connsiteY532" fmla="*/ 212404 h 1746228"/>
              <a:gd name="connsiteX533" fmla="*/ 289851 w 3815927"/>
              <a:gd name="connsiteY533" fmla="*/ 212404 h 1746228"/>
              <a:gd name="connsiteX534" fmla="*/ 304031 w 3815927"/>
              <a:gd name="connsiteY534" fmla="*/ 226585 h 1746228"/>
              <a:gd name="connsiteX535" fmla="*/ 289851 w 3815927"/>
              <a:gd name="connsiteY535" fmla="*/ 240765 h 1746228"/>
              <a:gd name="connsiteX536" fmla="*/ 275613 w 3815927"/>
              <a:gd name="connsiteY536" fmla="*/ 226585 h 1746228"/>
              <a:gd name="connsiteX537" fmla="*/ 289851 w 3815927"/>
              <a:gd name="connsiteY537" fmla="*/ 212404 h 1746228"/>
              <a:gd name="connsiteX538" fmla="*/ 233185 w 3815927"/>
              <a:gd name="connsiteY538" fmla="*/ 212404 h 1746228"/>
              <a:gd name="connsiteX539" fmla="*/ 247365 w 3815927"/>
              <a:gd name="connsiteY539" fmla="*/ 226585 h 1746228"/>
              <a:gd name="connsiteX540" fmla="*/ 233185 w 3815927"/>
              <a:gd name="connsiteY540" fmla="*/ 240765 h 1746228"/>
              <a:gd name="connsiteX541" fmla="*/ 219004 w 3815927"/>
              <a:gd name="connsiteY541" fmla="*/ 226585 h 1746228"/>
              <a:gd name="connsiteX542" fmla="*/ 233185 w 3815927"/>
              <a:gd name="connsiteY542" fmla="*/ 212404 h 1746228"/>
              <a:gd name="connsiteX543" fmla="*/ 176520 w 3815927"/>
              <a:gd name="connsiteY543" fmla="*/ 212404 h 1746228"/>
              <a:gd name="connsiteX544" fmla="*/ 190700 w 3815927"/>
              <a:gd name="connsiteY544" fmla="*/ 226585 h 1746228"/>
              <a:gd name="connsiteX545" fmla="*/ 176520 w 3815927"/>
              <a:gd name="connsiteY545" fmla="*/ 240765 h 1746228"/>
              <a:gd name="connsiteX546" fmla="*/ 162339 w 3815927"/>
              <a:gd name="connsiteY546" fmla="*/ 226585 h 1746228"/>
              <a:gd name="connsiteX547" fmla="*/ 176520 w 3815927"/>
              <a:gd name="connsiteY547" fmla="*/ 212404 h 1746228"/>
              <a:gd name="connsiteX548" fmla="*/ 3801747 w 3815927"/>
              <a:gd name="connsiteY548" fmla="*/ 159312 h 1746228"/>
              <a:gd name="connsiteX549" fmla="*/ 3815927 w 3815927"/>
              <a:gd name="connsiteY549" fmla="*/ 173492 h 1746228"/>
              <a:gd name="connsiteX550" fmla="*/ 3801747 w 3815927"/>
              <a:gd name="connsiteY550" fmla="*/ 187673 h 1746228"/>
              <a:gd name="connsiteX551" fmla="*/ 3787566 w 3815927"/>
              <a:gd name="connsiteY551" fmla="*/ 173492 h 1746228"/>
              <a:gd name="connsiteX552" fmla="*/ 3801747 w 3815927"/>
              <a:gd name="connsiteY552" fmla="*/ 159312 h 1746228"/>
              <a:gd name="connsiteX553" fmla="*/ 3801747 w 3815927"/>
              <a:gd name="connsiteY553" fmla="*/ 106220 h 1746228"/>
              <a:gd name="connsiteX554" fmla="*/ 3815927 w 3815927"/>
              <a:gd name="connsiteY554" fmla="*/ 120400 h 1746228"/>
              <a:gd name="connsiteX555" fmla="*/ 3801747 w 3815927"/>
              <a:gd name="connsiteY555" fmla="*/ 134581 h 1746228"/>
              <a:gd name="connsiteX556" fmla="*/ 3787566 w 3815927"/>
              <a:gd name="connsiteY556" fmla="*/ 120400 h 1746228"/>
              <a:gd name="connsiteX557" fmla="*/ 3801747 w 3815927"/>
              <a:gd name="connsiteY557" fmla="*/ 106220 h 1746228"/>
              <a:gd name="connsiteX558" fmla="*/ 3801747 w 3815927"/>
              <a:gd name="connsiteY558" fmla="*/ 53071 h 1746228"/>
              <a:gd name="connsiteX559" fmla="*/ 3815927 w 3815927"/>
              <a:gd name="connsiteY559" fmla="*/ 67252 h 1746228"/>
              <a:gd name="connsiteX560" fmla="*/ 3801747 w 3815927"/>
              <a:gd name="connsiteY560" fmla="*/ 81432 h 1746228"/>
              <a:gd name="connsiteX561" fmla="*/ 3787566 w 3815927"/>
              <a:gd name="connsiteY561" fmla="*/ 67252 h 1746228"/>
              <a:gd name="connsiteX562" fmla="*/ 3801747 w 3815927"/>
              <a:gd name="connsiteY562" fmla="*/ 53071 h 1746228"/>
              <a:gd name="connsiteX563" fmla="*/ 3798967 w 3815927"/>
              <a:gd name="connsiteY563" fmla="*/ 263 h 1746228"/>
              <a:gd name="connsiteX564" fmla="*/ 3811786 w 3815927"/>
              <a:gd name="connsiteY564" fmla="*/ 4121 h 1746228"/>
              <a:gd name="connsiteX565" fmla="*/ 3815927 w 3815927"/>
              <a:gd name="connsiteY565" fmla="*/ 14160 h 1746228"/>
              <a:gd name="connsiteX566" fmla="*/ 3811786 w 3815927"/>
              <a:gd name="connsiteY566" fmla="*/ 24200 h 1746228"/>
              <a:gd name="connsiteX567" fmla="*/ 3801747 w 3815927"/>
              <a:gd name="connsiteY567" fmla="*/ 28341 h 1746228"/>
              <a:gd name="connsiteX568" fmla="*/ 3798967 w 3815927"/>
              <a:gd name="connsiteY568" fmla="*/ 28057 h 1746228"/>
              <a:gd name="connsiteX569" fmla="*/ 3796358 w 3815927"/>
              <a:gd name="connsiteY569" fmla="*/ 27263 h 1746228"/>
              <a:gd name="connsiteX570" fmla="*/ 3793919 w 3815927"/>
              <a:gd name="connsiteY570" fmla="*/ 25958 h 1746228"/>
              <a:gd name="connsiteX571" fmla="*/ 3791763 w 3815927"/>
              <a:gd name="connsiteY571" fmla="*/ 24200 h 1746228"/>
              <a:gd name="connsiteX572" fmla="*/ 3787566 w 3815927"/>
              <a:gd name="connsiteY572" fmla="*/ 14160 h 1746228"/>
              <a:gd name="connsiteX573" fmla="*/ 3791763 w 3815927"/>
              <a:gd name="connsiteY573" fmla="*/ 4121 h 1746228"/>
              <a:gd name="connsiteX574" fmla="*/ 3793919 w 3815927"/>
              <a:gd name="connsiteY574" fmla="*/ 2362 h 1746228"/>
              <a:gd name="connsiteX575" fmla="*/ 3796358 w 3815927"/>
              <a:gd name="connsiteY575" fmla="*/ 1057 h 1746228"/>
              <a:gd name="connsiteX576" fmla="*/ 3798967 w 3815927"/>
              <a:gd name="connsiteY576" fmla="*/ 263 h 17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Lst>
            <a:rect l="l" t="t" r="r" b="b"/>
            <a:pathLst>
              <a:path w="3815927" h="1746228">
                <a:moveTo>
                  <a:pt x="16960" y="1718151"/>
                </a:moveTo>
                <a:cubicBezTo>
                  <a:pt x="17867" y="1718321"/>
                  <a:pt x="18775" y="1718605"/>
                  <a:pt x="19626" y="1718945"/>
                </a:cubicBezTo>
                <a:cubicBezTo>
                  <a:pt x="20477" y="1719342"/>
                  <a:pt x="21328" y="1719739"/>
                  <a:pt x="22065" y="1720250"/>
                </a:cubicBezTo>
                <a:cubicBezTo>
                  <a:pt x="22859" y="1720817"/>
                  <a:pt x="23596" y="1721384"/>
                  <a:pt x="24220" y="1722065"/>
                </a:cubicBezTo>
                <a:cubicBezTo>
                  <a:pt x="24901" y="1722689"/>
                  <a:pt x="25468" y="1723426"/>
                  <a:pt x="25979" y="1724220"/>
                </a:cubicBezTo>
                <a:cubicBezTo>
                  <a:pt x="26489" y="1724958"/>
                  <a:pt x="26943" y="1725808"/>
                  <a:pt x="27283" y="1726659"/>
                </a:cubicBezTo>
                <a:cubicBezTo>
                  <a:pt x="27624" y="1727510"/>
                  <a:pt x="27907" y="1728361"/>
                  <a:pt x="28077" y="1729268"/>
                </a:cubicBezTo>
                <a:cubicBezTo>
                  <a:pt x="28304" y="1730233"/>
                  <a:pt x="28361" y="1731140"/>
                  <a:pt x="28361" y="1732048"/>
                </a:cubicBezTo>
                <a:cubicBezTo>
                  <a:pt x="28361" y="1735791"/>
                  <a:pt x="26886" y="1739479"/>
                  <a:pt x="24220" y="1742088"/>
                </a:cubicBezTo>
                <a:cubicBezTo>
                  <a:pt x="23596" y="1742768"/>
                  <a:pt x="22859" y="1743336"/>
                  <a:pt x="22065" y="1743846"/>
                </a:cubicBezTo>
                <a:cubicBezTo>
                  <a:pt x="21328" y="1744357"/>
                  <a:pt x="20477" y="1744810"/>
                  <a:pt x="19626" y="1745151"/>
                </a:cubicBezTo>
                <a:cubicBezTo>
                  <a:pt x="18775" y="1745491"/>
                  <a:pt x="17867" y="1745775"/>
                  <a:pt x="16960" y="1745945"/>
                </a:cubicBezTo>
                <a:cubicBezTo>
                  <a:pt x="16052" y="1746172"/>
                  <a:pt x="15145" y="1746228"/>
                  <a:pt x="14181" y="1746228"/>
                </a:cubicBezTo>
                <a:cubicBezTo>
                  <a:pt x="10494" y="1746228"/>
                  <a:pt x="6807" y="1744754"/>
                  <a:pt x="4141" y="1742088"/>
                </a:cubicBezTo>
                <a:cubicBezTo>
                  <a:pt x="1531" y="1739479"/>
                  <a:pt x="0" y="1735791"/>
                  <a:pt x="0" y="1732048"/>
                </a:cubicBezTo>
                <a:cubicBezTo>
                  <a:pt x="0" y="1731140"/>
                  <a:pt x="113" y="1730233"/>
                  <a:pt x="284" y="1729268"/>
                </a:cubicBezTo>
                <a:cubicBezTo>
                  <a:pt x="454" y="1728361"/>
                  <a:pt x="737" y="1727510"/>
                  <a:pt x="1078" y="1726659"/>
                </a:cubicBezTo>
                <a:cubicBezTo>
                  <a:pt x="1475" y="1725808"/>
                  <a:pt x="1872" y="1724958"/>
                  <a:pt x="2382" y="1724220"/>
                </a:cubicBezTo>
                <a:cubicBezTo>
                  <a:pt x="2949" y="1723426"/>
                  <a:pt x="3517" y="1722689"/>
                  <a:pt x="4141" y="1722065"/>
                </a:cubicBezTo>
                <a:cubicBezTo>
                  <a:pt x="7487" y="1718775"/>
                  <a:pt x="12365" y="1717243"/>
                  <a:pt x="16960" y="1718151"/>
                </a:cubicBezTo>
                <a:close/>
                <a:moveTo>
                  <a:pt x="14181" y="1660521"/>
                </a:moveTo>
                <a:cubicBezTo>
                  <a:pt x="22008" y="1660521"/>
                  <a:pt x="28361" y="1666874"/>
                  <a:pt x="28361" y="1674702"/>
                </a:cubicBezTo>
                <a:cubicBezTo>
                  <a:pt x="28361" y="1682529"/>
                  <a:pt x="22008" y="1688882"/>
                  <a:pt x="14181" y="1688882"/>
                </a:cubicBezTo>
                <a:cubicBezTo>
                  <a:pt x="6353" y="1688882"/>
                  <a:pt x="0" y="1682529"/>
                  <a:pt x="0" y="1674702"/>
                </a:cubicBezTo>
                <a:cubicBezTo>
                  <a:pt x="0" y="1666874"/>
                  <a:pt x="6353" y="1660521"/>
                  <a:pt x="14181" y="1660521"/>
                </a:cubicBezTo>
                <a:close/>
                <a:moveTo>
                  <a:pt x="14181" y="1603118"/>
                </a:moveTo>
                <a:cubicBezTo>
                  <a:pt x="22008" y="1603118"/>
                  <a:pt x="28361" y="1609471"/>
                  <a:pt x="28361" y="1617299"/>
                </a:cubicBezTo>
                <a:cubicBezTo>
                  <a:pt x="28361" y="1625127"/>
                  <a:pt x="22008" y="1631480"/>
                  <a:pt x="14181" y="1631480"/>
                </a:cubicBezTo>
                <a:cubicBezTo>
                  <a:pt x="6353" y="1631480"/>
                  <a:pt x="0" y="1625127"/>
                  <a:pt x="0" y="1617299"/>
                </a:cubicBezTo>
                <a:cubicBezTo>
                  <a:pt x="0" y="1609471"/>
                  <a:pt x="6353" y="1603118"/>
                  <a:pt x="14181" y="1603118"/>
                </a:cubicBezTo>
                <a:close/>
                <a:moveTo>
                  <a:pt x="14181" y="1545716"/>
                </a:moveTo>
                <a:cubicBezTo>
                  <a:pt x="22008" y="1545716"/>
                  <a:pt x="28361" y="1552068"/>
                  <a:pt x="28361" y="1559953"/>
                </a:cubicBezTo>
                <a:cubicBezTo>
                  <a:pt x="28361" y="1567781"/>
                  <a:pt x="22008" y="1574133"/>
                  <a:pt x="14181" y="1574133"/>
                </a:cubicBezTo>
                <a:cubicBezTo>
                  <a:pt x="6353" y="1574133"/>
                  <a:pt x="0" y="1567781"/>
                  <a:pt x="0" y="1559953"/>
                </a:cubicBezTo>
                <a:cubicBezTo>
                  <a:pt x="0" y="1552068"/>
                  <a:pt x="6353" y="1545716"/>
                  <a:pt x="14181" y="1545716"/>
                </a:cubicBezTo>
                <a:close/>
                <a:moveTo>
                  <a:pt x="14181" y="1488370"/>
                </a:moveTo>
                <a:cubicBezTo>
                  <a:pt x="22008" y="1488370"/>
                  <a:pt x="28361" y="1494722"/>
                  <a:pt x="28361" y="1502550"/>
                </a:cubicBezTo>
                <a:cubicBezTo>
                  <a:pt x="28361" y="1510378"/>
                  <a:pt x="22008" y="1516731"/>
                  <a:pt x="14181" y="1516731"/>
                </a:cubicBezTo>
                <a:cubicBezTo>
                  <a:pt x="6353" y="1516731"/>
                  <a:pt x="0" y="1510378"/>
                  <a:pt x="0" y="1502550"/>
                </a:cubicBezTo>
                <a:cubicBezTo>
                  <a:pt x="0" y="1494722"/>
                  <a:pt x="6353" y="1488370"/>
                  <a:pt x="14181" y="1488370"/>
                </a:cubicBezTo>
                <a:close/>
                <a:moveTo>
                  <a:pt x="14181" y="1430967"/>
                </a:moveTo>
                <a:cubicBezTo>
                  <a:pt x="22008" y="1430967"/>
                  <a:pt x="28361" y="1437320"/>
                  <a:pt x="28361" y="1445204"/>
                </a:cubicBezTo>
                <a:cubicBezTo>
                  <a:pt x="28361" y="1452975"/>
                  <a:pt x="22008" y="1459328"/>
                  <a:pt x="14181" y="1459328"/>
                </a:cubicBezTo>
                <a:cubicBezTo>
                  <a:pt x="6353" y="1459328"/>
                  <a:pt x="0" y="1452975"/>
                  <a:pt x="0" y="1445204"/>
                </a:cubicBezTo>
                <a:cubicBezTo>
                  <a:pt x="0" y="1437320"/>
                  <a:pt x="6353" y="1430967"/>
                  <a:pt x="14181" y="1430967"/>
                </a:cubicBezTo>
                <a:close/>
                <a:moveTo>
                  <a:pt x="14181" y="1373621"/>
                </a:moveTo>
                <a:cubicBezTo>
                  <a:pt x="22008" y="1373621"/>
                  <a:pt x="28361" y="1379974"/>
                  <a:pt x="28361" y="1387801"/>
                </a:cubicBezTo>
                <a:cubicBezTo>
                  <a:pt x="28361" y="1395629"/>
                  <a:pt x="22008" y="1401982"/>
                  <a:pt x="14181" y="1401982"/>
                </a:cubicBezTo>
                <a:cubicBezTo>
                  <a:pt x="6353" y="1401982"/>
                  <a:pt x="0" y="1395629"/>
                  <a:pt x="0" y="1387801"/>
                </a:cubicBezTo>
                <a:cubicBezTo>
                  <a:pt x="0" y="1379974"/>
                  <a:pt x="6353" y="1373621"/>
                  <a:pt x="14181" y="1373621"/>
                </a:cubicBezTo>
                <a:close/>
                <a:moveTo>
                  <a:pt x="14181" y="1316218"/>
                </a:moveTo>
                <a:cubicBezTo>
                  <a:pt x="22008" y="1316218"/>
                  <a:pt x="28361" y="1322571"/>
                  <a:pt x="28361" y="1330398"/>
                </a:cubicBezTo>
                <a:cubicBezTo>
                  <a:pt x="28361" y="1338226"/>
                  <a:pt x="22008" y="1344579"/>
                  <a:pt x="14181" y="1344579"/>
                </a:cubicBezTo>
                <a:cubicBezTo>
                  <a:pt x="6353" y="1344579"/>
                  <a:pt x="0" y="1338226"/>
                  <a:pt x="0" y="1330398"/>
                </a:cubicBezTo>
                <a:cubicBezTo>
                  <a:pt x="0" y="1322571"/>
                  <a:pt x="6353" y="1316218"/>
                  <a:pt x="14181" y="1316218"/>
                </a:cubicBezTo>
                <a:close/>
                <a:moveTo>
                  <a:pt x="14181" y="1258872"/>
                </a:moveTo>
                <a:cubicBezTo>
                  <a:pt x="22008" y="1258872"/>
                  <a:pt x="28361" y="1265224"/>
                  <a:pt x="28361" y="1273052"/>
                </a:cubicBezTo>
                <a:cubicBezTo>
                  <a:pt x="28361" y="1280880"/>
                  <a:pt x="22008" y="1287233"/>
                  <a:pt x="14181" y="1287233"/>
                </a:cubicBezTo>
                <a:cubicBezTo>
                  <a:pt x="6353" y="1287233"/>
                  <a:pt x="0" y="1280880"/>
                  <a:pt x="0" y="1273052"/>
                </a:cubicBezTo>
                <a:cubicBezTo>
                  <a:pt x="0" y="1265224"/>
                  <a:pt x="6353" y="1258872"/>
                  <a:pt x="14181" y="1258872"/>
                </a:cubicBezTo>
                <a:close/>
                <a:moveTo>
                  <a:pt x="14181" y="1201469"/>
                </a:moveTo>
                <a:cubicBezTo>
                  <a:pt x="22008" y="1201469"/>
                  <a:pt x="28361" y="1207822"/>
                  <a:pt x="28361" y="1215649"/>
                </a:cubicBezTo>
                <a:cubicBezTo>
                  <a:pt x="28361" y="1223477"/>
                  <a:pt x="22008" y="1229830"/>
                  <a:pt x="14181" y="1229830"/>
                </a:cubicBezTo>
                <a:cubicBezTo>
                  <a:pt x="6353" y="1229830"/>
                  <a:pt x="0" y="1223477"/>
                  <a:pt x="0" y="1215649"/>
                </a:cubicBezTo>
                <a:cubicBezTo>
                  <a:pt x="0" y="1207822"/>
                  <a:pt x="6353" y="1201469"/>
                  <a:pt x="14181" y="1201469"/>
                </a:cubicBezTo>
                <a:close/>
                <a:moveTo>
                  <a:pt x="14181" y="1144123"/>
                </a:moveTo>
                <a:cubicBezTo>
                  <a:pt x="22008" y="1144123"/>
                  <a:pt x="28361" y="1150419"/>
                  <a:pt x="28361" y="1158303"/>
                </a:cubicBezTo>
                <a:cubicBezTo>
                  <a:pt x="28361" y="1166131"/>
                  <a:pt x="22008" y="1172484"/>
                  <a:pt x="14181" y="1172484"/>
                </a:cubicBezTo>
                <a:cubicBezTo>
                  <a:pt x="6353" y="1172484"/>
                  <a:pt x="0" y="1166131"/>
                  <a:pt x="0" y="1158303"/>
                </a:cubicBezTo>
                <a:cubicBezTo>
                  <a:pt x="0" y="1150419"/>
                  <a:pt x="6353" y="1144123"/>
                  <a:pt x="14181" y="1144123"/>
                </a:cubicBezTo>
                <a:close/>
                <a:moveTo>
                  <a:pt x="14181" y="1086720"/>
                </a:moveTo>
                <a:cubicBezTo>
                  <a:pt x="22008" y="1086720"/>
                  <a:pt x="28361" y="1093073"/>
                  <a:pt x="28361" y="1100900"/>
                </a:cubicBezTo>
                <a:cubicBezTo>
                  <a:pt x="28361" y="1108728"/>
                  <a:pt x="22008" y="1115081"/>
                  <a:pt x="14181" y="1115081"/>
                </a:cubicBezTo>
                <a:cubicBezTo>
                  <a:pt x="6353" y="1115081"/>
                  <a:pt x="0" y="1108728"/>
                  <a:pt x="0" y="1100900"/>
                </a:cubicBezTo>
                <a:cubicBezTo>
                  <a:pt x="0" y="1093073"/>
                  <a:pt x="6353" y="1086720"/>
                  <a:pt x="14181" y="1086720"/>
                </a:cubicBezTo>
                <a:close/>
                <a:moveTo>
                  <a:pt x="14181" y="1029317"/>
                </a:moveTo>
                <a:cubicBezTo>
                  <a:pt x="22008" y="1029317"/>
                  <a:pt x="28361" y="1035670"/>
                  <a:pt x="28361" y="1043498"/>
                </a:cubicBezTo>
                <a:cubicBezTo>
                  <a:pt x="28361" y="1051382"/>
                  <a:pt x="22008" y="1057678"/>
                  <a:pt x="14181" y="1057678"/>
                </a:cubicBezTo>
                <a:cubicBezTo>
                  <a:pt x="6353" y="1057678"/>
                  <a:pt x="0" y="1051382"/>
                  <a:pt x="0" y="1043498"/>
                </a:cubicBezTo>
                <a:cubicBezTo>
                  <a:pt x="0" y="1035670"/>
                  <a:pt x="6353" y="1029317"/>
                  <a:pt x="14181" y="1029317"/>
                </a:cubicBezTo>
                <a:close/>
                <a:moveTo>
                  <a:pt x="14181" y="971971"/>
                </a:moveTo>
                <a:cubicBezTo>
                  <a:pt x="22008" y="971971"/>
                  <a:pt x="28361" y="978324"/>
                  <a:pt x="28361" y="986152"/>
                </a:cubicBezTo>
                <a:cubicBezTo>
                  <a:pt x="28361" y="993979"/>
                  <a:pt x="22008" y="1000332"/>
                  <a:pt x="14181" y="1000332"/>
                </a:cubicBezTo>
                <a:cubicBezTo>
                  <a:pt x="6353" y="1000332"/>
                  <a:pt x="0" y="993979"/>
                  <a:pt x="0" y="986152"/>
                </a:cubicBezTo>
                <a:cubicBezTo>
                  <a:pt x="0" y="978324"/>
                  <a:pt x="6353" y="971971"/>
                  <a:pt x="14181" y="971971"/>
                </a:cubicBezTo>
                <a:close/>
                <a:moveTo>
                  <a:pt x="14181" y="914568"/>
                </a:moveTo>
                <a:cubicBezTo>
                  <a:pt x="22008" y="914568"/>
                  <a:pt x="28361" y="920921"/>
                  <a:pt x="28361" y="928749"/>
                </a:cubicBezTo>
                <a:cubicBezTo>
                  <a:pt x="28361" y="936576"/>
                  <a:pt x="22008" y="942929"/>
                  <a:pt x="14181" y="942929"/>
                </a:cubicBezTo>
                <a:cubicBezTo>
                  <a:pt x="6353" y="942929"/>
                  <a:pt x="0" y="936576"/>
                  <a:pt x="0" y="928749"/>
                </a:cubicBezTo>
                <a:cubicBezTo>
                  <a:pt x="0" y="920921"/>
                  <a:pt x="6353" y="914568"/>
                  <a:pt x="14181" y="914568"/>
                </a:cubicBezTo>
                <a:close/>
                <a:moveTo>
                  <a:pt x="14181" y="857222"/>
                </a:moveTo>
                <a:cubicBezTo>
                  <a:pt x="22008" y="857222"/>
                  <a:pt x="28361" y="863575"/>
                  <a:pt x="28361" y="871402"/>
                </a:cubicBezTo>
                <a:cubicBezTo>
                  <a:pt x="28361" y="879230"/>
                  <a:pt x="22008" y="885583"/>
                  <a:pt x="14181" y="885583"/>
                </a:cubicBezTo>
                <a:cubicBezTo>
                  <a:pt x="6353" y="885583"/>
                  <a:pt x="0" y="879230"/>
                  <a:pt x="0" y="871402"/>
                </a:cubicBezTo>
                <a:cubicBezTo>
                  <a:pt x="0" y="863575"/>
                  <a:pt x="6353" y="857222"/>
                  <a:pt x="14181" y="857222"/>
                </a:cubicBezTo>
                <a:close/>
                <a:moveTo>
                  <a:pt x="14181" y="799819"/>
                </a:moveTo>
                <a:cubicBezTo>
                  <a:pt x="22008" y="799819"/>
                  <a:pt x="28361" y="806172"/>
                  <a:pt x="28361" y="814000"/>
                </a:cubicBezTo>
                <a:cubicBezTo>
                  <a:pt x="28361" y="821827"/>
                  <a:pt x="22008" y="828180"/>
                  <a:pt x="14181" y="828180"/>
                </a:cubicBezTo>
                <a:cubicBezTo>
                  <a:pt x="6353" y="828180"/>
                  <a:pt x="0" y="821827"/>
                  <a:pt x="0" y="814000"/>
                </a:cubicBezTo>
                <a:cubicBezTo>
                  <a:pt x="0" y="806172"/>
                  <a:pt x="6353" y="799819"/>
                  <a:pt x="14181" y="799819"/>
                </a:cubicBezTo>
                <a:close/>
                <a:moveTo>
                  <a:pt x="14181" y="742416"/>
                </a:moveTo>
                <a:cubicBezTo>
                  <a:pt x="22008" y="742416"/>
                  <a:pt x="28361" y="748769"/>
                  <a:pt x="28361" y="756653"/>
                </a:cubicBezTo>
                <a:cubicBezTo>
                  <a:pt x="28361" y="764481"/>
                  <a:pt x="22008" y="770834"/>
                  <a:pt x="14181" y="770834"/>
                </a:cubicBezTo>
                <a:cubicBezTo>
                  <a:pt x="6353" y="770834"/>
                  <a:pt x="0" y="764481"/>
                  <a:pt x="0" y="756653"/>
                </a:cubicBezTo>
                <a:cubicBezTo>
                  <a:pt x="0" y="748769"/>
                  <a:pt x="6353" y="742416"/>
                  <a:pt x="14181" y="742416"/>
                </a:cubicBezTo>
                <a:close/>
                <a:moveTo>
                  <a:pt x="14181" y="685070"/>
                </a:moveTo>
                <a:cubicBezTo>
                  <a:pt x="22008" y="685070"/>
                  <a:pt x="28361" y="691423"/>
                  <a:pt x="28361" y="699251"/>
                </a:cubicBezTo>
                <a:cubicBezTo>
                  <a:pt x="28361" y="707078"/>
                  <a:pt x="22008" y="713431"/>
                  <a:pt x="14181" y="713431"/>
                </a:cubicBezTo>
                <a:cubicBezTo>
                  <a:pt x="6353" y="713431"/>
                  <a:pt x="0" y="707078"/>
                  <a:pt x="0" y="699251"/>
                </a:cubicBezTo>
                <a:cubicBezTo>
                  <a:pt x="0" y="691423"/>
                  <a:pt x="6353" y="685070"/>
                  <a:pt x="14181" y="685070"/>
                </a:cubicBezTo>
                <a:close/>
                <a:moveTo>
                  <a:pt x="14181" y="627667"/>
                </a:moveTo>
                <a:cubicBezTo>
                  <a:pt x="22008" y="627667"/>
                  <a:pt x="28361" y="634020"/>
                  <a:pt x="28361" y="641905"/>
                </a:cubicBezTo>
                <a:cubicBezTo>
                  <a:pt x="28361" y="649732"/>
                  <a:pt x="22008" y="656028"/>
                  <a:pt x="14181" y="656028"/>
                </a:cubicBezTo>
                <a:cubicBezTo>
                  <a:pt x="6353" y="656028"/>
                  <a:pt x="0" y="649732"/>
                  <a:pt x="0" y="641905"/>
                </a:cubicBezTo>
                <a:cubicBezTo>
                  <a:pt x="0" y="634020"/>
                  <a:pt x="6353" y="627667"/>
                  <a:pt x="14181" y="627667"/>
                </a:cubicBezTo>
                <a:close/>
                <a:moveTo>
                  <a:pt x="14181" y="570321"/>
                </a:moveTo>
                <a:cubicBezTo>
                  <a:pt x="22008" y="570321"/>
                  <a:pt x="28361" y="576674"/>
                  <a:pt x="28361" y="584502"/>
                </a:cubicBezTo>
                <a:cubicBezTo>
                  <a:pt x="28361" y="592330"/>
                  <a:pt x="22008" y="598682"/>
                  <a:pt x="14181" y="598682"/>
                </a:cubicBezTo>
                <a:cubicBezTo>
                  <a:pt x="6353" y="598682"/>
                  <a:pt x="0" y="592330"/>
                  <a:pt x="0" y="584502"/>
                </a:cubicBezTo>
                <a:cubicBezTo>
                  <a:pt x="0" y="576674"/>
                  <a:pt x="6353" y="570321"/>
                  <a:pt x="14181" y="570321"/>
                </a:cubicBezTo>
                <a:close/>
                <a:moveTo>
                  <a:pt x="14181" y="512918"/>
                </a:moveTo>
                <a:cubicBezTo>
                  <a:pt x="22008" y="512918"/>
                  <a:pt x="28361" y="519271"/>
                  <a:pt x="28361" y="527099"/>
                </a:cubicBezTo>
                <a:cubicBezTo>
                  <a:pt x="28361" y="534926"/>
                  <a:pt x="22008" y="541280"/>
                  <a:pt x="14181" y="541280"/>
                </a:cubicBezTo>
                <a:cubicBezTo>
                  <a:pt x="6353" y="541280"/>
                  <a:pt x="0" y="534926"/>
                  <a:pt x="0" y="527099"/>
                </a:cubicBezTo>
                <a:cubicBezTo>
                  <a:pt x="0" y="519271"/>
                  <a:pt x="6353" y="512918"/>
                  <a:pt x="14181" y="512918"/>
                </a:cubicBezTo>
                <a:close/>
                <a:moveTo>
                  <a:pt x="14181" y="455572"/>
                </a:moveTo>
                <a:cubicBezTo>
                  <a:pt x="22008" y="455572"/>
                  <a:pt x="28361" y="461868"/>
                  <a:pt x="28361" y="469753"/>
                </a:cubicBezTo>
                <a:cubicBezTo>
                  <a:pt x="28361" y="477580"/>
                  <a:pt x="22008" y="483933"/>
                  <a:pt x="14181" y="483933"/>
                </a:cubicBezTo>
                <a:cubicBezTo>
                  <a:pt x="6353" y="483933"/>
                  <a:pt x="0" y="477580"/>
                  <a:pt x="0" y="469753"/>
                </a:cubicBezTo>
                <a:cubicBezTo>
                  <a:pt x="0" y="461868"/>
                  <a:pt x="6353" y="455572"/>
                  <a:pt x="14181" y="455572"/>
                </a:cubicBezTo>
                <a:close/>
                <a:moveTo>
                  <a:pt x="14181" y="398169"/>
                </a:moveTo>
                <a:cubicBezTo>
                  <a:pt x="22008" y="398169"/>
                  <a:pt x="28361" y="404522"/>
                  <a:pt x="28361" y="412350"/>
                </a:cubicBezTo>
                <a:cubicBezTo>
                  <a:pt x="28361" y="420177"/>
                  <a:pt x="22008" y="426530"/>
                  <a:pt x="14181" y="426530"/>
                </a:cubicBezTo>
                <a:cubicBezTo>
                  <a:pt x="6353" y="426530"/>
                  <a:pt x="0" y="420177"/>
                  <a:pt x="0" y="412350"/>
                </a:cubicBezTo>
                <a:cubicBezTo>
                  <a:pt x="0" y="404522"/>
                  <a:pt x="6353" y="398169"/>
                  <a:pt x="14181" y="398169"/>
                </a:cubicBezTo>
                <a:close/>
                <a:moveTo>
                  <a:pt x="14181" y="340766"/>
                </a:moveTo>
                <a:cubicBezTo>
                  <a:pt x="22008" y="340766"/>
                  <a:pt x="28361" y="347119"/>
                  <a:pt x="28361" y="355004"/>
                </a:cubicBezTo>
                <a:cubicBezTo>
                  <a:pt x="28361" y="362831"/>
                  <a:pt x="22008" y="369128"/>
                  <a:pt x="14181" y="369128"/>
                </a:cubicBezTo>
                <a:cubicBezTo>
                  <a:pt x="6353" y="369128"/>
                  <a:pt x="0" y="362831"/>
                  <a:pt x="0" y="355004"/>
                </a:cubicBezTo>
                <a:cubicBezTo>
                  <a:pt x="0" y="347119"/>
                  <a:pt x="6353" y="340766"/>
                  <a:pt x="14181" y="340766"/>
                </a:cubicBezTo>
                <a:close/>
                <a:moveTo>
                  <a:pt x="38684" y="293545"/>
                </a:moveTo>
                <a:cubicBezTo>
                  <a:pt x="42314" y="293545"/>
                  <a:pt x="45945" y="294934"/>
                  <a:pt x="48724" y="297714"/>
                </a:cubicBezTo>
                <a:cubicBezTo>
                  <a:pt x="54283" y="303273"/>
                  <a:pt x="54283" y="312235"/>
                  <a:pt x="48724" y="317794"/>
                </a:cubicBezTo>
                <a:cubicBezTo>
                  <a:pt x="45945" y="320517"/>
                  <a:pt x="42315" y="321935"/>
                  <a:pt x="38684" y="321935"/>
                </a:cubicBezTo>
                <a:cubicBezTo>
                  <a:pt x="35054" y="321935"/>
                  <a:pt x="31424" y="320517"/>
                  <a:pt x="28645" y="317794"/>
                </a:cubicBezTo>
                <a:cubicBezTo>
                  <a:pt x="23143" y="312235"/>
                  <a:pt x="23143" y="303273"/>
                  <a:pt x="28645" y="297714"/>
                </a:cubicBezTo>
                <a:cubicBezTo>
                  <a:pt x="31424" y="294934"/>
                  <a:pt x="35054" y="293545"/>
                  <a:pt x="38684" y="293545"/>
                </a:cubicBezTo>
                <a:close/>
                <a:moveTo>
                  <a:pt x="79270" y="252989"/>
                </a:moveTo>
                <a:cubicBezTo>
                  <a:pt x="82900" y="252989"/>
                  <a:pt x="86530" y="254378"/>
                  <a:pt x="89281" y="257158"/>
                </a:cubicBezTo>
                <a:cubicBezTo>
                  <a:pt x="94839" y="262717"/>
                  <a:pt x="94839" y="271679"/>
                  <a:pt x="89281" y="277181"/>
                </a:cubicBezTo>
                <a:cubicBezTo>
                  <a:pt x="86558" y="279960"/>
                  <a:pt x="82928" y="281378"/>
                  <a:pt x="79298" y="281378"/>
                </a:cubicBezTo>
                <a:cubicBezTo>
                  <a:pt x="75667" y="281378"/>
                  <a:pt x="72037" y="279960"/>
                  <a:pt x="69258" y="277181"/>
                </a:cubicBezTo>
                <a:cubicBezTo>
                  <a:pt x="63699" y="271679"/>
                  <a:pt x="63699" y="262717"/>
                  <a:pt x="69258" y="257158"/>
                </a:cubicBezTo>
                <a:cubicBezTo>
                  <a:pt x="72009" y="254378"/>
                  <a:pt x="75639" y="252989"/>
                  <a:pt x="79270" y="252989"/>
                </a:cubicBezTo>
                <a:close/>
                <a:moveTo>
                  <a:pt x="3743323" y="212688"/>
                </a:moveTo>
                <a:cubicBezTo>
                  <a:pt x="3745138" y="212291"/>
                  <a:pt x="3747067" y="212291"/>
                  <a:pt x="3748882" y="212688"/>
                </a:cubicBezTo>
                <a:cubicBezTo>
                  <a:pt x="3749790" y="212858"/>
                  <a:pt x="3750697" y="213141"/>
                  <a:pt x="3751548" y="213482"/>
                </a:cubicBezTo>
                <a:cubicBezTo>
                  <a:pt x="3752399" y="213879"/>
                  <a:pt x="3753193" y="214276"/>
                  <a:pt x="3753987" y="214786"/>
                </a:cubicBezTo>
                <a:cubicBezTo>
                  <a:pt x="3754781" y="215297"/>
                  <a:pt x="3755462" y="215921"/>
                  <a:pt x="3756142" y="216601"/>
                </a:cubicBezTo>
                <a:cubicBezTo>
                  <a:pt x="3756766" y="217226"/>
                  <a:pt x="3757390" y="217963"/>
                  <a:pt x="3757901" y="218757"/>
                </a:cubicBezTo>
                <a:cubicBezTo>
                  <a:pt x="3758411" y="219494"/>
                  <a:pt x="3758865" y="220345"/>
                  <a:pt x="3759205" y="221196"/>
                </a:cubicBezTo>
                <a:cubicBezTo>
                  <a:pt x="3759546" y="222047"/>
                  <a:pt x="3759829" y="222898"/>
                  <a:pt x="3760000" y="223805"/>
                </a:cubicBezTo>
                <a:cubicBezTo>
                  <a:pt x="3760170" y="224769"/>
                  <a:pt x="3760283" y="225677"/>
                  <a:pt x="3760283" y="226585"/>
                </a:cubicBezTo>
                <a:cubicBezTo>
                  <a:pt x="3760283" y="227549"/>
                  <a:pt x="3760170" y="228456"/>
                  <a:pt x="3760000" y="229364"/>
                </a:cubicBezTo>
                <a:cubicBezTo>
                  <a:pt x="3759829" y="230272"/>
                  <a:pt x="3759546" y="231179"/>
                  <a:pt x="3759205" y="232030"/>
                </a:cubicBezTo>
                <a:cubicBezTo>
                  <a:pt x="3758865" y="232881"/>
                  <a:pt x="3758411" y="233732"/>
                  <a:pt x="3757901" y="234469"/>
                </a:cubicBezTo>
                <a:cubicBezTo>
                  <a:pt x="3757390" y="235263"/>
                  <a:pt x="3756766" y="235944"/>
                  <a:pt x="3756142" y="236625"/>
                </a:cubicBezTo>
                <a:cubicBezTo>
                  <a:pt x="3755462" y="237305"/>
                  <a:pt x="3754781" y="237872"/>
                  <a:pt x="3753987" y="238383"/>
                </a:cubicBezTo>
                <a:cubicBezTo>
                  <a:pt x="3753193" y="238893"/>
                  <a:pt x="3752399" y="239347"/>
                  <a:pt x="3751548" y="239687"/>
                </a:cubicBezTo>
                <a:cubicBezTo>
                  <a:pt x="3750697" y="240028"/>
                  <a:pt x="3749790" y="240311"/>
                  <a:pt x="3748882" y="240482"/>
                </a:cubicBezTo>
                <a:cubicBezTo>
                  <a:pt x="3747974" y="240708"/>
                  <a:pt x="3747010" y="240765"/>
                  <a:pt x="3746103" y="240765"/>
                </a:cubicBezTo>
                <a:cubicBezTo>
                  <a:pt x="3745195" y="240765"/>
                  <a:pt x="3744231" y="240765"/>
                  <a:pt x="3743323" y="240482"/>
                </a:cubicBezTo>
                <a:cubicBezTo>
                  <a:pt x="3742415" y="240311"/>
                  <a:pt x="3741565" y="240028"/>
                  <a:pt x="3740657" y="239687"/>
                </a:cubicBezTo>
                <a:cubicBezTo>
                  <a:pt x="3739806" y="239347"/>
                  <a:pt x="3739012" y="238893"/>
                  <a:pt x="3738218" y="238383"/>
                </a:cubicBezTo>
                <a:cubicBezTo>
                  <a:pt x="3737481" y="237872"/>
                  <a:pt x="3736743" y="237305"/>
                  <a:pt x="3736063" y="236625"/>
                </a:cubicBezTo>
                <a:cubicBezTo>
                  <a:pt x="3735439" y="235944"/>
                  <a:pt x="3734815" y="235263"/>
                  <a:pt x="3734304" y="234469"/>
                </a:cubicBezTo>
                <a:cubicBezTo>
                  <a:pt x="3733794" y="233675"/>
                  <a:pt x="3733340" y="232881"/>
                  <a:pt x="3733000" y="232030"/>
                </a:cubicBezTo>
                <a:cubicBezTo>
                  <a:pt x="3732659" y="231179"/>
                  <a:pt x="3732376" y="230272"/>
                  <a:pt x="3732206" y="229364"/>
                </a:cubicBezTo>
                <a:cubicBezTo>
                  <a:pt x="3732036" y="228456"/>
                  <a:pt x="3731922" y="227549"/>
                  <a:pt x="3731922" y="226585"/>
                </a:cubicBezTo>
                <a:cubicBezTo>
                  <a:pt x="3731922" y="225677"/>
                  <a:pt x="3732036" y="224769"/>
                  <a:pt x="3732206" y="223805"/>
                </a:cubicBezTo>
                <a:cubicBezTo>
                  <a:pt x="3732376" y="222898"/>
                  <a:pt x="3732659" y="222047"/>
                  <a:pt x="3733000" y="221196"/>
                </a:cubicBezTo>
                <a:cubicBezTo>
                  <a:pt x="3733340" y="220345"/>
                  <a:pt x="3733794" y="219494"/>
                  <a:pt x="3734304" y="218757"/>
                </a:cubicBezTo>
                <a:cubicBezTo>
                  <a:pt x="3734815" y="217963"/>
                  <a:pt x="3735439" y="217226"/>
                  <a:pt x="3736063" y="216601"/>
                </a:cubicBezTo>
                <a:cubicBezTo>
                  <a:pt x="3736743" y="215921"/>
                  <a:pt x="3737481" y="215297"/>
                  <a:pt x="3738218" y="214786"/>
                </a:cubicBezTo>
                <a:cubicBezTo>
                  <a:pt x="3739012" y="214276"/>
                  <a:pt x="3739806" y="213879"/>
                  <a:pt x="3740657" y="213482"/>
                </a:cubicBezTo>
                <a:cubicBezTo>
                  <a:pt x="3741565" y="213141"/>
                  <a:pt x="3742415" y="212858"/>
                  <a:pt x="3743323" y="212688"/>
                </a:cubicBezTo>
                <a:close/>
                <a:moveTo>
                  <a:pt x="117074" y="212688"/>
                </a:moveTo>
                <a:cubicBezTo>
                  <a:pt x="118889" y="212291"/>
                  <a:pt x="120761" y="212291"/>
                  <a:pt x="122633" y="212688"/>
                </a:cubicBezTo>
                <a:cubicBezTo>
                  <a:pt x="123540" y="212858"/>
                  <a:pt x="124391" y="213141"/>
                  <a:pt x="125242" y="213482"/>
                </a:cubicBezTo>
                <a:cubicBezTo>
                  <a:pt x="126150" y="213879"/>
                  <a:pt x="126944" y="214276"/>
                  <a:pt x="127738" y="214786"/>
                </a:cubicBezTo>
                <a:cubicBezTo>
                  <a:pt x="128475" y="215297"/>
                  <a:pt x="129213" y="215921"/>
                  <a:pt x="129893" y="216601"/>
                </a:cubicBezTo>
                <a:cubicBezTo>
                  <a:pt x="130517" y="217226"/>
                  <a:pt x="131141" y="217963"/>
                  <a:pt x="131652" y="218757"/>
                </a:cubicBezTo>
                <a:cubicBezTo>
                  <a:pt x="132162" y="219494"/>
                  <a:pt x="132559" y="220345"/>
                  <a:pt x="132956" y="221196"/>
                </a:cubicBezTo>
                <a:cubicBezTo>
                  <a:pt x="133297" y="222047"/>
                  <a:pt x="133580" y="222898"/>
                  <a:pt x="133750" y="223805"/>
                </a:cubicBezTo>
                <a:cubicBezTo>
                  <a:pt x="133921" y="224769"/>
                  <a:pt x="134034" y="225677"/>
                  <a:pt x="134034" y="226585"/>
                </a:cubicBezTo>
                <a:cubicBezTo>
                  <a:pt x="134034" y="230328"/>
                  <a:pt x="132502" y="233958"/>
                  <a:pt x="129893" y="236625"/>
                </a:cubicBezTo>
                <a:cubicBezTo>
                  <a:pt x="129213" y="237305"/>
                  <a:pt x="128475" y="237872"/>
                  <a:pt x="127738" y="238383"/>
                </a:cubicBezTo>
                <a:cubicBezTo>
                  <a:pt x="126944" y="238893"/>
                  <a:pt x="126150" y="239347"/>
                  <a:pt x="125242" y="239687"/>
                </a:cubicBezTo>
                <a:cubicBezTo>
                  <a:pt x="124391" y="240028"/>
                  <a:pt x="123540" y="240311"/>
                  <a:pt x="122633" y="240482"/>
                </a:cubicBezTo>
                <a:cubicBezTo>
                  <a:pt x="121725" y="240708"/>
                  <a:pt x="120761" y="240765"/>
                  <a:pt x="119854" y="240765"/>
                </a:cubicBezTo>
                <a:cubicBezTo>
                  <a:pt x="118946" y="240765"/>
                  <a:pt x="117982" y="240765"/>
                  <a:pt x="117074" y="240482"/>
                </a:cubicBezTo>
                <a:cubicBezTo>
                  <a:pt x="116166" y="240311"/>
                  <a:pt x="115259" y="240028"/>
                  <a:pt x="114408" y="239687"/>
                </a:cubicBezTo>
                <a:cubicBezTo>
                  <a:pt x="113557" y="239347"/>
                  <a:pt x="112763" y="238893"/>
                  <a:pt x="111969" y="238383"/>
                </a:cubicBezTo>
                <a:cubicBezTo>
                  <a:pt x="111175" y="237872"/>
                  <a:pt x="110494" y="237305"/>
                  <a:pt x="109814" y="236625"/>
                </a:cubicBezTo>
                <a:cubicBezTo>
                  <a:pt x="109133" y="235944"/>
                  <a:pt x="108566" y="235263"/>
                  <a:pt x="108055" y="234469"/>
                </a:cubicBezTo>
                <a:cubicBezTo>
                  <a:pt x="107545" y="233732"/>
                  <a:pt x="107091" y="232881"/>
                  <a:pt x="106751" y="232030"/>
                </a:cubicBezTo>
                <a:cubicBezTo>
                  <a:pt x="106410" y="231179"/>
                  <a:pt x="106127" y="230272"/>
                  <a:pt x="105957" y="229364"/>
                </a:cubicBezTo>
                <a:cubicBezTo>
                  <a:pt x="105786" y="228456"/>
                  <a:pt x="105673" y="227549"/>
                  <a:pt x="105673" y="226585"/>
                </a:cubicBezTo>
                <a:cubicBezTo>
                  <a:pt x="105673" y="225677"/>
                  <a:pt x="105786" y="224769"/>
                  <a:pt x="105957" y="223805"/>
                </a:cubicBezTo>
                <a:cubicBezTo>
                  <a:pt x="106127" y="222898"/>
                  <a:pt x="106410" y="222047"/>
                  <a:pt x="106751" y="221196"/>
                </a:cubicBezTo>
                <a:cubicBezTo>
                  <a:pt x="107091" y="220345"/>
                  <a:pt x="107545" y="219494"/>
                  <a:pt x="108055" y="218757"/>
                </a:cubicBezTo>
                <a:cubicBezTo>
                  <a:pt x="108566" y="217963"/>
                  <a:pt x="109133" y="217226"/>
                  <a:pt x="109814" y="216601"/>
                </a:cubicBezTo>
                <a:cubicBezTo>
                  <a:pt x="110494" y="215921"/>
                  <a:pt x="111175" y="215297"/>
                  <a:pt x="111969" y="214786"/>
                </a:cubicBezTo>
                <a:cubicBezTo>
                  <a:pt x="112763" y="214276"/>
                  <a:pt x="113557" y="213879"/>
                  <a:pt x="114408" y="213482"/>
                </a:cubicBezTo>
                <a:cubicBezTo>
                  <a:pt x="115259" y="213141"/>
                  <a:pt x="116166" y="212858"/>
                  <a:pt x="117074" y="212688"/>
                </a:cubicBezTo>
                <a:close/>
                <a:moveTo>
                  <a:pt x="3801768" y="212602"/>
                </a:moveTo>
                <a:cubicBezTo>
                  <a:pt x="3805462" y="212602"/>
                  <a:pt x="3809149" y="213935"/>
                  <a:pt x="3811786" y="216601"/>
                </a:cubicBezTo>
                <a:cubicBezTo>
                  <a:pt x="3812467" y="217225"/>
                  <a:pt x="3813034" y="217963"/>
                  <a:pt x="3813545" y="218756"/>
                </a:cubicBezTo>
                <a:cubicBezTo>
                  <a:pt x="3814055" y="219494"/>
                  <a:pt x="3814509" y="220345"/>
                  <a:pt x="3814849" y="221195"/>
                </a:cubicBezTo>
                <a:cubicBezTo>
                  <a:pt x="3815190" y="222046"/>
                  <a:pt x="3815473" y="222897"/>
                  <a:pt x="3815644" y="223805"/>
                </a:cubicBezTo>
                <a:cubicBezTo>
                  <a:pt x="3815870" y="224769"/>
                  <a:pt x="3815927" y="225677"/>
                  <a:pt x="3815927" y="226584"/>
                </a:cubicBezTo>
                <a:cubicBezTo>
                  <a:pt x="3815927" y="227548"/>
                  <a:pt x="3815870" y="228456"/>
                  <a:pt x="3815644" y="229363"/>
                </a:cubicBezTo>
                <a:cubicBezTo>
                  <a:pt x="3815473" y="230271"/>
                  <a:pt x="3815190" y="231179"/>
                  <a:pt x="3814849" y="232030"/>
                </a:cubicBezTo>
                <a:cubicBezTo>
                  <a:pt x="3814509" y="232880"/>
                  <a:pt x="3814055" y="233731"/>
                  <a:pt x="3813545" y="234469"/>
                </a:cubicBezTo>
                <a:cubicBezTo>
                  <a:pt x="3813034" y="235263"/>
                  <a:pt x="3812467" y="235943"/>
                  <a:pt x="3811786" y="236624"/>
                </a:cubicBezTo>
                <a:cubicBezTo>
                  <a:pt x="3809177" y="239290"/>
                  <a:pt x="3805490" y="240765"/>
                  <a:pt x="3801747" y="240765"/>
                </a:cubicBezTo>
                <a:cubicBezTo>
                  <a:pt x="3798059" y="240765"/>
                  <a:pt x="3794373" y="239290"/>
                  <a:pt x="3791707" y="236624"/>
                </a:cubicBezTo>
                <a:cubicBezTo>
                  <a:pt x="3789098" y="233958"/>
                  <a:pt x="3787566" y="230328"/>
                  <a:pt x="3787566" y="226584"/>
                </a:cubicBezTo>
                <a:cubicBezTo>
                  <a:pt x="3787566" y="225677"/>
                  <a:pt x="3787680" y="224769"/>
                  <a:pt x="3787850" y="223805"/>
                </a:cubicBezTo>
                <a:cubicBezTo>
                  <a:pt x="3788020" y="222954"/>
                  <a:pt x="3788303" y="222046"/>
                  <a:pt x="3788644" y="221195"/>
                </a:cubicBezTo>
                <a:cubicBezTo>
                  <a:pt x="3789041" y="220345"/>
                  <a:pt x="3789495" y="219494"/>
                  <a:pt x="3789948" y="218756"/>
                </a:cubicBezTo>
                <a:cubicBezTo>
                  <a:pt x="3790516" y="217963"/>
                  <a:pt x="3791083" y="217225"/>
                  <a:pt x="3791707" y="216601"/>
                </a:cubicBezTo>
                <a:cubicBezTo>
                  <a:pt x="3794373" y="213935"/>
                  <a:pt x="3798074" y="212602"/>
                  <a:pt x="3801768" y="212602"/>
                </a:cubicBezTo>
                <a:close/>
                <a:moveTo>
                  <a:pt x="3689437" y="212404"/>
                </a:moveTo>
                <a:cubicBezTo>
                  <a:pt x="3697265" y="212404"/>
                  <a:pt x="3703618" y="218757"/>
                  <a:pt x="3703618" y="226585"/>
                </a:cubicBezTo>
                <a:cubicBezTo>
                  <a:pt x="3703618" y="234469"/>
                  <a:pt x="3697265" y="240765"/>
                  <a:pt x="3689437" y="240765"/>
                </a:cubicBezTo>
                <a:cubicBezTo>
                  <a:pt x="3681610" y="240765"/>
                  <a:pt x="3675257" y="234469"/>
                  <a:pt x="3675257" y="226585"/>
                </a:cubicBezTo>
                <a:cubicBezTo>
                  <a:pt x="3675257" y="218757"/>
                  <a:pt x="3681610" y="212404"/>
                  <a:pt x="3689437" y="212404"/>
                </a:cubicBezTo>
                <a:close/>
                <a:moveTo>
                  <a:pt x="3632772" y="212404"/>
                </a:moveTo>
                <a:cubicBezTo>
                  <a:pt x="3640600" y="212404"/>
                  <a:pt x="3646952" y="218757"/>
                  <a:pt x="3646952" y="226585"/>
                </a:cubicBezTo>
                <a:cubicBezTo>
                  <a:pt x="3646952" y="234469"/>
                  <a:pt x="3640600" y="240765"/>
                  <a:pt x="3632772" y="240765"/>
                </a:cubicBezTo>
                <a:cubicBezTo>
                  <a:pt x="3624944" y="240765"/>
                  <a:pt x="3618591" y="234469"/>
                  <a:pt x="3618591" y="226585"/>
                </a:cubicBezTo>
                <a:cubicBezTo>
                  <a:pt x="3618591" y="218757"/>
                  <a:pt x="3624944" y="212404"/>
                  <a:pt x="3632772" y="212404"/>
                </a:cubicBezTo>
                <a:close/>
                <a:moveTo>
                  <a:pt x="3576106" y="212404"/>
                </a:moveTo>
                <a:cubicBezTo>
                  <a:pt x="3583934" y="212404"/>
                  <a:pt x="3590287" y="218757"/>
                  <a:pt x="3590287" y="226585"/>
                </a:cubicBezTo>
                <a:cubicBezTo>
                  <a:pt x="3590287" y="234469"/>
                  <a:pt x="3583934" y="240765"/>
                  <a:pt x="3576106" y="240765"/>
                </a:cubicBezTo>
                <a:cubicBezTo>
                  <a:pt x="3568279" y="240765"/>
                  <a:pt x="3561926" y="234469"/>
                  <a:pt x="3561926" y="226585"/>
                </a:cubicBezTo>
                <a:cubicBezTo>
                  <a:pt x="3561926" y="218757"/>
                  <a:pt x="3568279" y="212404"/>
                  <a:pt x="3576106" y="212404"/>
                </a:cubicBezTo>
                <a:close/>
                <a:moveTo>
                  <a:pt x="3519441" y="212404"/>
                </a:moveTo>
                <a:cubicBezTo>
                  <a:pt x="3527268" y="212404"/>
                  <a:pt x="3533621" y="218757"/>
                  <a:pt x="3533621" y="226585"/>
                </a:cubicBezTo>
                <a:cubicBezTo>
                  <a:pt x="3533621" y="234469"/>
                  <a:pt x="3527268" y="240765"/>
                  <a:pt x="3519441" y="240765"/>
                </a:cubicBezTo>
                <a:cubicBezTo>
                  <a:pt x="3511613" y="240765"/>
                  <a:pt x="3505260" y="234469"/>
                  <a:pt x="3505260" y="226585"/>
                </a:cubicBezTo>
                <a:cubicBezTo>
                  <a:pt x="3505260" y="218757"/>
                  <a:pt x="3511613" y="212404"/>
                  <a:pt x="3519441" y="212404"/>
                </a:cubicBezTo>
                <a:close/>
                <a:moveTo>
                  <a:pt x="3462832" y="212404"/>
                </a:moveTo>
                <a:cubicBezTo>
                  <a:pt x="3470660" y="212404"/>
                  <a:pt x="3477013" y="218757"/>
                  <a:pt x="3477013" y="226585"/>
                </a:cubicBezTo>
                <a:cubicBezTo>
                  <a:pt x="3477013" y="234469"/>
                  <a:pt x="3470660" y="240765"/>
                  <a:pt x="3462832" y="240765"/>
                </a:cubicBezTo>
                <a:cubicBezTo>
                  <a:pt x="3454948" y="240765"/>
                  <a:pt x="3448652" y="234469"/>
                  <a:pt x="3448652" y="226585"/>
                </a:cubicBezTo>
                <a:cubicBezTo>
                  <a:pt x="3448652" y="218757"/>
                  <a:pt x="3454948" y="212404"/>
                  <a:pt x="3462832" y="212404"/>
                </a:cubicBezTo>
                <a:close/>
                <a:moveTo>
                  <a:pt x="3406167" y="212404"/>
                </a:moveTo>
                <a:cubicBezTo>
                  <a:pt x="3413994" y="212404"/>
                  <a:pt x="3420347" y="218757"/>
                  <a:pt x="3420347" y="226585"/>
                </a:cubicBezTo>
                <a:cubicBezTo>
                  <a:pt x="3420347" y="234469"/>
                  <a:pt x="3413994" y="240765"/>
                  <a:pt x="3406167" y="240765"/>
                </a:cubicBezTo>
                <a:cubicBezTo>
                  <a:pt x="3398339" y="240765"/>
                  <a:pt x="3391929" y="234469"/>
                  <a:pt x="3391929" y="226585"/>
                </a:cubicBezTo>
                <a:cubicBezTo>
                  <a:pt x="3391929" y="218757"/>
                  <a:pt x="3398339" y="212404"/>
                  <a:pt x="3406167" y="212404"/>
                </a:cubicBezTo>
                <a:close/>
                <a:moveTo>
                  <a:pt x="3349501" y="212404"/>
                </a:moveTo>
                <a:cubicBezTo>
                  <a:pt x="3357329" y="212404"/>
                  <a:pt x="3363682" y="218757"/>
                  <a:pt x="3363682" y="226585"/>
                </a:cubicBezTo>
                <a:cubicBezTo>
                  <a:pt x="3363682" y="234469"/>
                  <a:pt x="3357329" y="240765"/>
                  <a:pt x="3349501" y="240765"/>
                </a:cubicBezTo>
                <a:cubicBezTo>
                  <a:pt x="3341674" y="240765"/>
                  <a:pt x="3335321" y="234469"/>
                  <a:pt x="3335321" y="226585"/>
                </a:cubicBezTo>
                <a:cubicBezTo>
                  <a:pt x="3335321" y="218757"/>
                  <a:pt x="3341674" y="212404"/>
                  <a:pt x="3349501" y="212404"/>
                </a:cubicBezTo>
                <a:close/>
                <a:moveTo>
                  <a:pt x="3292836" y="212404"/>
                </a:moveTo>
                <a:cubicBezTo>
                  <a:pt x="3300663" y="212404"/>
                  <a:pt x="3307016" y="218757"/>
                  <a:pt x="3307016" y="226585"/>
                </a:cubicBezTo>
                <a:cubicBezTo>
                  <a:pt x="3307016" y="234469"/>
                  <a:pt x="3300663" y="240765"/>
                  <a:pt x="3292836" y="240765"/>
                </a:cubicBezTo>
                <a:cubicBezTo>
                  <a:pt x="3285008" y="240765"/>
                  <a:pt x="3278655" y="234469"/>
                  <a:pt x="3278655" y="226585"/>
                </a:cubicBezTo>
                <a:cubicBezTo>
                  <a:pt x="3278655" y="218757"/>
                  <a:pt x="3285008" y="212404"/>
                  <a:pt x="3292836" y="212404"/>
                </a:cubicBezTo>
                <a:close/>
                <a:moveTo>
                  <a:pt x="3236170" y="212404"/>
                </a:moveTo>
                <a:cubicBezTo>
                  <a:pt x="3243998" y="212404"/>
                  <a:pt x="3250351" y="218757"/>
                  <a:pt x="3250351" y="226585"/>
                </a:cubicBezTo>
                <a:cubicBezTo>
                  <a:pt x="3250351" y="234469"/>
                  <a:pt x="3243998" y="240765"/>
                  <a:pt x="3236170" y="240765"/>
                </a:cubicBezTo>
                <a:cubicBezTo>
                  <a:pt x="3228343" y="240765"/>
                  <a:pt x="3221990" y="234469"/>
                  <a:pt x="3221990" y="226585"/>
                </a:cubicBezTo>
                <a:cubicBezTo>
                  <a:pt x="3221990" y="218757"/>
                  <a:pt x="3228343" y="212404"/>
                  <a:pt x="3236170" y="212404"/>
                </a:cubicBezTo>
                <a:close/>
                <a:moveTo>
                  <a:pt x="3179505" y="212404"/>
                </a:moveTo>
                <a:cubicBezTo>
                  <a:pt x="3187332" y="212404"/>
                  <a:pt x="3193685" y="218757"/>
                  <a:pt x="3193685" y="226585"/>
                </a:cubicBezTo>
                <a:cubicBezTo>
                  <a:pt x="3193685" y="234469"/>
                  <a:pt x="3187332" y="240765"/>
                  <a:pt x="3179505" y="240765"/>
                </a:cubicBezTo>
                <a:cubicBezTo>
                  <a:pt x="3171677" y="240765"/>
                  <a:pt x="3165324" y="234469"/>
                  <a:pt x="3165324" y="226585"/>
                </a:cubicBezTo>
                <a:cubicBezTo>
                  <a:pt x="3165324" y="218757"/>
                  <a:pt x="3171677" y="212404"/>
                  <a:pt x="3179505" y="212404"/>
                </a:cubicBezTo>
                <a:close/>
                <a:moveTo>
                  <a:pt x="3122839" y="212404"/>
                </a:moveTo>
                <a:cubicBezTo>
                  <a:pt x="3130667" y="212404"/>
                  <a:pt x="3137020" y="218757"/>
                  <a:pt x="3137020" y="226585"/>
                </a:cubicBezTo>
                <a:cubicBezTo>
                  <a:pt x="3137020" y="234469"/>
                  <a:pt x="3130667" y="240765"/>
                  <a:pt x="3122839" y="240765"/>
                </a:cubicBezTo>
                <a:cubicBezTo>
                  <a:pt x="3115012" y="240765"/>
                  <a:pt x="3108659" y="234469"/>
                  <a:pt x="3108659" y="226585"/>
                </a:cubicBezTo>
                <a:cubicBezTo>
                  <a:pt x="3108659" y="218757"/>
                  <a:pt x="3115012" y="212404"/>
                  <a:pt x="3122839" y="212404"/>
                </a:cubicBezTo>
                <a:close/>
                <a:moveTo>
                  <a:pt x="3066174" y="212404"/>
                </a:moveTo>
                <a:cubicBezTo>
                  <a:pt x="3074002" y="212404"/>
                  <a:pt x="3080355" y="218757"/>
                  <a:pt x="3080355" y="226585"/>
                </a:cubicBezTo>
                <a:cubicBezTo>
                  <a:pt x="3080355" y="234469"/>
                  <a:pt x="3074002" y="240765"/>
                  <a:pt x="3066174" y="240765"/>
                </a:cubicBezTo>
                <a:cubicBezTo>
                  <a:pt x="3058346" y="240765"/>
                  <a:pt x="3051993" y="234469"/>
                  <a:pt x="3051993" y="226585"/>
                </a:cubicBezTo>
                <a:cubicBezTo>
                  <a:pt x="3051993" y="218757"/>
                  <a:pt x="3058346" y="212404"/>
                  <a:pt x="3066174" y="212404"/>
                </a:cubicBezTo>
                <a:close/>
                <a:moveTo>
                  <a:pt x="3009509" y="212404"/>
                </a:moveTo>
                <a:cubicBezTo>
                  <a:pt x="3017336" y="212404"/>
                  <a:pt x="3023689" y="218757"/>
                  <a:pt x="3023689" y="226585"/>
                </a:cubicBezTo>
                <a:cubicBezTo>
                  <a:pt x="3023689" y="234469"/>
                  <a:pt x="3017336" y="240765"/>
                  <a:pt x="3009509" y="240765"/>
                </a:cubicBezTo>
                <a:cubicBezTo>
                  <a:pt x="3001681" y="240765"/>
                  <a:pt x="2995328" y="234469"/>
                  <a:pt x="2995328" y="226585"/>
                </a:cubicBezTo>
                <a:cubicBezTo>
                  <a:pt x="2995328" y="218757"/>
                  <a:pt x="3001681" y="212404"/>
                  <a:pt x="3009509" y="212404"/>
                </a:cubicBezTo>
                <a:close/>
                <a:moveTo>
                  <a:pt x="2952843" y="212404"/>
                </a:moveTo>
                <a:cubicBezTo>
                  <a:pt x="2960671" y="212404"/>
                  <a:pt x="2967024" y="218757"/>
                  <a:pt x="2967024" y="226585"/>
                </a:cubicBezTo>
                <a:cubicBezTo>
                  <a:pt x="2967024" y="234469"/>
                  <a:pt x="2960671" y="240765"/>
                  <a:pt x="2952843" y="240765"/>
                </a:cubicBezTo>
                <a:cubicBezTo>
                  <a:pt x="2945016" y="240765"/>
                  <a:pt x="2938663" y="234469"/>
                  <a:pt x="2938663" y="226585"/>
                </a:cubicBezTo>
                <a:cubicBezTo>
                  <a:pt x="2938663" y="218757"/>
                  <a:pt x="2945016" y="212404"/>
                  <a:pt x="2952843" y="212404"/>
                </a:cubicBezTo>
                <a:close/>
                <a:moveTo>
                  <a:pt x="2896177" y="212404"/>
                </a:moveTo>
                <a:cubicBezTo>
                  <a:pt x="2904005" y="212404"/>
                  <a:pt x="2910358" y="218757"/>
                  <a:pt x="2910358" y="226585"/>
                </a:cubicBezTo>
                <a:cubicBezTo>
                  <a:pt x="2910358" y="234469"/>
                  <a:pt x="2904005" y="240765"/>
                  <a:pt x="2896177" y="240765"/>
                </a:cubicBezTo>
                <a:cubicBezTo>
                  <a:pt x="2888350" y="240765"/>
                  <a:pt x="2881997" y="234469"/>
                  <a:pt x="2881997" y="226585"/>
                </a:cubicBezTo>
                <a:cubicBezTo>
                  <a:pt x="2881997" y="218757"/>
                  <a:pt x="2888350" y="212404"/>
                  <a:pt x="2896177" y="212404"/>
                </a:cubicBezTo>
                <a:close/>
                <a:moveTo>
                  <a:pt x="2839569" y="212404"/>
                </a:moveTo>
                <a:cubicBezTo>
                  <a:pt x="2847397" y="212404"/>
                  <a:pt x="2853693" y="218757"/>
                  <a:pt x="2853693" y="226585"/>
                </a:cubicBezTo>
                <a:cubicBezTo>
                  <a:pt x="2853693" y="234469"/>
                  <a:pt x="2847397" y="240765"/>
                  <a:pt x="2839569" y="240765"/>
                </a:cubicBezTo>
                <a:cubicBezTo>
                  <a:pt x="2831684" y="240765"/>
                  <a:pt x="2825388" y="234469"/>
                  <a:pt x="2825388" y="226585"/>
                </a:cubicBezTo>
                <a:cubicBezTo>
                  <a:pt x="2825388" y="218757"/>
                  <a:pt x="2831684" y="212404"/>
                  <a:pt x="2839569" y="212404"/>
                </a:cubicBezTo>
                <a:close/>
                <a:moveTo>
                  <a:pt x="2782847" y="212404"/>
                </a:moveTo>
                <a:cubicBezTo>
                  <a:pt x="2790731" y="212404"/>
                  <a:pt x="2797084" y="218757"/>
                  <a:pt x="2797084" y="226585"/>
                </a:cubicBezTo>
                <a:cubicBezTo>
                  <a:pt x="2797084" y="234469"/>
                  <a:pt x="2790731" y="240765"/>
                  <a:pt x="2782847" y="240765"/>
                </a:cubicBezTo>
                <a:cubicBezTo>
                  <a:pt x="2775019" y="240765"/>
                  <a:pt x="2768723" y="234469"/>
                  <a:pt x="2768723" y="226585"/>
                </a:cubicBezTo>
                <a:cubicBezTo>
                  <a:pt x="2768723" y="218757"/>
                  <a:pt x="2775019" y="212404"/>
                  <a:pt x="2782847" y="212404"/>
                </a:cubicBezTo>
                <a:close/>
                <a:moveTo>
                  <a:pt x="2726238" y="212404"/>
                </a:moveTo>
                <a:cubicBezTo>
                  <a:pt x="2734066" y="212404"/>
                  <a:pt x="2740419" y="218757"/>
                  <a:pt x="2740419" y="226585"/>
                </a:cubicBezTo>
                <a:cubicBezTo>
                  <a:pt x="2740419" y="234469"/>
                  <a:pt x="2734066" y="240765"/>
                  <a:pt x="2726238" y="240765"/>
                </a:cubicBezTo>
                <a:cubicBezTo>
                  <a:pt x="2718410" y="240765"/>
                  <a:pt x="2712058" y="234469"/>
                  <a:pt x="2712058" y="226585"/>
                </a:cubicBezTo>
                <a:cubicBezTo>
                  <a:pt x="2712058" y="218757"/>
                  <a:pt x="2718410" y="212404"/>
                  <a:pt x="2726238" y="212404"/>
                </a:cubicBezTo>
                <a:close/>
                <a:moveTo>
                  <a:pt x="2669573" y="212404"/>
                </a:moveTo>
                <a:cubicBezTo>
                  <a:pt x="2677400" y="212404"/>
                  <a:pt x="2683753" y="218757"/>
                  <a:pt x="2683753" y="226585"/>
                </a:cubicBezTo>
                <a:cubicBezTo>
                  <a:pt x="2683753" y="234469"/>
                  <a:pt x="2677400" y="240765"/>
                  <a:pt x="2669573" y="240765"/>
                </a:cubicBezTo>
                <a:cubicBezTo>
                  <a:pt x="2661745" y="240765"/>
                  <a:pt x="2655392" y="234469"/>
                  <a:pt x="2655392" y="226585"/>
                </a:cubicBezTo>
                <a:cubicBezTo>
                  <a:pt x="2655392" y="218757"/>
                  <a:pt x="2661745" y="212404"/>
                  <a:pt x="2669573" y="212404"/>
                </a:cubicBezTo>
                <a:close/>
                <a:moveTo>
                  <a:pt x="2612907" y="212404"/>
                </a:moveTo>
                <a:cubicBezTo>
                  <a:pt x="2620735" y="212404"/>
                  <a:pt x="2627087" y="218757"/>
                  <a:pt x="2627087" y="226585"/>
                </a:cubicBezTo>
                <a:cubicBezTo>
                  <a:pt x="2627087" y="234469"/>
                  <a:pt x="2620735" y="240765"/>
                  <a:pt x="2612907" y="240765"/>
                </a:cubicBezTo>
                <a:cubicBezTo>
                  <a:pt x="2605080" y="240765"/>
                  <a:pt x="2598726" y="234469"/>
                  <a:pt x="2598726" y="226585"/>
                </a:cubicBezTo>
                <a:cubicBezTo>
                  <a:pt x="2598726" y="218757"/>
                  <a:pt x="2605080" y="212404"/>
                  <a:pt x="2612907" y="212404"/>
                </a:cubicBezTo>
                <a:close/>
                <a:moveTo>
                  <a:pt x="2556242" y="212404"/>
                </a:moveTo>
                <a:cubicBezTo>
                  <a:pt x="2564069" y="212404"/>
                  <a:pt x="2570422" y="218757"/>
                  <a:pt x="2570422" y="226585"/>
                </a:cubicBezTo>
                <a:cubicBezTo>
                  <a:pt x="2570422" y="234469"/>
                  <a:pt x="2564069" y="240765"/>
                  <a:pt x="2556242" y="240765"/>
                </a:cubicBezTo>
                <a:cubicBezTo>
                  <a:pt x="2548414" y="240765"/>
                  <a:pt x="2542061" y="234469"/>
                  <a:pt x="2542061" y="226585"/>
                </a:cubicBezTo>
                <a:cubicBezTo>
                  <a:pt x="2542061" y="218757"/>
                  <a:pt x="2548414" y="212404"/>
                  <a:pt x="2556242" y="212404"/>
                </a:cubicBezTo>
                <a:close/>
                <a:moveTo>
                  <a:pt x="2499576" y="212404"/>
                </a:moveTo>
                <a:cubicBezTo>
                  <a:pt x="2507404" y="212404"/>
                  <a:pt x="2513757" y="218757"/>
                  <a:pt x="2513757" y="226585"/>
                </a:cubicBezTo>
                <a:cubicBezTo>
                  <a:pt x="2513757" y="234469"/>
                  <a:pt x="2507404" y="240765"/>
                  <a:pt x="2499576" y="240765"/>
                </a:cubicBezTo>
                <a:cubicBezTo>
                  <a:pt x="2491748" y="240765"/>
                  <a:pt x="2485396" y="234469"/>
                  <a:pt x="2485396" y="226585"/>
                </a:cubicBezTo>
                <a:cubicBezTo>
                  <a:pt x="2485396" y="218757"/>
                  <a:pt x="2491748" y="212404"/>
                  <a:pt x="2499576" y="212404"/>
                </a:cubicBezTo>
                <a:close/>
                <a:moveTo>
                  <a:pt x="2442911" y="212404"/>
                </a:moveTo>
                <a:cubicBezTo>
                  <a:pt x="2450738" y="212404"/>
                  <a:pt x="2457091" y="218757"/>
                  <a:pt x="2457091" y="226585"/>
                </a:cubicBezTo>
                <a:cubicBezTo>
                  <a:pt x="2457091" y="234469"/>
                  <a:pt x="2450738" y="240765"/>
                  <a:pt x="2442911" y="240765"/>
                </a:cubicBezTo>
                <a:cubicBezTo>
                  <a:pt x="2435083" y="240765"/>
                  <a:pt x="2428730" y="234469"/>
                  <a:pt x="2428730" y="226585"/>
                </a:cubicBezTo>
                <a:cubicBezTo>
                  <a:pt x="2428730" y="218757"/>
                  <a:pt x="2435083" y="212404"/>
                  <a:pt x="2442911" y="212404"/>
                </a:cubicBezTo>
                <a:close/>
                <a:moveTo>
                  <a:pt x="2386245" y="212404"/>
                </a:moveTo>
                <a:cubicBezTo>
                  <a:pt x="2394073" y="212404"/>
                  <a:pt x="2400426" y="218757"/>
                  <a:pt x="2400426" y="226585"/>
                </a:cubicBezTo>
                <a:cubicBezTo>
                  <a:pt x="2400426" y="234469"/>
                  <a:pt x="2394073" y="240765"/>
                  <a:pt x="2386245" y="240765"/>
                </a:cubicBezTo>
                <a:cubicBezTo>
                  <a:pt x="2378418" y="240765"/>
                  <a:pt x="2372065" y="234469"/>
                  <a:pt x="2372065" y="226585"/>
                </a:cubicBezTo>
                <a:cubicBezTo>
                  <a:pt x="2372065" y="218757"/>
                  <a:pt x="2378418" y="212404"/>
                  <a:pt x="2386245" y="212404"/>
                </a:cubicBezTo>
                <a:close/>
                <a:moveTo>
                  <a:pt x="2329580" y="212404"/>
                </a:moveTo>
                <a:cubicBezTo>
                  <a:pt x="2337408" y="212404"/>
                  <a:pt x="2343761" y="218757"/>
                  <a:pt x="2343761" y="226585"/>
                </a:cubicBezTo>
                <a:cubicBezTo>
                  <a:pt x="2343761" y="234469"/>
                  <a:pt x="2337408" y="240765"/>
                  <a:pt x="2329580" y="240765"/>
                </a:cubicBezTo>
                <a:cubicBezTo>
                  <a:pt x="2321752" y="240765"/>
                  <a:pt x="2315399" y="234469"/>
                  <a:pt x="2315399" y="226585"/>
                </a:cubicBezTo>
                <a:cubicBezTo>
                  <a:pt x="2315399" y="218757"/>
                  <a:pt x="2321752" y="212404"/>
                  <a:pt x="2329580" y="212404"/>
                </a:cubicBezTo>
                <a:close/>
                <a:moveTo>
                  <a:pt x="2272915" y="212404"/>
                </a:moveTo>
                <a:cubicBezTo>
                  <a:pt x="2280742" y="212404"/>
                  <a:pt x="2287095" y="218757"/>
                  <a:pt x="2287095" y="226585"/>
                </a:cubicBezTo>
                <a:cubicBezTo>
                  <a:pt x="2287095" y="234469"/>
                  <a:pt x="2280742" y="240765"/>
                  <a:pt x="2272915" y="240765"/>
                </a:cubicBezTo>
                <a:cubicBezTo>
                  <a:pt x="2265087" y="240765"/>
                  <a:pt x="2258734" y="234469"/>
                  <a:pt x="2258734" y="226585"/>
                </a:cubicBezTo>
                <a:cubicBezTo>
                  <a:pt x="2258734" y="218757"/>
                  <a:pt x="2265087" y="212404"/>
                  <a:pt x="2272915" y="212404"/>
                </a:cubicBezTo>
                <a:close/>
                <a:moveTo>
                  <a:pt x="2216306" y="212404"/>
                </a:moveTo>
                <a:cubicBezTo>
                  <a:pt x="2224133" y="212404"/>
                  <a:pt x="2230429" y="218757"/>
                  <a:pt x="2230429" y="226585"/>
                </a:cubicBezTo>
                <a:cubicBezTo>
                  <a:pt x="2230429" y="234469"/>
                  <a:pt x="2224133" y="240765"/>
                  <a:pt x="2216306" y="240765"/>
                </a:cubicBezTo>
                <a:cubicBezTo>
                  <a:pt x="2208421" y="240765"/>
                  <a:pt x="2202125" y="234469"/>
                  <a:pt x="2202125" y="226585"/>
                </a:cubicBezTo>
                <a:cubicBezTo>
                  <a:pt x="2202125" y="218757"/>
                  <a:pt x="2208421" y="212404"/>
                  <a:pt x="2216306" y="212404"/>
                </a:cubicBezTo>
                <a:close/>
                <a:moveTo>
                  <a:pt x="2159640" y="212404"/>
                </a:moveTo>
                <a:cubicBezTo>
                  <a:pt x="2167468" y="212404"/>
                  <a:pt x="2173821" y="218757"/>
                  <a:pt x="2173821" y="226585"/>
                </a:cubicBezTo>
                <a:cubicBezTo>
                  <a:pt x="2173821" y="234469"/>
                  <a:pt x="2167468" y="240765"/>
                  <a:pt x="2159640" y="240765"/>
                </a:cubicBezTo>
                <a:cubicBezTo>
                  <a:pt x="2151756" y="240765"/>
                  <a:pt x="2145403" y="234469"/>
                  <a:pt x="2145403" y="226585"/>
                </a:cubicBezTo>
                <a:cubicBezTo>
                  <a:pt x="2145403" y="218757"/>
                  <a:pt x="2151756" y="212404"/>
                  <a:pt x="2159640" y="212404"/>
                </a:cubicBezTo>
                <a:close/>
                <a:moveTo>
                  <a:pt x="2102975" y="212404"/>
                </a:moveTo>
                <a:cubicBezTo>
                  <a:pt x="2110802" y="212404"/>
                  <a:pt x="2117155" y="218757"/>
                  <a:pt x="2117155" y="226585"/>
                </a:cubicBezTo>
                <a:cubicBezTo>
                  <a:pt x="2117155" y="234469"/>
                  <a:pt x="2110802" y="240765"/>
                  <a:pt x="2102975" y="240765"/>
                </a:cubicBezTo>
                <a:cubicBezTo>
                  <a:pt x="2095147" y="240765"/>
                  <a:pt x="2088794" y="234469"/>
                  <a:pt x="2088794" y="226585"/>
                </a:cubicBezTo>
                <a:cubicBezTo>
                  <a:pt x="2088794" y="218757"/>
                  <a:pt x="2095147" y="212404"/>
                  <a:pt x="2102975" y="212404"/>
                </a:cubicBezTo>
                <a:close/>
                <a:moveTo>
                  <a:pt x="2046309" y="212404"/>
                </a:moveTo>
                <a:cubicBezTo>
                  <a:pt x="2054137" y="212404"/>
                  <a:pt x="2060490" y="218757"/>
                  <a:pt x="2060490" y="226585"/>
                </a:cubicBezTo>
                <a:cubicBezTo>
                  <a:pt x="2060490" y="234469"/>
                  <a:pt x="2054137" y="240765"/>
                  <a:pt x="2046309" y="240765"/>
                </a:cubicBezTo>
                <a:cubicBezTo>
                  <a:pt x="2038482" y="240765"/>
                  <a:pt x="2032129" y="234469"/>
                  <a:pt x="2032129" y="226585"/>
                </a:cubicBezTo>
                <a:cubicBezTo>
                  <a:pt x="2032129" y="218757"/>
                  <a:pt x="2038482" y="212404"/>
                  <a:pt x="2046309" y="212404"/>
                </a:cubicBezTo>
                <a:close/>
                <a:moveTo>
                  <a:pt x="1989644" y="212404"/>
                </a:moveTo>
                <a:cubicBezTo>
                  <a:pt x="1997471" y="212404"/>
                  <a:pt x="2003825" y="218757"/>
                  <a:pt x="2003825" y="226585"/>
                </a:cubicBezTo>
                <a:cubicBezTo>
                  <a:pt x="2003825" y="234469"/>
                  <a:pt x="1997471" y="240765"/>
                  <a:pt x="1989644" y="240765"/>
                </a:cubicBezTo>
                <a:cubicBezTo>
                  <a:pt x="1981816" y="240765"/>
                  <a:pt x="1975463" y="234469"/>
                  <a:pt x="1975463" y="226585"/>
                </a:cubicBezTo>
                <a:cubicBezTo>
                  <a:pt x="1975463" y="218757"/>
                  <a:pt x="1981816" y="212404"/>
                  <a:pt x="1989644" y="212404"/>
                </a:cubicBezTo>
                <a:close/>
                <a:moveTo>
                  <a:pt x="1932978" y="212404"/>
                </a:moveTo>
                <a:cubicBezTo>
                  <a:pt x="1940806" y="212404"/>
                  <a:pt x="1947159" y="218757"/>
                  <a:pt x="1947159" y="226585"/>
                </a:cubicBezTo>
                <a:cubicBezTo>
                  <a:pt x="1947159" y="234469"/>
                  <a:pt x="1940806" y="240765"/>
                  <a:pt x="1932978" y="240765"/>
                </a:cubicBezTo>
                <a:cubicBezTo>
                  <a:pt x="1925151" y="240765"/>
                  <a:pt x="1918798" y="234469"/>
                  <a:pt x="1918798" y="226585"/>
                </a:cubicBezTo>
                <a:cubicBezTo>
                  <a:pt x="1918798" y="218757"/>
                  <a:pt x="1925151" y="212404"/>
                  <a:pt x="1932978" y="212404"/>
                </a:cubicBezTo>
                <a:close/>
                <a:moveTo>
                  <a:pt x="1876313" y="212404"/>
                </a:moveTo>
                <a:cubicBezTo>
                  <a:pt x="1884141" y="212404"/>
                  <a:pt x="1890493" y="218757"/>
                  <a:pt x="1890493" y="226585"/>
                </a:cubicBezTo>
                <a:cubicBezTo>
                  <a:pt x="1890493" y="234469"/>
                  <a:pt x="1884141" y="240765"/>
                  <a:pt x="1876313" y="240765"/>
                </a:cubicBezTo>
                <a:cubicBezTo>
                  <a:pt x="1868485" y="240765"/>
                  <a:pt x="1862132" y="234469"/>
                  <a:pt x="1862132" y="226585"/>
                </a:cubicBezTo>
                <a:cubicBezTo>
                  <a:pt x="1862132" y="218757"/>
                  <a:pt x="1868485" y="212404"/>
                  <a:pt x="1876313" y="212404"/>
                </a:cubicBezTo>
                <a:close/>
                <a:moveTo>
                  <a:pt x="1819647" y="212404"/>
                </a:moveTo>
                <a:cubicBezTo>
                  <a:pt x="1827475" y="212404"/>
                  <a:pt x="1833828" y="218757"/>
                  <a:pt x="1833828" y="226585"/>
                </a:cubicBezTo>
                <a:cubicBezTo>
                  <a:pt x="1833828" y="234469"/>
                  <a:pt x="1827475" y="240765"/>
                  <a:pt x="1819647" y="240765"/>
                </a:cubicBezTo>
                <a:cubicBezTo>
                  <a:pt x="1811820" y="240765"/>
                  <a:pt x="1805467" y="234469"/>
                  <a:pt x="1805467" y="226585"/>
                </a:cubicBezTo>
                <a:cubicBezTo>
                  <a:pt x="1805467" y="218757"/>
                  <a:pt x="1811820" y="212404"/>
                  <a:pt x="1819647" y="212404"/>
                </a:cubicBezTo>
                <a:close/>
                <a:moveTo>
                  <a:pt x="1762982" y="212404"/>
                </a:moveTo>
                <a:cubicBezTo>
                  <a:pt x="1770810" y="212404"/>
                  <a:pt x="1777163" y="218757"/>
                  <a:pt x="1777163" y="226585"/>
                </a:cubicBezTo>
                <a:cubicBezTo>
                  <a:pt x="1777163" y="234469"/>
                  <a:pt x="1770810" y="240765"/>
                  <a:pt x="1762982" y="240765"/>
                </a:cubicBezTo>
                <a:cubicBezTo>
                  <a:pt x="1755154" y="240765"/>
                  <a:pt x="1748802" y="234469"/>
                  <a:pt x="1748802" y="226585"/>
                </a:cubicBezTo>
                <a:cubicBezTo>
                  <a:pt x="1748802" y="218757"/>
                  <a:pt x="1755154" y="212404"/>
                  <a:pt x="1762982" y="212404"/>
                </a:cubicBezTo>
                <a:close/>
                <a:moveTo>
                  <a:pt x="1706317" y="212404"/>
                </a:moveTo>
                <a:cubicBezTo>
                  <a:pt x="1714144" y="212404"/>
                  <a:pt x="1720497" y="218757"/>
                  <a:pt x="1720497" y="226585"/>
                </a:cubicBezTo>
                <a:cubicBezTo>
                  <a:pt x="1720497" y="234469"/>
                  <a:pt x="1714144" y="240765"/>
                  <a:pt x="1706317" y="240765"/>
                </a:cubicBezTo>
                <a:cubicBezTo>
                  <a:pt x="1698489" y="240765"/>
                  <a:pt x="1692136" y="234469"/>
                  <a:pt x="1692136" y="226585"/>
                </a:cubicBezTo>
                <a:cubicBezTo>
                  <a:pt x="1692136" y="218757"/>
                  <a:pt x="1698489" y="212404"/>
                  <a:pt x="1706317" y="212404"/>
                </a:cubicBezTo>
                <a:close/>
                <a:moveTo>
                  <a:pt x="1649651" y="212404"/>
                </a:moveTo>
                <a:cubicBezTo>
                  <a:pt x="1657479" y="212404"/>
                  <a:pt x="1663832" y="218757"/>
                  <a:pt x="1663832" y="226585"/>
                </a:cubicBezTo>
                <a:cubicBezTo>
                  <a:pt x="1663832" y="234469"/>
                  <a:pt x="1657479" y="240765"/>
                  <a:pt x="1649651" y="240765"/>
                </a:cubicBezTo>
                <a:cubicBezTo>
                  <a:pt x="1641824" y="240765"/>
                  <a:pt x="1635471" y="234469"/>
                  <a:pt x="1635471" y="226585"/>
                </a:cubicBezTo>
                <a:cubicBezTo>
                  <a:pt x="1635471" y="218757"/>
                  <a:pt x="1641824" y="212404"/>
                  <a:pt x="1649651" y="212404"/>
                </a:cubicBezTo>
                <a:close/>
                <a:moveTo>
                  <a:pt x="1593042" y="212404"/>
                </a:moveTo>
                <a:cubicBezTo>
                  <a:pt x="1600870" y="212404"/>
                  <a:pt x="1607223" y="218757"/>
                  <a:pt x="1607223" y="226585"/>
                </a:cubicBezTo>
                <a:cubicBezTo>
                  <a:pt x="1607223" y="234469"/>
                  <a:pt x="1600870" y="240765"/>
                  <a:pt x="1593042" y="240765"/>
                </a:cubicBezTo>
                <a:cubicBezTo>
                  <a:pt x="1585158" y="240765"/>
                  <a:pt x="1578862" y="234469"/>
                  <a:pt x="1578862" y="226585"/>
                </a:cubicBezTo>
                <a:cubicBezTo>
                  <a:pt x="1578862" y="218757"/>
                  <a:pt x="1585158" y="212404"/>
                  <a:pt x="1593042" y="212404"/>
                </a:cubicBezTo>
                <a:close/>
                <a:moveTo>
                  <a:pt x="1536377" y="212404"/>
                </a:moveTo>
                <a:cubicBezTo>
                  <a:pt x="1544205" y="212404"/>
                  <a:pt x="1550557" y="218757"/>
                  <a:pt x="1550557" y="226585"/>
                </a:cubicBezTo>
                <a:cubicBezTo>
                  <a:pt x="1550557" y="234469"/>
                  <a:pt x="1544205" y="240765"/>
                  <a:pt x="1536377" y="240765"/>
                </a:cubicBezTo>
                <a:cubicBezTo>
                  <a:pt x="1528549" y="240765"/>
                  <a:pt x="1522140" y="234469"/>
                  <a:pt x="1522140" y="226585"/>
                </a:cubicBezTo>
                <a:cubicBezTo>
                  <a:pt x="1522140" y="218757"/>
                  <a:pt x="1528549" y="212404"/>
                  <a:pt x="1536377" y="212404"/>
                </a:cubicBezTo>
                <a:close/>
                <a:moveTo>
                  <a:pt x="1479712" y="212404"/>
                </a:moveTo>
                <a:cubicBezTo>
                  <a:pt x="1487539" y="212404"/>
                  <a:pt x="1493892" y="218757"/>
                  <a:pt x="1493892" y="226585"/>
                </a:cubicBezTo>
                <a:cubicBezTo>
                  <a:pt x="1493892" y="234469"/>
                  <a:pt x="1487539" y="240765"/>
                  <a:pt x="1479712" y="240765"/>
                </a:cubicBezTo>
                <a:cubicBezTo>
                  <a:pt x="1471884" y="240765"/>
                  <a:pt x="1465531" y="234469"/>
                  <a:pt x="1465531" y="226585"/>
                </a:cubicBezTo>
                <a:cubicBezTo>
                  <a:pt x="1465531" y="218757"/>
                  <a:pt x="1471884" y="212404"/>
                  <a:pt x="1479712" y="212404"/>
                </a:cubicBezTo>
                <a:close/>
                <a:moveTo>
                  <a:pt x="1423046" y="212404"/>
                </a:moveTo>
                <a:cubicBezTo>
                  <a:pt x="1430874" y="212404"/>
                  <a:pt x="1437227" y="218757"/>
                  <a:pt x="1437227" y="226585"/>
                </a:cubicBezTo>
                <a:cubicBezTo>
                  <a:pt x="1437227" y="234469"/>
                  <a:pt x="1430874" y="240765"/>
                  <a:pt x="1423046" y="240765"/>
                </a:cubicBezTo>
                <a:cubicBezTo>
                  <a:pt x="1415218" y="240765"/>
                  <a:pt x="1408866" y="234469"/>
                  <a:pt x="1408866" y="226585"/>
                </a:cubicBezTo>
                <a:cubicBezTo>
                  <a:pt x="1408866" y="218757"/>
                  <a:pt x="1415218" y="212404"/>
                  <a:pt x="1423046" y="212404"/>
                </a:cubicBezTo>
                <a:close/>
                <a:moveTo>
                  <a:pt x="1366381" y="212404"/>
                </a:moveTo>
                <a:cubicBezTo>
                  <a:pt x="1374208" y="212404"/>
                  <a:pt x="1380561" y="218757"/>
                  <a:pt x="1380561" y="226585"/>
                </a:cubicBezTo>
                <a:cubicBezTo>
                  <a:pt x="1380561" y="234469"/>
                  <a:pt x="1374208" y="240765"/>
                  <a:pt x="1366381" y="240765"/>
                </a:cubicBezTo>
                <a:cubicBezTo>
                  <a:pt x="1358553" y="240765"/>
                  <a:pt x="1352200" y="234469"/>
                  <a:pt x="1352200" y="226585"/>
                </a:cubicBezTo>
                <a:cubicBezTo>
                  <a:pt x="1352200" y="218757"/>
                  <a:pt x="1358553" y="212404"/>
                  <a:pt x="1366381" y="212404"/>
                </a:cubicBezTo>
                <a:close/>
                <a:moveTo>
                  <a:pt x="1309715" y="212404"/>
                </a:moveTo>
                <a:cubicBezTo>
                  <a:pt x="1317543" y="212404"/>
                  <a:pt x="1323896" y="218757"/>
                  <a:pt x="1323896" y="226585"/>
                </a:cubicBezTo>
                <a:cubicBezTo>
                  <a:pt x="1323896" y="234469"/>
                  <a:pt x="1317543" y="240765"/>
                  <a:pt x="1309715" y="240765"/>
                </a:cubicBezTo>
                <a:cubicBezTo>
                  <a:pt x="1301887" y="240765"/>
                  <a:pt x="1295535" y="234469"/>
                  <a:pt x="1295535" y="226585"/>
                </a:cubicBezTo>
                <a:cubicBezTo>
                  <a:pt x="1295535" y="218757"/>
                  <a:pt x="1301887" y="212404"/>
                  <a:pt x="1309715" y="212404"/>
                </a:cubicBezTo>
                <a:close/>
                <a:moveTo>
                  <a:pt x="1253050" y="212404"/>
                </a:moveTo>
                <a:cubicBezTo>
                  <a:pt x="1260877" y="212404"/>
                  <a:pt x="1267230" y="218757"/>
                  <a:pt x="1267230" y="226585"/>
                </a:cubicBezTo>
                <a:cubicBezTo>
                  <a:pt x="1267230" y="234469"/>
                  <a:pt x="1260877" y="240765"/>
                  <a:pt x="1253050" y="240765"/>
                </a:cubicBezTo>
                <a:cubicBezTo>
                  <a:pt x="1245222" y="240765"/>
                  <a:pt x="1238869" y="234469"/>
                  <a:pt x="1238869" y="226585"/>
                </a:cubicBezTo>
                <a:cubicBezTo>
                  <a:pt x="1238869" y="218757"/>
                  <a:pt x="1245222" y="212404"/>
                  <a:pt x="1253050" y="212404"/>
                </a:cubicBezTo>
                <a:close/>
                <a:moveTo>
                  <a:pt x="1196384" y="212404"/>
                </a:moveTo>
                <a:cubicBezTo>
                  <a:pt x="1204212" y="212404"/>
                  <a:pt x="1210565" y="218757"/>
                  <a:pt x="1210565" y="226585"/>
                </a:cubicBezTo>
                <a:cubicBezTo>
                  <a:pt x="1210565" y="234469"/>
                  <a:pt x="1204212" y="240765"/>
                  <a:pt x="1196384" y="240765"/>
                </a:cubicBezTo>
                <a:cubicBezTo>
                  <a:pt x="1188556" y="240765"/>
                  <a:pt x="1182204" y="234469"/>
                  <a:pt x="1182204" y="226585"/>
                </a:cubicBezTo>
                <a:cubicBezTo>
                  <a:pt x="1182204" y="218757"/>
                  <a:pt x="1188556" y="212404"/>
                  <a:pt x="1196384" y="212404"/>
                </a:cubicBezTo>
                <a:close/>
                <a:moveTo>
                  <a:pt x="1139719" y="212404"/>
                </a:moveTo>
                <a:cubicBezTo>
                  <a:pt x="1147546" y="212404"/>
                  <a:pt x="1153899" y="218757"/>
                  <a:pt x="1153899" y="226585"/>
                </a:cubicBezTo>
                <a:cubicBezTo>
                  <a:pt x="1153899" y="234469"/>
                  <a:pt x="1147546" y="240765"/>
                  <a:pt x="1139719" y="240765"/>
                </a:cubicBezTo>
                <a:cubicBezTo>
                  <a:pt x="1131891" y="240765"/>
                  <a:pt x="1125538" y="234469"/>
                  <a:pt x="1125538" y="226585"/>
                </a:cubicBezTo>
                <a:cubicBezTo>
                  <a:pt x="1125538" y="218757"/>
                  <a:pt x="1131891" y="212404"/>
                  <a:pt x="1139719" y="212404"/>
                </a:cubicBezTo>
                <a:close/>
                <a:moveTo>
                  <a:pt x="1083053" y="212404"/>
                </a:moveTo>
                <a:cubicBezTo>
                  <a:pt x="1090881" y="212404"/>
                  <a:pt x="1097234" y="218757"/>
                  <a:pt x="1097234" y="226585"/>
                </a:cubicBezTo>
                <a:cubicBezTo>
                  <a:pt x="1097234" y="234469"/>
                  <a:pt x="1090881" y="240765"/>
                  <a:pt x="1083053" y="240765"/>
                </a:cubicBezTo>
                <a:cubicBezTo>
                  <a:pt x="1075226" y="240765"/>
                  <a:pt x="1068873" y="234469"/>
                  <a:pt x="1068873" y="226585"/>
                </a:cubicBezTo>
                <a:cubicBezTo>
                  <a:pt x="1068873" y="218757"/>
                  <a:pt x="1075226" y="212404"/>
                  <a:pt x="1083053" y="212404"/>
                </a:cubicBezTo>
                <a:close/>
                <a:moveTo>
                  <a:pt x="1026388" y="212404"/>
                </a:moveTo>
                <a:cubicBezTo>
                  <a:pt x="1034215" y="212404"/>
                  <a:pt x="1040568" y="218757"/>
                  <a:pt x="1040568" y="226585"/>
                </a:cubicBezTo>
                <a:cubicBezTo>
                  <a:pt x="1040568" y="234469"/>
                  <a:pt x="1034215" y="240765"/>
                  <a:pt x="1026388" y="240765"/>
                </a:cubicBezTo>
                <a:cubicBezTo>
                  <a:pt x="1018560" y="240765"/>
                  <a:pt x="1012207" y="234469"/>
                  <a:pt x="1012207" y="226585"/>
                </a:cubicBezTo>
                <a:cubicBezTo>
                  <a:pt x="1012207" y="218757"/>
                  <a:pt x="1018560" y="212404"/>
                  <a:pt x="1026388" y="212404"/>
                </a:cubicBezTo>
                <a:close/>
                <a:moveTo>
                  <a:pt x="969779" y="212404"/>
                </a:moveTo>
                <a:cubicBezTo>
                  <a:pt x="977607" y="212404"/>
                  <a:pt x="983903" y="218757"/>
                  <a:pt x="983903" y="226585"/>
                </a:cubicBezTo>
                <a:cubicBezTo>
                  <a:pt x="983903" y="234469"/>
                  <a:pt x="977607" y="240765"/>
                  <a:pt x="969779" y="240765"/>
                </a:cubicBezTo>
                <a:cubicBezTo>
                  <a:pt x="961895" y="240765"/>
                  <a:pt x="955599" y="234469"/>
                  <a:pt x="955599" y="226585"/>
                </a:cubicBezTo>
                <a:cubicBezTo>
                  <a:pt x="955599" y="218757"/>
                  <a:pt x="961895" y="212404"/>
                  <a:pt x="969779" y="212404"/>
                </a:cubicBezTo>
                <a:close/>
                <a:moveTo>
                  <a:pt x="913057" y="212404"/>
                </a:moveTo>
                <a:cubicBezTo>
                  <a:pt x="920941" y="212404"/>
                  <a:pt x="927294" y="218757"/>
                  <a:pt x="927294" y="226585"/>
                </a:cubicBezTo>
                <a:cubicBezTo>
                  <a:pt x="927294" y="234469"/>
                  <a:pt x="920941" y="240765"/>
                  <a:pt x="913057" y="240765"/>
                </a:cubicBezTo>
                <a:cubicBezTo>
                  <a:pt x="905229" y="240765"/>
                  <a:pt x="898876" y="234469"/>
                  <a:pt x="898876" y="226585"/>
                </a:cubicBezTo>
                <a:cubicBezTo>
                  <a:pt x="898876" y="218757"/>
                  <a:pt x="905229" y="212404"/>
                  <a:pt x="913057" y="212404"/>
                </a:cubicBezTo>
                <a:close/>
                <a:moveTo>
                  <a:pt x="856448" y="212404"/>
                </a:moveTo>
                <a:cubicBezTo>
                  <a:pt x="864276" y="212404"/>
                  <a:pt x="870629" y="218757"/>
                  <a:pt x="870629" y="226585"/>
                </a:cubicBezTo>
                <a:cubicBezTo>
                  <a:pt x="870629" y="234469"/>
                  <a:pt x="864276" y="240765"/>
                  <a:pt x="856448" y="240765"/>
                </a:cubicBezTo>
                <a:cubicBezTo>
                  <a:pt x="848621" y="240765"/>
                  <a:pt x="842268" y="234469"/>
                  <a:pt x="842268" y="226585"/>
                </a:cubicBezTo>
                <a:cubicBezTo>
                  <a:pt x="842268" y="218757"/>
                  <a:pt x="848621" y="212404"/>
                  <a:pt x="856448" y="212404"/>
                </a:cubicBezTo>
                <a:close/>
                <a:moveTo>
                  <a:pt x="799783" y="212404"/>
                </a:moveTo>
                <a:cubicBezTo>
                  <a:pt x="807611" y="212404"/>
                  <a:pt x="813963" y="218757"/>
                  <a:pt x="813963" y="226585"/>
                </a:cubicBezTo>
                <a:cubicBezTo>
                  <a:pt x="813963" y="234469"/>
                  <a:pt x="807611" y="240765"/>
                  <a:pt x="799783" y="240765"/>
                </a:cubicBezTo>
                <a:cubicBezTo>
                  <a:pt x="791955" y="240765"/>
                  <a:pt x="785602" y="234469"/>
                  <a:pt x="785602" y="226585"/>
                </a:cubicBezTo>
                <a:cubicBezTo>
                  <a:pt x="785602" y="218757"/>
                  <a:pt x="791955" y="212404"/>
                  <a:pt x="799783" y="212404"/>
                </a:cubicBezTo>
                <a:close/>
                <a:moveTo>
                  <a:pt x="743117" y="212404"/>
                </a:moveTo>
                <a:cubicBezTo>
                  <a:pt x="750945" y="212404"/>
                  <a:pt x="757298" y="218757"/>
                  <a:pt x="757298" y="226585"/>
                </a:cubicBezTo>
                <a:cubicBezTo>
                  <a:pt x="757298" y="234469"/>
                  <a:pt x="750945" y="240765"/>
                  <a:pt x="743117" y="240765"/>
                </a:cubicBezTo>
                <a:cubicBezTo>
                  <a:pt x="735290" y="240765"/>
                  <a:pt x="728937" y="234469"/>
                  <a:pt x="728937" y="226585"/>
                </a:cubicBezTo>
                <a:cubicBezTo>
                  <a:pt x="728937" y="218757"/>
                  <a:pt x="735290" y="212404"/>
                  <a:pt x="743117" y="212404"/>
                </a:cubicBezTo>
                <a:close/>
                <a:moveTo>
                  <a:pt x="686452" y="212404"/>
                </a:moveTo>
                <a:cubicBezTo>
                  <a:pt x="694280" y="212404"/>
                  <a:pt x="700632" y="218757"/>
                  <a:pt x="700632" y="226585"/>
                </a:cubicBezTo>
                <a:cubicBezTo>
                  <a:pt x="700632" y="234469"/>
                  <a:pt x="694280" y="240765"/>
                  <a:pt x="686452" y="240765"/>
                </a:cubicBezTo>
                <a:cubicBezTo>
                  <a:pt x="678624" y="240765"/>
                  <a:pt x="672271" y="234469"/>
                  <a:pt x="672271" y="226585"/>
                </a:cubicBezTo>
                <a:cubicBezTo>
                  <a:pt x="672271" y="218757"/>
                  <a:pt x="678624" y="212404"/>
                  <a:pt x="686452" y="212404"/>
                </a:cubicBezTo>
                <a:close/>
                <a:moveTo>
                  <a:pt x="629786" y="212404"/>
                </a:moveTo>
                <a:cubicBezTo>
                  <a:pt x="637614" y="212404"/>
                  <a:pt x="643967" y="218757"/>
                  <a:pt x="643967" y="226585"/>
                </a:cubicBezTo>
                <a:cubicBezTo>
                  <a:pt x="643967" y="234469"/>
                  <a:pt x="637614" y="240765"/>
                  <a:pt x="629786" y="240765"/>
                </a:cubicBezTo>
                <a:cubicBezTo>
                  <a:pt x="621959" y="240765"/>
                  <a:pt x="615606" y="234469"/>
                  <a:pt x="615606" y="226585"/>
                </a:cubicBezTo>
                <a:cubicBezTo>
                  <a:pt x="615606" y="218757"/>
                  <a:pt x="621959" y="212404"/>
                  <a:pt x="629786" y="212404"/>
                </a:cubicBezTo>
                <a:close/>
                <a:moveTo>
                  <a:pt x="573121" y="212404"/>
                </a:moveTo>
                <a:cubicBezTo>
                  <a:pt x="580949" y="212404"/>
                  <a:pt x="587301" y="218757"/>
                  <a:pt x="587301" y="226585"/>
                </a:cubicBezTo>
                <a:cubicBezTo>
                  <a:pt x="587301" y="234469"/>
                  <a:pt x="580949" y="240765"/>
                  <a:pt x="573121" y="240765"/>
                </a:cubicBezTo>
                <a:cubicBezTo>
                  <a:pt x="565293" y="240765"/>
                  <a:pt x="558940" y="234469"/>
                  <a:pt x="558940" y="226585"/>
                </a:cubicBezTo>
                <a:cubicBezTo>
                  <a:pt x="558940" y="218757"/>
                  <a:pt x="565293" y="212404"/>
                  <a:pt x="573121" y="212404"/>
                </a:cubicBezTo>
                <a:close/>
                <a:moveTo>
                  <a:pt x="516455" y="212404"/>
                </a:moveTo>
                <a:cubicBezTo>
                  <a:pt x="524283" y="212404"/>
                  <a:pt x="530636" y="218757"/>
                  <a:pt x="530636" y="226585"/>
                </a:cubicBezTo>
                <a:cubicBezTo>
                  <a:pt x="530636" y="234469"/>
                  <a:pt x="524283" y="240765"/>
                  <a:pt x="516455" y="240765"/>
                </a:cubicBezTo>
                <a:cubicBezTo>
                  <a:pt x="508628" y="240765"/>
                  <a:pt x="502275" y="234469"/>
                  <a:pt x="502275" y="226585"/>
                </a:cubicBezTo>
                <a:cubicBezTo>
                  <a:pt x="502275" y="218757"/>
                  <a:pt x="508628" y="212404"/>
                  <a:pt x="516455" y="212404"/>
                </a:cubicBezTo>
                <a:close/>
                <a:moveTo>
                  <a:pt x="459790" y="212404"/>
                </a:moveTo>
                <a:cubicBezTo>
                  <a:pt x="467618" y="212404"/>
                  <a:pt x="473971" y="218757"/>
                  <a:pt x="473971" y="226585"/>
                </a:cubicBezTo>
                <a:cubicBezTo>
                  <a:pt x="473971" y="234469"/>
                  <a:pt x="467618" y="240765"/>
                  <a:pt x="459790" y="240765"/>
                </a:cubicBezTo>
                <a:cubicBezTo>
                  <a:pt x="451962" y="240765"/>
                  <a:pt x="445610" y="234469"/>
                  <a:pt x="445610" y="226585"/>
                </a:cubicBezTo>
                <a:cubicBezTo>
                  <a:pt x="445610" y="218757"/>
                  <a:pt x="451962" y="212404"/>
                  <a:pt x="459790" y="212404"/>
                </a:cubicBezTo>
                <a:close/>
                <a:moveTo>
                  <a:pt x="403125" y="212404"/>
                </a:moveTo>
                <a:cubicBezTo>
                  <a:pt x="410952" y="212404"/>
                  <a:pt x="417305" y="218757"/>
                  <a:pt x="417305" y="226585"/>
                </a:cubicBezTo>
                <a:cubicBezTo>
                  <a:pt x="417305" y="234469"/>
                  <a:pt x="410952" y="240765"/>
                  <a:pt x="403125" y="240765"/>
                </a:cubicBezTo>
                <a:cubicBezTo>
                  <a:pt x="395297" y="240765"/>
                  <a:pt x="388944" y="234469"/>
                  <a:pt x="388944" y="226585"/>
                </a:cubicBezTo>
                <a:cubicBezTo>
                  <a:pt x="388944" y="218757"/>
                  <a:pt x="395297" y="212404"/>
                  <a:pt x="403125" y="212404"/>
                </a:cubicBezTo>
                <a:close/>
                <a:moveTo>
                  <a:pt x="346516" y="212404"/>
                </a:moveTo>
                <a:cubicBezTo>
                  <a:pt x="354344" y="212404"/>
                  <a:pt x="360640" y="218757"/>
                  <a:pt x="360640" y="226585"/>
                </a:cubicBezTo>
                <a:cubicBezTo>
                  <a:pt x="360640" y="234469"/>
                  <a:pt x="354344" y="240765"/>
                  <a:pt x="346516" y="240765"/>
                </a:cubicBezTo>
                <a:cubicBezTo>
                  <a:pt x="338631" y="240765"/>
                  <a:pt x="332279" y="234469"/>
                  <a:pt x="332279" y="226585"/>
                </a:cubicBezTo>
                <a:cubicBezTo>
                  <a:pt x="332279" y="218757"/>
                  <a:pt x="338631" y="212404"/>
                  <a:pt x="346516" y="212404"/>
                </a:cubicBezTo>
                <a:close/>
                <a:moveTo>
                  <a:pt x="289851" y="212404"/>
                </a:moveTo>
                <a:cubicBezTo>
                  <a:pt x="297678" y="212404"/>
                  <a:pt x="304031" y="218757"/>
                  <a:pt x="304031" y="226585"/>
                </a:cubicBezTo>
                <a:cubicBezTo>
                  <a:pt x="304031" y="234469"/>
                  <a:pt x="297678" y="240765"/>
                  <a:pt x="289851" y="240765"/>
                </a:cubicBezTo>
                <a:cubicBezTo>
                  <a:pt x="281966" y="240765"/>
                  <a:pt x="275613" y="234469"/>
                  <a:pt x="275613" y="226585"/>
                </a:cubicBezTo>
                <a:cubicBezTo>
                  <a:pt x="275613" y="218757"/>
                  <a:pt x="281966" y="212404"/>
                  <a:pt x="289851" y="212404"/>
                </a:cubicBezTo>
                <a:close/>
                <a:moveTo>
                  <a:pt x="233185" y="212404"/>
                </a:moveTo>
                <a:cubicBezTo>
                  <a:pt x="241013" y="212404"/>
                  <a:pt x="247365" y="218757"/>
                  <a:pt x="247365" y="226585"/>
                </a:cubicBezTo>
                <a:cubicBezTo>
                  <a:pt x="247365" y="234469"/>
                  <a:pt x="241013" y="240765"/>
                  <a:pt x="233185" y="240765"/>
                </a:cubicBezTo>
                <a:cubicBezTo>
                  <a:pt x="225357" y="240765"/>
                  <a:pt x="219004" y="234469"/>
                  <a:pt x="219004" y="226585"/>
                </a:cubicBezTo>
                <a:cubicBezTo>
                  <a:pt x="219004" y="218757"/>
                  <a:pt x="225357" y="212404"/>
                  <a:pt x="233185" y="212404"/>
                </a:cubicBezTo>
                <a:close/>
                <a:moveTo>
                  <a:pt x="176520" y="212404"/>
                </a:moveTo>
                <a:cubicBezTo>
                  <a:pt x="184347" y="212404"/>
                  <a:pt x="190700" y="218757"/>
                  <a:pt x="190700" y="226585"/>
                </a:cubicBezTo>
                <a:cubicBezTo>
                  <a:pt x="190700" y="234469"/>
                  <a:pt x="184347" y="240765"/>
                  <a:pt x="176520" y="240765"/>
                </a:cubicBezTo>
                <a:cubicBezTo>
                  <a:pt x="168692" y="240765"/>
                  <a:pt x="162339" y="234469"/>
                  <a:pt x="162339" y="226585"/>
                </a:cubicBezTo>
                <a:cubicBezTo>
                  <a:pt x="162339" y="218757"/>
                  <a:pt x="168692" y="212404"/>
                  <a:pt x="176520" y="212404"/>
                </a:cubicBezTo>
                <a:close/>
                <a:moveTo>
                  <a:pt x="3801747" y="159312"/>
                </a:moveTo>
                <a:cubicBezTo>
                  <a:pt x="3809631" y="159312"/>
                  <a:pt x="3815927" y="165664"/>
                  <a:pt x="3815927" y="173492"/>
                </a:cubicBezTo>
                <a:cubicBezTo>
                  <a:pt x="3815927" y="181320"/>
                  <a:pt x="3809631" y="187673"/>
                  <a:pt x="3801747" y="187673"/>
                </a:cubicBezTo>
                <a:cubicBezTo>
                  <a:pt x="3793919" y="187673"/>
                  <a:pt x="3787566" y="181320"/>
                  <a:pt x="3787566" y="173492"/>
                </a:cubicBezTo>
                <a:cubicBezTo>
                  <a:pt x="3787566" y="165664"/>
                  <a:pt x="3793919" y="159312"/>
                  <a:pt x="3801747" y="159312"/>
                </a:cubicBezTo>
                <a:close/>
                <a:moveTo>
                  <a:pt x="3801747" y="106220"/>
                </a:moveTo>
                <a:cubicBezTo>
                  <a:pt x="3809631" y="106220"/>
                  <a:pt x="3815927" y="112573"/>
                  <a:pt x="3815927" y="120400"/>
                </a:cubicBezTo>
                <a:cubicBezTo>
                  <a:pt x="3815927" y="128228"/>
                  <a:pt x="3809631" y="134581"/>
                  <a:pt x="3801747" y="134581"/>
                </a:cubicBezTo>
                <a:cubicBezTo>
                  <a:pt x="3793919" y="134581"/>
                  <a:pt x="3787566" y="128228"/>
                  <a:pt x="3787566" y="120400"/>
                </a:cubicBezTo>
                <a:cubicBezTo>
                  <a:pt x="3787566" y="112573"/>
                  <a:pt x="3793919" y="106220"/>
                  <a:pt x="3801747" y="106220"/>
                </a:cubicBezTo>
                <a:close/>
                <a:moveTo>
                  <a:pt x="3801747" y="53071"/>
                </a:moveTo>
                <a:cubicBezTo>
                  <a:pt x="3809631" y="53071"/>
                  <a:pt x="3815927" y="59424"/>
                  <a:pt x="3815927" y="67252"/>
                </a:cubicBezTo>
                <a:cubicBezTo>
                  <a:pt x="3815927" y="75079"/>
                  <a:pt x="3809631" y="81432"/>
                  <a:pt x="3801747" y="81432"/>
                </a:cubicBezTo>
                <a:cubicBezTo>
                  <a:pt x="3793919" y="81432"/>
                  <a:pt x="3787566" y="75079"/>
                  <a:pt x="3787566" y="67252"/>
                </a:cubicBezTo>
                <a:cubicBezTo>
                  <a:pt x="3787566" y="59424"/>
                  <a:pt x="3793919" y="53071"/>
                  <a:pt x="3801747" y="53071"/>
                </a:cubicBezTo>
                <a:close/>
                <a:moveTo>
                  <a:pt x="3798967" y="263"/>
                </a:moveTo>
                <a:cubicBezTo>
                  <a:pt x="3803618" y="-644"/>
                  <a:pt x="3808496" y="831"/>
                  <a:pt x="3811786" y="4121"/>
                </a:cubicBezTo>
                <a:cubicBezTo>
                  <a:pt x="3814452" y="6786"/>
                  <a:pt x="3815927" y="10417"/>
                  <a:pt x="3815927" y="14160"/>
                </a:cubicBezTo>
                <a:cubicBezTo>
                  <a:pt x="3815927" y="17904"/>
                  <a:pt x="3814452" y="21534"/>
                  <a:pt x="3811786" y="24200"/>
                </a:cubicBezTo>
                <a:cubicBezTo>
                  <a:pt x="3809177" y="26809"/>
                  <a:pt x="3805490" y="28341"/>
                  <a:pt x="3801747" y="28341"/>
                </a:cubicBezTo>
                <a:cubicBezTo>
                  <a:pt x="3800839" y="28341"/>
                  <a:pt x="3799931" y="28227"/>
                  <a:pt x="3798967" y="28057"/>
                </a:cubicBezTo>
                <a:cubicBezTo>
                  <a:pt x="3798116" y="27887"/>
                  <a:pt x="3797209" y="27603"/>
                  <a:pt x="3796358" y="27263"/>
                </a:cubicBezTo>
                <a:cubicBezTo>
                  <a:pt x="3795507" y="26923"/>
                  <a:pt x="3794656" y="26469"/>
                  <a:pt x="3793919" y="25958"/>
                </a:cubicBezTo>
                <a:cubicBezTo>
                  <a:pt x="3793125" y="25448"/>
                  <a:pt x="3792387" y="24824"/>
                  <a:pt x="3791763" y="24200"/>
                </a:cubicBezTo>
                <a:cubicBezTo>
                  <a:pt x="3789098" y="21534"/>
                  <a:pt x="3787566" y="17904"/>
                  <a:pt x="3787566" y="14160"/>
                </a:cubicBezTo>
                <a:cubicBezTo>
                  <a:pt x="3787566" y="10417"/>
                  <a:pt x="3789098" y="6786"/>
                  <a:pt x="3791763" y="4121"/>
                </a:cubicBezTo>
                <a:cubicBezTo>
                  <a:pt x="3792387" y="3496"/>
                  <a:pt x="3793125" y="2872"/>
                  <a:pt x="3793919" y="2362"/>
                </a:cubicBezTo>
                <a:cubicBezTo>
                  <a:pt x="3794656" y="1851"/>
                  <a:pt x="3795507" y="1398"/>
                  <a:pt x="3796358" y="1057"/>
                </a:cubicBezTo>
                <a:cubicBezTo>
                  <a:pt x="3797209" y="717"/>
                  <a:pt x="3798116" y="433"/>
                  <a:pt x="3798967" y="263"/>
                </a:cubicBezTo>
                <a:close/>
              </a:path>
            </a:pathLst>
          </a:custGeom>
          <a:solidFill>
            <a:schemeClr val="accent4"/>
          </a:solidFill>
          <a:ln w="0" cap="flat">
            <a:noFill/>
            <a:prstDash val="solid"/>
            <a:miter/>
          </a:ln>
        </p:spPr>
        <p:txBody>
          <a:bodyPr rtlCol="0" anchor="ctr"/>
          <a:lstStyle/>
          <a:p>
            <a:endParaRPr lang="sv-SE"/>
          </a:p>
        </p:txBody>
      </p:sp>
      <p:sp>
        <p:nvSpPr>
          <p:cNvPr id="14" name="Freeform 13">
            <a:extLst>
              <a:ext uri="{FF2B5EF4-FFF2-40B4-BE49-F238E27FC236}">
                <a16:creationId xmlns:a16="http://schemas.microsoft.com/office/drawing/2014/main" id="{835488BC-E6BB-5772-FE78-53DF7F661A64}"/>
              </a:ext>
            </a:extLst>
          </p:cNvPr>
          <p:cNvSpPr/>
          <p:nvPr/>
        </p:nvSpPr>
        <p:spPr>
          <a:xfrm>
            <a:off x="5396478" y="2486686"/>
            <a:ext cx="755879" cy="730695"/>
          </a:xfrm>
          <a:custGeom>
            <a:avLst/>
            <a:gdLst>
              <a:gd name="connsiteX0" fmla="*/ 738919 w 755879"/>
              <a:gd name="connsiteY0" fmla="*/ 702618 h 730695"/>
              <a:gd name="connsiteX1" fmla="*/ 751738 w 755879"/>
              <a:gd name="connsiteY1" fmla="*/ 706475 h 730695"/>
              <a:gd name="connsiteX2" fmla="*/ 753497 w 755879"/>
              <a:gd name="connsiteY2" fmla="*/ 708631 h 730695"/>
              <a:gd name="connsiteX3" fmla="*/ 754801 w 755879"/>
              <a:gd name="connsiteY3" fmla="*/ 711070 h 730695"/>
              <a:gd name="connsiteX4" fmla="*/ 755596 w 755879"/>
              <a:gd name="connsiteY4" fmla="*/ 713736 h 730695"/>
              <a:gd name="connsiteX5" fmla="*/ 755879 w 755879"/>
              <a:gd name="connsiteY5" fmla="*/ 716515 h 730695"/>
              <a:gd name="connsiteX6" fmla="*/ 751738 w 755879"/>
              <a:gd name="connsiteY6" fmla="*/ 726498 h 730695"/>
              <a:gd name="connsiteX7" fmla="*/ 741699 w 755879"/>
              <a:gd name="connsiteY7" fmla="*/ 730695 h 730695"/>
              <a:gd name="connsiteX8" fmla="*/ 731659 w 755879"/>
              <a:gd name="connsiteY8" fmla="*/ 726498 h 730695"/>
              <a:gd name="connsiteX9" fmla="*/ 727518 w 755879"/>
              <a:gd name="connsiteY9" fmla="*/ 716515 h 730695"/>
              <a:gd name="connsiteX10" fmla="*/ 727802 w 755879"/>
              <a:gd name="connsiteY10" fmla="*/ 713736 h 730695"/>
              <a:gd name="connsiteX11" fmla="*/ 728596 w 755879"/>
              <a:gd name="connsiteY11" fmla="*/ 711070 h 730695"/>
              <a:gd name="connsiteX12" fmla="*/ 729900 w 755879"/>
              <a:gd name="connsiteY12" fmla="*/ 708631 h 730695"/>
              <a:gd name="connsiteX13" fmla="*/ 731659 w 755879"/>
              <a:gd name="connsiteY13" fmla="*/ 706475 h 730695"/>
              <a:gd name="connsiteX14" fmla="*/ 733814 w 755879"/>
              <a:gd name="connsiteY14" fmla="*/ 704717 h 730695"/>
              <a:gd name="connsiteX15" fmla="*/ 736253 w 755879"/>
              <a:gd name="connsiteY15" fmla="*/ 703412 h 730695"/>
              <a:gd name="connsiteX16" fmla="*/ 738919 w 755879"/>
              <a:gd name="connsiteY16" fmla="*/ 702618 h 730695"/>
              <a:gd name="connsiteX17" fmla="*/ 741699 w 755879"/>
              <a:gd name="connsiteY17" fmla="*/ 633077 h 730695"/>
              <a:gd name="connsiteX18" fmla="*/ 755879 w 755879"/>
              <a:gd name="connsiteY18" fmla="*/ 647314 h 730695"/>
              <a:gd name="connsiteX19" fmla="*/ 741699 w 755879"/>
              <a:gd name="connsiteY19" fmla="*/ 661494 h 730695"/>
              <a:gd name="connsiteX20" fmla="*/ 727518 w 755879"/>
              <a:gd name="connsiteY20" fmla="*/ 647314 h 730695"/>
              <a:gd name="connsiteX21" fmla="*/ 741699 w 755879"/>
              <a:gd name="connsiteY21" fmla="*/ 633077 h 730695"/>
              <a:gd name="connsiteX22" fmla="*/ 741699 w 755879"/>
              <a:gd name="connsiteY22" fmla="*/ 563875 h 730695"/>
              <a:gd name="connsiteX23" fmla="*/ 755879 w 755879"/>
              <a:gd name="connsiteY23" fmla="*/ 578056 h 730695"/>
              <a:gd name="connsiteX24" fmla="*/ 741699 w 755879"/>
              <a:gd name="connsiteY24" fmla="*/ 592237 h 730695"/>
              <a:gd name="connsiteX25" fmla="*/ 727518 w 755879"/>
              <a:gd name="connsiteY25" fmla="*/ 578056 h 730695"/>
              <a:gd name="connsiteX26" fmla="*/ 741699 w 755879"/>
              <a:gd name="connsiteY26" fmla="*/ 563875 h 730695"/>
              <a:gd name="connsiteX27" fmla="*/ 741699 w 755879"/>
              <a:gd name="connsiteY27" fmla="*/ 494675 h 730695"/>
              <a:gd name="connsiteX28" fmla="*/ 755879 w 755879"/>
              <a:gd name="connsiteY28" fmla="*/ 508855 h 730695"/>
              <a:gd name="connsiteX29" fmla="*/ 741699 w 755879"/>
              <a:gd name="connsiteY29" fmla="*/ 523036 h 730695"/>
              <a:gd name="connsiteX30" fmla="*/ 727518 w 755879"/>
              <a:gd name="connsiteY30" fmla="*/ 508855 h 730695"/>
              <a:gd name="connsiteX31" fmla="*/ 741699 w 755879"/>
              <a:gd name="connsiteY31" fmla="*/ 494675 h 730695"/>
              <a:gd name="connsiteX32" fmla="*/ 741699 w 755879"/>
              <a:gd name="connsiteY32" fmla="*/ 425473 h 730695"/>
              <a:gd name="connsiteX33" fmla="*/ 755879 w 755879"/>
              <a:gd name="connsiteY33" fmla="*/ 439654 h 730695"/>
              <a:gd name="connsiteX34" fmla="*/ 741699 w 755879"/>
              <a:gd name="connsiteY34" fmla="*/ 453835 h 730695"/>
              <a:gd name="connsiteX35" fmla="*/ 727518 w 755879"/>
              <a:gd name="connsiteY35" fmla="*/ 439654 h 730695"/>
              <a:gd name="connsiteX36" fmla="*/ 741699 w 755879"/>
              <a:gd name="connsiteY36" fmla="*/ 425473 h 730695"/>
              <a:gd name="connsiteX37" fmla="*/ 741699 w 755879"/>
              <a:gd name="connsiteY37" fmla="*/ 356272 h 730695"/>
              <a:gd name="connsiteX38" fmla="*/ 755879 w 755879"/>
              <a:gd name="connsiteY38" fmla="*/ 370453 h 730695"/>
              <a:gd name="connsiteX39" fmla="*/ 741699 w 755879"/>
              <a:gd name="connsiteY39" fmla="*/ 384634 h 730695"/>
              <a:gd name="connsiteX40" fmla="*/ 727518 w 755879"/>
              <a:gd name="connsiteY40" fmla="*/ 370453 h 730695"/>
              <a:gd name="connsiteX41" fmla="*/ 741699 w 755879"/>
              <a:gd name="connsiteY41" fmla="*/ 356272 h 730695"/>
              <a:gd name="connsiteX42" fmla="*/ 741699 w 755879"/>
              <a:gd name="connsiteY42" fmla="*/ 287071 h 730695"/>
              <a:gd name="connsiteX43" fmla="*/ 755879 w 755879"/>
              <a:gd name="connsiteY43" fmla="*/ 301252 h 730695"/>
              <a:gd name="connsiteX44" fmla="*/ 741699 w 755879"/>
              <a:gd name="connsiteY44" fmla="*/ 315376 h 730695"/>
              <a:gd name="connsiteX45" fmla="*/ 727518 w 755879"/>
              <a:gd name="connsiteY45" fmla="*/ 301252 h 730695"/>
              <a:gd name="connsiteX46" fmla="*/ 741699 w 755879"/>
              <a:gd name="connsiteY46" fmla="*/ 287071 h 730695"/>
              <a:gd name="connsiteX47" fmla="*/ 741699 w 755879"/>
              <a:gd name="connsiteY47" fmla="*/ 217814 h 730695"/>
              <a:gd name="connsiteX48" fmla="*/ 755879 w 755879"/>
              <a:gd name="connsiteY48" fmla="*/ 231994 h 730695"/>
              <a:gd name="connsiteX49" fmla="*/ 741699 w 755879"/>
              <a:gd name="connsiteY49" fmla="*/ 246175 h 730695"/>
              <a:gd name="connsiteX50" fmla="*/ 727518 w 755879"/>
              <a:gd name="connsiteY50" fmla="*/ 231994 h 730695"/>
              <a:gd name="connsiteX51" fmla="*/ 741699 w 755879"/>
              <a:gd name="connsiteY51" fmla="*/ 217814 h 730695"/>
              <a:gd name="connsiteX52" fmla="*/ 741699 w 755879"/>
              <a:gd name="connsiteY52" fmla="*/ 148612 h 730695"/>
              <a:gd name="connsiteX53" fmla="*/ 755879 w 755879"/>
              <a:gd name="connsiteY53" fmla="*/ 162793 h 730695"/>
              <a:gd name="connsiteX54" fmla="*/ 741699 w 755879"/>
              <a:gd name="connsiteY54" fmla="*/ 176974 h 730695"/>
              <a:gd name="connsiteX55" fmla="*/ 727518 w 755879"/>
              <a:gd name="connsiteY55" fmla="*/ 162793 h 730695"/>
              <a:gd name="connsiteX56" fmla="*/ 741699 w 755879"/>
              <a:gd name="connsiteY56" fmla="*/ 148612 h 730695"/>
              <a:gd name="connsiteX57" fmla="*/ 697030 w 755879"/>
              <a:gd name="connsiteY57" fmla="*/ 97917 h 730695"/>
              <a:gd name="connsiteX58" fmla="*/ 707042 w 755879"/>
              <a:gd name="connsiteY58" fmla="*/ 102044 h 730695"/>
              <a:gd name="connsiteX59" fmla="*/ 707042 w 755879"/>
              <a:gd name="connsiteY59" fmla="*/ 122123 h 730695"/>
              <a:gd name="connsiteX60" fmla="*/ 697059 w 755879"/>
              <a:gd name="connsiteY60" fmla="*/ 126264 h 730695"/>
              <a:gd name="connsiteX61" fmla="*/ 687019 w 755879"/>
              <a:gd name="connsiteY61" fmla="*/ 122123 h 730695"/>
              <a:gd name="connsiteX62" fmla="*/ 687019 w 755879"/>
              <a:gd name="connsiteY62" fmla="*/ 102044 h 730695"/>
              <a:gd name="connsiteX63" fmla="*/ 697030 w 755879"/>
              <a:gd name="connsiteY63" fmla="*/ 97917 h 730695"/>
              <a:gd name="connsiteX64" fmla="*/ 648107 w 755879"/>
              <a:gd name="connsiteY64" fmla="*/ 48980 h 730695"/>
              <a:gd name="connsiteX65" fmla="*/ 658147 w 755879"/>
              <a:gd name="connsiteY65" fmla="*/ 53149 h 730695"/>
              <a:gd name="connsiteX66" fmla="*/ 658147 w 755879"/>
              <a:gd name="connsiteY66" fmla="*/ 73172 h 730695"/>
              <a:gd name="connsiteX67" fmla="*/ 648107 w 755879"/>
              <a:gd name="connsiteY67" fmla="*/ 77313 h 730695"/>
              <a:gd name="connsiteX68" fmla="*/ 638067 w 755879"/>
              <a:gd name="connsiteY68" fmla="*/ 73172 h 730695"/>
              <a:gd name="connsiteX69" fmla="*/ 638067 w 755879"/>
              <a:gd name="connsiteY69" fmla="*/ 53149 h 730695"/>
              <a:gd name="connsiteX70" fmla="*/ 648107 w 755879"/>
              <a:gd name="connsiteY70" fmla="*/ 48980 h 730695"/>
              <a:gd name="connsiteX71" fmla="*/ 16960 w 755879"/>
              <a:gd name="connsiteY71" fmla="*/ 341 h 730695"/>
              <a:gd name="connsiteX72" fmla="*/ 19626 w 755879"/>
              <a:gd name="connsiteY72" fmla="*/ 1135 h 730695"/>
              <a:gd name="connsiteX73" fmla="*/ 22065 w 755879"/>
              <a:gd name="connsiteY73" fmla="*/ 2440 h 730695"/>
              <a:gd name="connsiteX74" fmla="*/ 24220 w 755879"/>
              <a:gd name="connsiteY74" fmla="*/ 4198 h 730695"/>
              <a:gd name="connsiteX75" fmla="*/ 28361 w 755879"/>
              <a:gd name="connsiteY75" fmla="*/ 14181 h 730695"/>
              <a:gd name="connsiteX76" fmla="*/ 28078 w 755879"/>
              <a:gd name="connsiteY76" fmla="*/ 16961 h 730695"/>
              <a:gd name="connsiteX77" fmla="*/ 27283 w 755879"/>
              <a:gd name="connsiteY77" fmla="*/ 19627 h 730695"/>
              <a:gd name="connsiteX78" fmla="*/ 25979 w 755879"/>
              <a:gd name="connsiteY78" fmla="*/ 22066 h 730695"/>
              <a:gd name="connsiteX79" fmla="*/ 24220 w 755879"/>
              <a:gd name="connsiteY79" fmla="*/ 24221 h 730695"/>
              <a:gd name="connsiteX80" fmla="*/ 22065 w 755879"/>
              <a:gd name="connsiteY80" fmla="*/ 25979 h 730695"/>
              <a:gd name="connsiteX81" fmla="*/ 19626 w 755879"/>
              <a:gd name="connsiteY81" fmla="*/ 27284 h 730695"/>
              <a:gd name="connsiteX82" fmla="*/ 16960 w 755879"/>
              <a:gd name="connsiteY82" fmla="*/ 28135 h 730695"/>
              <a:gd name="connsiteX83" fmla="*/ 14181 w 755879"/>
              <a:gd name="connsiteY83" fmla="*/ 28418 h 730695"/>
              <a:gd name="connsiteX84" fmla="*/ 4141 w 755879"/>
              <a:gd name="connsiteY84" fmla="*/ 24221 h 730695"/>
              <a:gd name="connsiteX85" fmla="*/ 2382 w 755879"/>
              <a:gd name="connsiteY85" fmla="*/ 22066 h 730695"/>
              <a:gd name="connsiteX86" fmla="*/ 1078 w 755879"/>
              <a:gd name="connsiteY86" fmla="*/ 19627 h 730695"/>
              <a:gd name="connsiteX87" fmla="*/ 284 w 755879"/>
              <a:gd name="connsiteY87" fmla="*/ 16961 h 730695"/>
              <a:gd name="connsiteX88" fmla="*/ 0 w 755879"/>
              <a:gd name="connsiteY88" fmla="*/ 14181 h 730695"/>
              <a:gd name="connsiteX89" fmla="*/ 4141 w 755879"/>
              <a:gd name="connsiteY89" fmla="*/ 4198 h 730695"/>
              <a:gd name="connsiteX90" fmla="*/ 16960 w 755879"/>
              <a:gd name="connsiteY90" fmla="*/ 341 h 730695"/>
              <a:gd name="connsiteX91" fmla="*/ 601936 w 755879"/>
              <a:gd name="connsiteY91" fmla="*/ 284 h 730695"/>
              <a:gd name="connsiteX92" fmla="*/ 604602 w 755879"/>
              <a:gd name="connsiteY92" fmla="*/ 1135 h 730695"/>
              <a:gd name="connsiteX93" fmla="*/ 607041 w 755879"/>
              <a:gd name="connsiteY93" fmla="*/ 2439 h 730695"/>
              <a:gd name="connsiteX94" fmla="*/ 609196 w 755879"/>
              <a:gd name="connsiteY94" fmla="*/ 4198 h 730695"/>
              <a:gd name="connsiteX95" fmla="*/ 610955 w 755879"/>
              <a:gd name="connsiteY95" fmla="*/ 6353 h 730695"/>
              <a:gd name="connsiteX96" fmla="*/ 612259 w 755879"/>
              <a:gd name="connsiteY96" fmla="*/ 8792 h 730695"/>
              <a:gd name="connsiteX97" fmla="*/ 613054 w 755879"/>
              <a:gd name="connsiteY97" fmla="*/ 11458 h 730695"/>
              <a:gd name="connsiteX98" fmla="*/ 613337 w 755879"/>
              <a:gd name="connsiteY98" fmla="*/ 14237 h 730695"/>
              <a:gd name="connsiteX99" fmla="*/ 609196 w 755879"/>
              <a:gd name="connsiteY99" fmla="*/ 24221 h 730695"/>
              <a:gd name="connsiteX100" fmla="*/ 607041 w 755879"/>
              <a:gd name="connsiteY100" fmla="*/ 25979 h 730695"/>
              <a:gd name="connsiteX101" fmla="*/ 604602 w 755879"/>
              <a:gd name="connsiteY101" fmla="*/ 27284 h 730695"/>
              <a:gd name="connsiteX102" fmla="*/ 601936 w 755879"/>
              <a:gd name="connsiteY102" fmla="*/ 28134 h 730695"/>
              <a:gd name="connsiteX103" fmla="*/ 599157 w 755879"/>
              <a:gd name="connsiteY103" fmla="*/ 28418 h 730695"/>
              <a:gd name="connsiteX104" fmla="*/ 589117 w 755879"/>
              <a:gd name="connsiteY104" fmla="*/ 24221 h 730695"/>
              <a:gd name="connsiteX105" fmla="*/ 587358 w 755879"/>
              <a:gd name="connsiteY105" fmla="*/ 22065 h 730695"/>
              <a:gd name="connsiteX106" fmla="*/ 586054 w 755879"/>
              <a:gd name="connsiteY106" fmla="*/ 19626 h 730695"/>
              <a:gd name="connsiteX107" fmla="*/ 585260 w 755879"/>
              <a:gd name="connsiteY107" fmla="*/ 16960 h 730695"/>
              <a:gd name="connsiteX108" fmla="*/ 584976 w 755879"/>
              <a:gd name="connsiteY108" fmla="*/ 14237 h 730695"/>
              <a:gd name="connsiteX109" fmla="*/ 585260 w 755879"/>
              <a:gd name="connsiteY109" fmla="*/ 11458 h 730695"/>
              <a:gd name="connsiteX110" fmla="*/ 586054 w 755879"/>
              <a:gd name="connsiteY110" fmla="*/ 8792 h 730695"/>
              <a:gd name="connsiteX111" fmla="*/ 587358 w 755879"/>
              <a:gd name="connsiteY111" fmla="*/ 6353 h 730695"/>
              <a:gd name="connsiteX112" fmla="*/ 589117 w 755879"/>
              <a:gd name="connsiteY112" fmla="*/ 4198 h 730695"/>
              <a:gd name="connsiteX113" fmla="*/ 601936 w 755879"/>
              <a:gd name="connsiteY113" fmla="*/ 284 h 730695"/>
              <a:gd name="connsiteX114" fmla="*/ 534152 w 755879"/>
              <a:gd name="connsiteY114" fmla="*/ 0 h 730695"/>
              <a:gd name="connsiteX115" fmla="*/ 548332 w 755879"/>
              <a:gd name="connsiteY115" fmla="*/ 14237 h 730695"/>
              <a:gd name="connsiteX116" fmla="*/ 534152 w 755879"/>
              <a:gd name="connsiteY116" fmla="*/ 28418 h 730695"/>
              <a:gd name="connsiteX117" fmla="*/ 519971 w 755879"/>
              <a:gd name="connsiteY117" fmla="*/ 14237 h 730695"/>
              <a:gd name="connsiteX118" fmla="*/ 534152 w 755879"/>
              <a:gd name="connsiteY118" fmla="*/ 0 h 730695"/>
              <a:gd name="connsiteX119" fmla="*/ 469148 w 755879"/>
              <a:gd name="connsiteY119" fmla="*/ 0 h 730695"/>
              <a:gd name="connsiteX120" fmla="*/ 483329 w 755879"/>
              <a:gd name="connsiteY120" fmla="*/ 14237 h 730695"/>
              <a:gd name="connsiteX121" fmla="*/ 469148 w 755879"/>
              <a:gd name="connsiteY121" fmla="*/ 28418 h 730695"/>
              <a:gd name="connsiteX122" fmla="*/ 454968 w 755879"/>
              <a:gd name="connsiteY122" fmla="*/ 14237 h 730695"/>
              <a:gd name="connsiteX123" fmla="*/ 469148 w 755879"/>
              <a:gd name="connsiteY123" fmla="*/ 0 h 730695"/>
              <a:gd name="connsiteX124" fmla="*/ 404145 w 755879"/>
              <a:gd name="connsiteY124" fmla="*/ 0 h 730695"/>
              <a:gd name="connsiteX125" fmla="*/ 418382 w 755879"/>
              <a:gd name="connsiteY125" fmla="*/ 14237 h 730695"/>
              <a:gd name="connsiteX126" fmla="*/ 404145 w 755879"/>
              <a:gd name="connsiteY126" fmla="*/ 28418 h 730695"/>
              <a:gd name="connsiteX127" fmla="*/ 390021 w 755879"/>
              <a:gd name="connsiteY127" fmla="*/ 14237 h 730695"/>
              <a:gd name="connsiteX128" fmla="*/ 404145 w 755879"/>
              <a:gd name="connsiteY128" fmla="*/ 0 h 730695"/>
              <a:gd name="connsiteX129" fmla="*/ 339198 w 755879"/>
              <a:gd name="connsiteY129" fmla="*/ 0 h 730695"/>
              <a:gd name="connsiteX130" fmla="*/ 353378 w 755879"/>
              <a:gd name="connsiteY130" fmla="*/ 14237 h 730695"/>
              <a:gd name="connsiteX131" fmla="*/ 339198 w 755879"/>
              <a:gd name="connsiteY131" fmla="*/ 28418 h 730695"/>
              <a:gd name="connsiteX132" fmla="*/ 325017 w 755879"/>
              <a:gd name="connsiteY132" fmla="*/ 14237 h 730695"/>
              <a:gd name="connsiteX133" fmla="*/ 339198 w 755879"/>
              <a:gd name="connsiteY133" fmla="*/ 0 h 730695"/>
              <a:gd name="connsiteX134" fmla="*/ 274194 w 755879"/>
              <a:gd name="connsiteY134" fmla="*/ 0 h 730695"/>
              <a:gd name="connsiteX135" fmla="*/ 288375 w 755879"/>
              <a:gd name="connsiteY135" fmla="*/ 14237 h 730695"/>
              <a:gd name="connsiteX136" fmla="*/ 274194 w 755879"/>
              <a:gd name="connsiteY136" fmla="*/ 28418 h 730695"/>
              <a:gd name="connsiteX137" fmla="*/ 260014 w 755879"/>
              <a:gd name="connsiteY137" fmla="*/ 14237 h 730695"/>
              <a:gd name="connsiteX138" fmla="*/ 274194 w 755879"/>
              <a:gd name="connsiteY138" fmla="*/ 0 h 730695"/>
              <a:gd name="connsiteX139" fmla="*/ 209191 w 755879"/>
              <a:gd name="connsiteY139" fmla="*/ 0 h 730695"/>
              <a:gd name="connsiteX140" fmla="*/ 223371 w 755879"/>
              <a:gd name="connsiteY140" fmla="*/ 14237 h 730695"/>
              <a:gd name="connsiteX141" fmla="*/ 209191 w 755879"/>
              <a:gd name="connsiteY141" fmla="*/ 28418 h 730695"/>
              <a:gd name="connsiteX142" fmla="*/ 195010 w 755879"/>
              <a:gd name="connsiteY142" fmla="*/ 14237 h 730695"/>
              <a:gd name="connsiteX143" fmla="*/ 209191 w 755879"/>
              <a:gd name="connsiteY143" fmla="*/ 0 h 730695"/>
              <a:gd name="connsiteX144" fmla="*/ 144187 w 755879"/>
              <a:gd name="connsiteY144" fmla="*/ 0 h 730695"/>
              <a:gd name="connsiteX145" fmla="*/ 158367 w 755879"/>
              <a:gd name="connsiteY145" fmla="*/ 14237 h 730695"/>
              <a:gd name="connsiteX146" fmla="*/ 144187 w 755879"/>
              <a:gd name="connsiteY146" fmla="*/ 28418 h 730695"/>
              <a:gd name="connsiteX147" fmla="*/ 130006 w 755879"/>
              <a:gd name="connsiteY147" fmla="*/ 14237 h 730695"/>
              <a:gd name="connsiteX148" fmla="*/ 144187 w 755879"/>
              <a:gd name="connsiteY148" fmla="*/ 0 h 730695"/>
              <a:gd name="connsiteX149" fmla="*/ 79184 w 755879"/>
              <a:gd name="connsiteY149" fmla="*/ 0 h 730695"/>
              <a:gd name="connsiteX150" fmla="*/ 93364 w 755879"/>
              <a:gd name="connsiteY150" fmla="*/ 14237 h 730695"/>
              <a:gd name="connsiteX151" fmla="*/ 79184 w 755879"/>
              <a:gd name="connsiteY151" fmla="*/ 28418 h 730695"/>
              <a:gd name="connsiteX152" fmla="*/ 65003 w 755879"/>
              <a:gd name="connsiteY152" fmla="*/ 14237 h 730695"/>
              <a:gd name="connsiteX153" fmla="*/ 79184 w 755879"/>
              <a:gd name="connsiteY153" fmla="*/ 0 h 73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755879" h="730695">
                <a:moveTo>
                  <a:pt x="738919" y="702618"/>
                </a:moveTo>
                <a:cubicBezTo>
                  <a:pt x="743514" y="701654"/>
                  <a:pt x="748448" y="703185"/>
                  <a:pt x="751738" y="706475"/>
                </a:cubicBezTo>
                <a:cubicBezTo>
                  <a:pt x="752362" y="707099"/>
                  <a:pt x="752986" y="707836"/>
                  <a:pt x="753497" y="708631"/>
                </a:cubicBezTo>
                <a:cubicBezTo>
                  <a:pt x="754007" y="709368"/>
                  <a:pt x="754461" y="710219"/>
                  <a:pt x="754801" y="711070"/>
                </a:cubicBezTo>
                <a:cubicBezTo>
                  <a:pt x="755142" y="711920"/>
                  <a:pt x="755425" y="712828"/>
                  <a:pt x="755596" y="713736"/>
                </a:cubicBezTo>
                <a:cubicBezTo>
                  <a:pt x="755766" y="714643"/>
                  <a:pt x="755879" y="715551"/>
                  <a:pt x="755879" y="716515"/>
                </a:cubicBezTo>
                <a:cubicBezTo>
                  <a:pt x="755879" y="720259"/>
                  <a:pt x="754347" y="723889"/>
                  <a:pt x="751738" y="726498"/>
                </a:cubicBezTo>
                <a:cubicBezTo>
                  <a:pt x="749129" y="729107"/>
                  <a:pt x="745442" y="730695"/>
                  <a:pt x="741699" y="730695"/>
                </a:cubicBezTo>
                <a:cubicBezTo>
                  <a:pt x="737955" y="730695"/>
                  <a:pt x="734325" y="729164"/>
                  <a:pt x="731659" y="726498"/>
                </a:cubicBezTo>
                <a:cubicBezTo>
                  <a:pt x="729049" y="723889"/>
                  <a:pt x="727518" y="720259"/>
                  <a:pt x="727518" y="716515"/>
                </a:cubicBezTo>
                <a:cubicBezTo>
                  <a:pt x="727518" y="715551"/>
                  <a:pt x="727631" y="714643"/>
                  <a:pt x="727802" y="713736"/>
                </a:cubicBezTo>
                <a:cubicBezTo>
                  <a:pt x="727972" y="712828"/>
                  <a:pt x="728255" y="711920"/>
                  <a:pt x="728596" y="711070"/>
                </a:cubicBezTo>
                <a:cubicBezTo>
                  <a:pt x="728936" y="710219"/>
                  <a:pt x="729390" y="709368"/>
                  <a:pt x="729900" y="708631"/>
                </a:cubicBezTo>
                <a:cubicBezTo>
                  <a:pt x="730411" y="707836"/>
                  <a:pt x="731035" y="707099"/>
                  <a:pt x="731659" y="706475"/>
                </a:cubicBezTo>
                <a:cubicBezTo>
                  <a:pt x="732339" y="705794"/>
                  <a:pt x="733077" y="705227"/>
                  <a:pt x="733814" y="704717"/>
                </a:cubicBezTo>
                <a:cubicBezTo>
                  <a:pt x="734608" y="704206"/>
                  <a:pt x="735402" y="703752"/>
                  <a:pt x="736253" y="703412"/>
                </a:cubicBezTo>
                <a:cubicBezTo>
                  <a:pt x="737104" y="703072"/>
                  <a:pt x="738011" y="702788"/>
                  <a:pt x="738919" y="702618"/>
                </a:cubicBezTo>
                <a:close/>
                <a:moveTo>
                  <a:pt x="741699" y="633077"/>
                </a:moveTo>
                <a:cubicBezTo>
                  <a:pt x="749527" y="633077"/>
                  <a:pt x="755879" y="639429"/>
                  <a:pt x="755879" y="647314"/>
                </a:cubicBezTo>
                <a:cubicBezTo>
                  <a:pt x="755879" y="655141"/>
                  <a:pt x="749527" y="661494"/>
                  <a:pt x="741699" y="661494"/>
                </a:cubicBezTo>
                <a:cubicBezTo>
                  <a:pt x="733871" y="661494"/>
                  <a:pt x="727518" y="655141"/>
                  <a:pt x="727518" y="647314"/>
                </a:cubicBezTo>
                <a:cubicBezTo>
                  <a:pt x="727518" y="639429"/>
                  <a:pt x="733871" y="633077"/>
                  <a:pt x="741699" y="633077"/>
                </a:cubicBezTo>
                <a:close/>
                <a:moveTo>
                  <a:pt x="741699" y="563875"/>
                </a:moveTo>
                <a:cubicBezTo>
                  <a:pt x="749527" y="563875"/>
                  <a:pt x="755879" y="570229"/>
                  <a:pt x="755879" y="578056"/>
                </a:cubicBezTo>
                <a:cubicBezTo>
                  <a:pt x="755879" y="585884"/>
                  <a:pt x="749527" y="592237"/>
                  <a:pt x="741699" y="592237"/>
                </a:cubicBezTo>
                <a:cubicBezTo>
                  <a:pt x="733871" y="592237"/>
                  <a:pt x="727518" y="585884"/>
                  <a:pt x="727518" y="578056"/>
                </a:cubicBezTo>
                <a:cubicBezTo>
                  <a:pt x="727518" y="570229"/>
                  <a:pt x="733871" y="563875"/>
                  <a:pt x="741699" y="563875"/>
                </a:cubicBezTo>
                <a:close/>
                <a:moveTo>
                  <a:pt x="741699" y="494675"/>
                </a:moveTo>
                <a:cubicBezTo>
                  <a:pt x="749527" y="494675"/>
                  <a:pt x="755879" y="501027"/>
                  <a:pt x="755879" y="508855"/>
                </a:cubicBezTo>
                <a:cubicBezTo>
                  <a:pt x="755879" y="516683"/>
                  <a:pt x="749527" y="523036"/>
                  <a:pt x="741699" y="523036"/>
                </a:cubicBezTo>
                <a:cubicBezTo>
                  <a:pt x="733871" y="523036"/>
                  <a:pt x="727518" y="516683"/>
                  <a:pt x="727518" y="508855"/>
                </a:cubicBezTo>
                <a:cubicBezTo>
                  <a:pt x="727518" y="501027"/>
                  <a:pt x="733871" y="494675"/>
                  <a:pt x="741699" y="494675"/>
                </a:cubicBezTo>
                <a:close/>
                <a:moveTo>
                  <a:pt x="741699" y="425473"/>
                </a:moveTo>
                <a:cubicBezTo>
                  <a:pt x="749527" y="425473"/>
                  <a:pt x="755879" y="431826"/>
                  <a:pt x="755879" y="439654"/>
                </a:cubicBezTo>
                <a:cubicBezTo>
                  <a:pt x="755879" y="447482"/>
                  <a:pt x="749527" y="453835"/>
                  <a:pt x="741699" y="453835"/>
                </a:cubicBezTo>
                <a:cubicBezTo>
                  <a:pt x="733871" y="453835"/>
                  <a:pt x="727518" y="447482"/>
                  <a:pt x="727518" y="439654"/>
                </a:cubicBezTo>
                <a:cubicBezTo>
                  <a:pt x="727518" y="431826"/>
                  <a:pt x="733871" y="425473"/>
                  <a:pt x="741699" y="425473"/>
                </a:cubicBezTo>
                <a:close/>
                <a:moveTo>
                  <a:pt x="741699" y="356272"/>
                </a:moveTo>
                <a:cubicBezTo>
                  <a:pt x="749527" y="356272"/>
                  <a:pt x="755879" y="362625"/>
                  <a:pt x="755879" y="370453"/>
                </a:cubicBezTo>
                <a:cubicBezTo>
                  <a:pt x="755879" y="378281"/>
                  <a:pt x="749527" y="384634"/>
                  <a:pt x="741699" y="384634"/>
                </a:cubicBezTo>
                <a:cubicBezTo>
                  <a:pt x="733871" y="384634"/>
                  <a:pt x="727518" y="378281"/>
                  <a:pt x="727518" y="370453"/>
                </a:cubicBezTo>
                <a:cubicBezTo>
                  <a:pt x="727518" y="362625"/>
                  <a:pt x="733871" y="356272"/>
                  <a:pt x="741699" y="356272"/>
                </a:cubicBezTo>
                <a:close/>
                <a:moveTo>
                  <a:pt x="741699" y="287071"/>
                </a:moveTo>
                <a:cubicBezTo>
                  <a:pt x="749527" y="287071"/>
                  <a:pt x="755879" y="293367"/>
                  <a:pt x="755879" y="301252"/>
                </a:cubicBezTo>
                <a:cubicBezTo>
                  <a:pt x="755879" y="309080"/>
                  <a:pt x="749527" y="315376"/>
                  <a:pt x="741699" y="315376"/>
                </a:cubicBezTo>
                <a:cubicBezTo>
                  <a:pt x="733871" y="315376"/>
                  <a:pt x="727518" y="309080"/>
                  <a:pt x="727518" y="301252"/>
                </a:cubicBezTo>
                <a:cubicBezTo>
                  <a:pt x="727518" y="293367"/>
                  <a:pt x="733871" y="287071"/>
                  <a:pt x="741699" y="287071"/>
                </a:cubicBezTo>
                <a:close/>
                <a:moveTo>
                  <a:pt x="741699" y="217814"/>
                </a:moveTo>
                <a:cubicBezTo>
                  <a:pt x="749527" y="217814"/>
                  <a:pt x="755879" y="224166"/>
                  <a:pt x="755879" y="231994"/>
                </a:cubicBezTo>
                <a:cubicBezTo>
                  <a:pt x="755879" y="239878"/>
                  <a:pt x="749527" y="246175"/>
                  <a:pt x="741699" y="246175"/>
                </a:cubicBezTo>
                <a:cubicBezTo>
                  <a:pt x="733871" y="246175"/>
                  <a:pt x="727518" y="239878"/>
                  <a:pt x="727518" y="231994"/>
                </a:cubicBezTo>
                <a:cubicBezTo>
                  <a:pt x="727518" y="224166"/>
                  <a:pt x="733871" y="217814"/>
                  <a:pt x="741699" y="217814"/>
                </a:cubicBezTo>
                <a:close/>
                <a:moveTo>
                  <a:pt x="741699" y="148612"/>
                </a:moveTo>
                <a:cubicBezTo>
                  <a:pt x="749527" y="148612"/>
                  <a:pt x="755879" y="154965"/>
                  <a:pt x="755879" y="162793"/>
                </a:cubicBezTo>
                <a:cubicBezTo>
                  <a:pt x="755879" y="170621"/>
                  <a:pt x="749527" y="176974"/>
                  <a:pt x="741699" y="176974"/>
                </a:cubicBezTo>
                <a:cubicBezTo>
                  <a:pt x="733871" y="176974"/>
                  <a:pt x="727518" y="170621"/>
                  <a:pt x="727518" y="162793"/>
                </a:cubicBezTo>
                <a:cubicBezTo>
                  <a:pt x="727518" y="154965"/>
                  <a:pt x="733871" y="148612"/>
                  <a:pt x="741699" y="148612"/>
                </a:cubicBezTo>
                <a:close/>
                <a:moveTo>
                  <a:pt x="697030" y="97917"/>
                </a:moveTo>
                <a:cubicBezTo>
                  <a:pt x="700661" y="97917"/>
                  <a:pt x="704291" y="99293"/>
                  <a:pt x="707042" y="102044"/>
                </a:cubicBezTo>
                <a:cubicBezTo>
                  <a:pt x="712600" y="107602"/>
                  <a:pt x="712600" y="116564"/>
                  <a:pt x="707042" y="122123"/>
                </a:cubicBezTo>
                <a:cubicBezTo>
                  <a:pt x="704319" y="124903"/>
                  <a:pt x="700689" y="126264"/>
                  <a:pt x="697059" y="126264"/>
                </a:cubicBezTo>
                <a:cubicBezTo>
                  <a:pt x="693428" y="126264"/>
                  <a:pt x="689798" y="124903"/>
                  <a:pt x="687019" y="122123"/>
                </a:cubicBezTo>
                <a:cubicBezTo>
                  <a:pt x="681460" y="116564"/>
                  <a:pt x="681460" y="107602"/>
                  <a:pt x="687019" y="102044"/>
                </a:cubicBezTo>
                <a:cubicBezTo>
                  <a:pt x="689770" y="99293"/>
                  <a:pt x="693400" y="97917"/>
                  <a:pt x="697030" y="97917"/>
                </a:cubicBezTo>
                <a:close/>
                <a:moveTo>
                  <a:pt x="648107" y="48980"/>
                </a:moveTo>
                <a:cubicBezTo>
                  <a:pt x="651737" y="48980"/>
                  <a:pt x="655367" y="50369"/>
                  <a:pt x="658147" y="53149"/>
                </a:cubicBezTo>
                <a:cubicBezTo>
                  <a:pt x="663649" y="58651"/>
                  <a:pt x="663649" y="67670"/>
                  <a:pt x="658147" y="73172"/>
                </a:cubicBezTo>
                <a:cubicBezTo>
                  <a:pt x="655368" y="75951"/>
                  <a:pt x="651738" y="77313"/>
                  <a:pt x="648107" y="77313"/>
                </a:cubicBezTo>
                <a:cubicBezTo>
                  <a:pt x="644477" y="77313"/>
                  <a:pt x="640847" y="75951"/>
                  <a:pt x="638067" y="73172"/>
                </a:cubicBezTo>
                <a:cubicBezTo>
                  <a:pt x="632566" y="67670"/>
                  <a:pt x="632566" y="58651"/>
                  <a:pt x="638067" y="53149"/>
                </a:cubicBezTo>
                <a:cubicBezTo>
                  <a:pt x="640846" y="50369"/>
                  <a:pt x="644476" y="48980"/>
                  <a:pt x="648107" y="48980"/>
                </a:cubicBezTo>
                <a:close/>
                <a:moveTo>
                  <a:pt x="16960" y="341"/>
                </a:moveTo>
                <a:cubicBezTo>
                  <a:pt x="17868" y="511"/>
                  <a:pt x="18775" y="795"/>
                  <a:pt x="19626" y="1135"/>
                </a:cubicBezTo>
                <a:cubicBezTo>
                  <a:pt x="20477" y="1475"/>
                  <a:pt x="21271" y="1929"/>
                  <a:pt x="22065" y="2440"/>
                </a:cubicBezTo>
                <a:cubicBezTo>
                  <a:pt x="22859" y="2950"/>
                  <a:pt x="23540" y="3517"/>
                  <a:pt x="24220" y="4198"/>
                </a:cubicBezTo>
                <a:cubicBezTo>
                  <a:pt x="26829" y="6807"/>
                  <a:pt x="28361" y="10494"/>
                  <a:pt x="28361" y="14181"/>
                </a:cubicBezTo>
                <a:cubicBezTo>
                  <a:pt x="28361" y="15145"/>
                  <a:pt x="28248" y="16053"/>
                  <a:pt x="28078" y="16961"/>
                </a:cubicBezTo>
                <a:cubicBezTo>
                  <a:pt x="27907" y="17868"/>
                  <a:pt x="27624" y="18776"/>
                  <a:pt x="27283" y="19627"/>
                </a:cubicBezTo>
                <a:cubicBezTo>
                  <a:pt x="26943" y="20477"/>
                  <a:pt x="26489" y="21328"/>
                  <a:pt x="25979" y="22066"/>
                </a:cubicBezTo>
                <a:cubicBezTo>
                  <a:pt x="25468" y="22860"/>
                  <a:pt x="24901" y="23597"/>
                  <a:pt x="24220" y="24221"/>
                </a:cubicBezTo>
                <a:cubicBezTo>
                  <a:pt x="23540" y="24902"/>
                  <a:pt x="22859" y="25469"/>
                  <a:pt x="22065" y="25979"/>
                </a:cubicBezTo>
                <a:cubicBezTo>
                  <a:pt x="21271" y="26490"/>
                  <a:pt x="20477" y="26944"/>
                  <a:pt x="19626" y="27284"/>
                </a:cubicBezTo>
                <a:cubicBezTo>
                  <a:pt x="18775" y="27681"/>
                  <a:pt x="17868" y="27908"/>
                  <a:pt x="16960" y="28135"/>
                </a:cubicBezTo>
                <a:cubicBezTo>
                  <a:pt x="16052" y="28305"/>
                  <a:pt x="15088" y="28418"/>
                  <a:pt x="14181" y="28418"/>
                </a:cubicBezTo>
                <a:cubicBezTo>
                  <a:pt x="10437" y="28418"/>
                  <a:pt x="6807" y="26887"/>
                  <a:pt x="4141" y="24221"/>
                </a:cubicBezTo>
                <a:cubicBezTo>
                  <a:pt x="3517" y="23597"/>
                  <a:pt x="2893" y="22860"/>
                  <a:pt x="2382" y="22066"/>
                </a:cubicBezTo>
                <a:cubicBezTo>
                  <a:pt x="1872" y="21328"/>
                  <a:pt x="1475" y="20477"/>
                  <a:pt x="1078" y="19627"/>
                </a:cubicBezTo>
                <a:cubicBezTo>
                  <a:pt x="737" y="18776"/>
                  <a:pt x="454" y="17868"/>
                  <a:pt x="284" y="16961"/>
                </a:cubicBezTo>
                <a:cubicBezTo>
                  <a:pt x="114" y="16053"/>
                  <a:pt x="0" y="15145"/>
                  <a:pt x="0" y="14181"/>
                </a:cubicBezTo>
                <a:cubicBezTo>
                  <a:pt x="0" y="10494"/>
                  <a:pt x="1532" y="6807"/>
                  <a:pt x="4141" y="4198"/>
                </a:cubicBezTo>
                <a:cubicBezTo>
                  <a:pt x="7431" y="908"/>
                  <a:pt x="12365" y="-623"/>
                  <a:pt x="16960" y="341"/>
                </a:cubicBezTo>
                <a:close/>
                <a:moveTo>
                  <a:pt x="601936" y="284"/>
                </a:moveTo>
                <a:cubicBezTo>
                  <a:pt x="602843" y="511"/>
                  <a:pt x="603751" y="738"/>
                  <a:pt x="604602" y="1135"/>
                </a:cubicBezTo>
                <a:cubicBezTo>
                  <a:pt x="605453" y="1475"/>
                  <a:pt x="606247" y="1929"/>
                  <a:pt x="607041" y="2439"/>
                </a:cubicBezTo>
                <a:cubicBezTo>
                  <a:pt x="607835" y="2950"/>
                  <a:pt x="608515" y="3517"/>
                  <a:pt x="609196" y="4198"/>
                </a:cubicBezTo>
                <a:cubicBezTo>
                  <a:pt x="609820" y="4822"/>
                  <a:pt x="610444" y="5559"/>
                  <a:pt x="610955" y="6353"/>
                </a:cubicBezTo>
                <a:cubicBezTo>
                  <a:pt x="611465" y="7090"/>
                  <a:pt x="611919" y="7941"/>
                  <a:pt x="612259" y="8792"/>
                </a:cubicBezTo>
                <a:cubicBezTo>
                  <a:pt x="612600" y="9643"/>
                  <a:pt x="612883" y="10551"/>
                  <a:pt x="613054" y="11458"/>
                </a:cubicBezTo>
                <a:cubicBezTo>
                  <a:pt x="613280" y="12366"/>
                  <a:pt x="613337" y="13273"/>
                  <a:pt x="613337" y="14237"/>
                </a:cubicBezTo>
                <a:cubicBezTo>
                  <a:pt x="613337" y="17924"/>
                  <a:pt x="611805" y="21611"/>
                  <a:pt x="609196" y="24221"/>
                </a:cubicBezTo>
                <a:cubicBezTo>
                  <a:pt x="608515" y="24901"/>
                  <a:pt x="607835" y="25469"/>
                  <a:pt x="607041" y="25979"/>
                </a:cubicBezTo>
                <a:cubicBezTo>
                  <a:pt x="606247" y="26489"/>
                  <a:pt x="605453" y="26943"/>
                  <a:pt x="604602" y="27284"/>
                </a:cubicBezTo>
                <a:cubicBezTo>
                  <a:pt x="603751" y="27681"/>
                  <a:pt x="602843" y="27908"/>
                  <a:pt x="601936" y="28134"/>
                </a:cubicBezTo>
                <a:cubicBezTo>
                  <a:pt x="601028" y="28305"/>
                  <a:pt x="600064" y="28418"/>
                  <a:pt x="599157" y="28418"/>
                </a:cubicBezTo>
                <a:cubicBezTo>
                  <a:pt x="595413" y="28418"/>
                  <a:pt x="591783" y="26887"/>
                  <a:pt x="589117" y="24221"/>
                </a:cubicBezTo>
                <a:cubicBezTo>
                  <a:pt x="588493" y="23597"/>
                  <a:pt x="587869" y="22859"/>
                  <a:pt x="587358" y="22065"/>
                </a:cubicBezTo>
                <a:cubicBezTo>
                  <a:pt x="586848" y="21328"/>
                  <a:pt x="586394" y="20477"/>
                  <a:pt x="586054" y="19626"/>
                </a:cubicBezTo>
                <a:cubicBezTo>
                  <a:pt x="585713" y="18775"/>
                  <a:pt x="585430" y="17868"/>
                  <a:pt x="585260" y="16960"/>
                </a:cubicBezTo>
                <a:cubicBezTo>
                  <a:pt x="585090" y="16053"/>
                  <a:pt x="584976" y="15145"/>
                  <a:pt x="584976" y="14237"/>
                </a:cubicBezTo>
                <a:cubicBezTo>
                  <a:pt x="584976" y="13273"/>
                  <a:pt x="585090" y="12366"/>
                  <a:pt x="585260" y="11458"/>
                </a:cubicBezTo>
                <a:cubicBezTo>
                  <a:pt x="585430" y="10551"/>
                  <a:pt x="585713" y="9643"/>
                  <a:pt x="586054" y="8792"/>
                </a:cubicBezTo>
                <a:cubicBezTo>
                  <a:pt x="586394" y="7941"/>
                  <a:pt x="586848" y="7090"/>
                  <a:pt x="587358" y="6353"/>
                </a:cubicBezTo>
                <a:cubicBezTo>
                  <a:pt x="587869" y="5559"/>
                  <a:pt x="588493" y="4822"/>
                  <a:pt x="589117" y="4198"/>
                </a:cubicBezTo>
                <a:cubicBezTo>
                  <a:pt x="592463" y="908"/>
                  <a:pt x="597341" y="-624"/>
                  <a:pt x="601936" y="284"/>
                </a:cubicBezTo>
                <a:close/>
                <a:moveTo>
                  <a:pt x="534152" y="0"/>
                </a:moveTo>
                <a:cubicBezTo>
                  <a:pt x="541980" y="0"/>
                  <a:pt x="548332" y="6353"/>
                  <a:pt x="548332" y="14237"/>
                </a:cubicBezTo>
                <a:cubicBezTo>
                  <a:pt x="548332" y="22065"/>
                  <a:pt x="541980" y="28418"/>
                  <a:pt x="534152" y="28418"/>
                </a:cubicBezTo>
                <a:cubicBezTo>
                  <a:pt x="526324" y="28418"/>
                  <a:pt x="519971" y="22065"/>
                  <a:pt x="519971" y="14237"/>
                </a:cubicBezTo>
                <a:cubicBezTo>
                  <a:pt x="519971" y="6353"/>
                  <a:pt x="526324" y="0"/>
                  <a:pt x="534152" y="0"/>
                </a:cubicBezTo>
                <a:close/>
                <a:moveTo>
                  <a:pt x="469148" y="0"/>
                </a:moveTo>
                <a:cubicBezTo>
                  <a:pt x="476976" y="0"/>
                  <a:pt x="483329" y="6353"/>
                  <a:pt x="483329" y="14237"/>
                </a:cubicBezTo>
                <a:cubicBezTo>
                  <a:pt x="483329" y="22065"/>
                  <a:pt x="476976" y="28418"/>
                  <a:pt x="469148" y="28418"/>
                </a:cubicBezTo>
                <a:cubicBezTo>
                  <a:pt x="461321" y="28418"/>
                  <a:pt x="454968" y="22065"/>
                  <a:pt x="454968" y="14237"/>
                </a:cubicBezTo>
                <a:cubicBezTo>
                  <a:pt x="454968" y="6353"/>
                  <a:pt x="461321" y="0"/>
                  <a:pt x="469148" y="0"/>
                </a:cubicBezTo>
                <a:close/>
                <a:moveTo>
                  <a:pt x="404145" y="0"/>
                </a:moveTo>
                <a:cubicBezTo>
                  <a:pt x="412029" y="0"/>
                  <a:pt x="418382" y="6353"/>
                  <a:pt x="418382" y="14237"/>
                </a:cubicBezTo>
                <a:cubicBezTo>
                  <a:pt x="418382" y="22065"/>
                  <a:pt x="412029" y="28418"/>
                  <a:pt x="404145" y="28418"/>
                </a:cubicBezTo>
                <a:cubicBezTo>
                  <a:pt x="396317" y="28418"/>
                  <a:pt x="390021" y="22065"/>
                  <a:pt x="390021" y="14237"/>
                </a:cubicBezTo>
                <a:cubicBezTo>
                  <a:pt x="390021" y="6353"/>
                  <a:pt x="396317" y="0"/>
                  <a:pt x="404145" y="0"/>
                </a:cubicBezTo>
                <a:close/>
                <a:moveTo>
                  <a:pt x="339198" y="0"/>
                </a:moveTo>
                <a:cubicBezTo>
                  <a:pt x="347025" y="0"/>
                  <a:pt x="353378" y="6353"/>
                  <a:pt x="353378" y="14237"/>
                </a:cubicBezTo>
                <a:cubicBezTo>
                  <a:pt x="353378" y="22065"/>
                  <a:pt x="347025" y="28418"/>
                  <a:pt x="339198" y="28418"/>
                </a:cubicBezTo>
                <a:cubicBezTo>
                  <a:pt x="331370" y="28418"/>
                  <a:pt x="325017" y="22065"/>
                  <a:pt x="325017" y="14237"/>
                </a:cubicBezTo>
                <a:cubicBezTo>
                  <a:pt x="325017" y="6353"/>
                  <a:pt x="331370" y="0"/>
                  <a:pt x="339198" y="0"/>
                </a:cubicBezTo>
                <a:close/>
                <a:moveTo>
                  <a:pt x="274194" y="0"/>
                </a:moveTo>
                <a:cubicBezTo>
                  <a:pt x="282022" y="0"/>
                  <a:pt x="288375" y="6353"/>
                  <a:pt x="288375" y="14237"/>
                </a:cubicBezTo>
                <a:cubicBezTo>
                  <a:pt x="288375" y="22065"/>
                  <a:pt x="282022" y="28418"/>
                  <a:pt x="274194" y="28418"/>
                </a:cubicBezTo>
                <a:cubicBezTo>
                  <a:pt x="266367" y="28418"/>
                  <a:pt x="260014" y="22065"/>
                  <a:pt x="260014" y="14237"/>
                </a:cubicBezTo>
                <a:cubicBezTo>
                  <a:pt x="260014" y="6353"/>
                  <a:pt x="266367" y="0"/>
                  <a:pt x="274194" y="0"/>
                </a:cubicBezTo>
                <a:close/>
                <a:moveTo>
                  <a:pt x="209191" y="0"/>
                </a:moveTo>
                <a:cubicBezTo>
                  <a:pt x="217018" y="0"/>
                  <a:pt x="223371" y="6353"/>
                  <a:pt x="223371" y="14237"/>
                </a:cubicBezTo>
                <a:cubicBezTo>
                  <a:pt x="223371" y="22065"/>
                  <a:pt x="217018" y="28418"/>
                  <a:pt x="209191" y="28418"/>
                </a:cubicBezTo>
                <a:cubicBezTo>
                  <a:pt x="201363" y="28418"/>
                  <a:pt x="195010" y="22065"/>
                  <a:pt x="195010" y="14237"/>
                </a:cubicBezTo>
                <a:cubicBezTo>
                  <a:pt x="195010" y="6353"/>
                  <a:pt x="201363" y="0"/>
                  <a:pt x="209191" y="0"/>
                </a:cubicBezTo>
                <a:close/>
                <a:moveTo>
                  <a:pt x="144187" y="0"/>
                </a:moveTo>
                <a:cubicBezTo>
                  <a:pt x="152015" y="0"/>
                  <a:pt x="158367" y="6353"/>
                  <a:pt x="158367" y="14237"/>
                </a:cubicBezTo>
                <a:cubicBezTo>
                  <a:pt x="158367" y="22065"/>
                  <a:pt x="152015" y="28418"/>
                  <a:pt x="144187" y="28418"/>
                </a:cubicBezTo>
                <a:cubicBezTo>
                  <a:pt x="136359" y="28418"/>
                  <a:pt x="130006" y="22065"/>
                  <a:pt x="130006" y="14237"/>
                </a:cubicBezTo>
                <a:cubicBezTo>
                  <a:pt x="130006" y="6353"/>
                  <a:pt x="136359" y="0"/>
                  <a:pt x="144187" y="0"/>
                </a:cubicBezTo>
                <a:close/>
                <a:moveTo>
                  <a:pt x="79184" y="0"/>
                </a:moveTo>
                <a:cubicBezTo>
                  <a:pt x="87011" y="0"/>
                  <a:pt x="93364" y="6353"/>
                  <a:pt x="93364" y="14237"/>
                </a:cubicBezTo>
                <a:cubicBezTo>
                  <a:pt x="93364" y="22065"/>
                  <a:pt x="87011" y="28418"/>
                  <a:pt x="79184" y="28418"/>
                </a:cubicBezTo>
                <a:cubicBezTo>
                  <a:pt x="71356" y="28418"/>
                  <a:pt x="65003" y="22065"/>
                  <a:pt x="65003" y="14237"/>
                </a:cubicBezTo>
                <a:cubicBezTo>
                  <a:pt x="65003" y="6353"/>
                  <a:pt x="71356" y="0"/>
                  <a:pt x="79184" y="0"/>
                </a:cubicBezTo>
                <a:close/>
              </a:path>
            </a:pathLst>
          </a:custGeom>
          <a:solidFill>
            <a:schemeClr val="accent4"/>
          </a:solidFill>
          <a:ln w="0" cap="flat">
            <a:noFill/>
            <a:prstDash val="solid"/>
            <a:miter/>
          </a:ln>
        </p:spPr>
        <p:txBody>
          <a:bodyPr rtlCol="0" anchor="ctr"/>
          <a:lstStyle/>
          <a:p>
            <a:endParaRPr lang="sv-SE"/>
          </a:p>
        </p:txBody>
      </p:sp>
      <p:pic>
        <p:nvPicPr>
          <p:cNvPr id="7" name="Picture 6" descr="A blue crumpled paper&#10;&#10;AI-generated content may be incorrect.">
            <a:extLst>
              <a:ext uri="{FF2B5EF4-FFF2-40B4-BE49-F238E27FC236}">
                <a16:creationId xmlns:a16="http://schemas.microsoft.com/office/drawing/2014/main" id="{3BAD72EF-585F-A66C-6B12-7DFD9C5AEC7C}"/>
              </a:ext>
            </a:extLst>
          </p:cNvPr>
          <p:cNvPicPr>
            <a:picLocks noChangeAspect="1"/>
          </p:cNvPicPr>
          <p:nvPr/>
        </p:nvPicPr>
        <p:blipFill rotWithShape="1">
          <a:blip r:embed="rId3">
            <a:alphaModFix/>
          </a:blip>
          <a:srcRect l="370" t="59712" r="370" b="-1"/>
          <a:stretch/>
        </p:blipFill>
        <p:spPr>
          <a:xfrm>
            <a:off x="0" y="4094978"/>
            <a:ext cx="12192000" cy="2763022"/>
          </a:xfrm>
          <a:custGeom>
            <a:avLst/>
            <a:gdLst>
              <a:gd name="connsiteX0" fmla="*/ 0 w 12192000"/>
              <a:gd name="connsiteY0" fmla="*/ 0 h 2763022"/>
              <a:gd name="connsiteX1" fmla="*/ 2619587 w 12192000"/>
              <a:gd name="connsiteY1" fmla="*/ 0 h 2763022"/>
              <a:gd name="connsiteX2" fmla="*/ 2619587 w 12192000"/>
              <a:gd name="connsiteY2" fmla="*/ 1014656 h 2763022"/>
              <a:gd name="connsiteX3" fmla="*/ 2537340 w 12192000"/>
              <a:gd name="connsiteY3" fmla="*/ 1014656 h 2763022"/>
              <a:gd name="connsiteX4" fmla="*/ 2419925 w 12192000"/>
              <a:gd name="connsiteY4" fmla="*/ 1132070 h 2763022"/>
              <a:gd name="connsiteX5" fmla="*/ 2419925 w 12192000"/>
              <a:gd name="connsiteY5" fmla="*/ 1945466 h 2763022"/>
              <a:gd name="connsiteX6" fmla="*/ 2537340 w 12192000"/>
              <a:gd name="connsiteY6" fmla="*/ 2062881 h 2763022"/>
              <a:gd name="connsiteX7" fmla="*/ 2826623 w 12192000"/>
              <a:gd name="connsiteY7" fmla="*/ 2062881 h 2763022"/>
              <a:gd name="connsiteX8" fmla="*/ 2944038 w 12192000"/>
              <a:gd name="connsiteY8" fmla="*/ 1945466 h 2763022"/>
              <a:gd name="connsiteX9" fmla="*/ 2944038 w 12192000"/>
              <a:gd name="connsiteY9" fmla="*/ 1132070 h 2763022"/>
              <a:gd name="connsiteX10" fmla="*/ 2826623 w 12192000"/>
              <a:gd name="connsiteY10" fmla="*/ 1014656 h 2763022"/>
              <a:gd name="connsiteX11" fmla="*/ 2744376 w 12192000"/>
              <a:gd name="connsiteY11" fmla="*/ 1014656 h 2763022"/>
              <a:gd name="connsiteX12" fmla="*/ 2744376 w 12192000"/>
              <a:gd name="connsiteY12" fmla="*/ 0 h 2763022"/>
              <a:gd name="connsiteX13" fmla="*/ 12192000 w 12192000"/>
              <a:gd name="connsiteY13" fmla="*/ 0 h 2763022"/>
              <a:gd name="connsiteX14" fmla="*/ 12192000 w 12192000"/>
              <a:gd name="connsiteY14" fmla="*/ 2763022 h 2763022"/>
              <a:gd name="connsiteX15" fmla="*/ 0 w 12192000"/>
              <a:gd name="connsiteY15" fmla="*/ 2763022 h 27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763022">
                <a:moveTo>
                  <a:pt x="0" y="0"/>
                </a:moveTo>
                <a:lnTo>
                  <a:pt x="2619587" y="0"/>
                </a:lnTo>
                <a:lnTo>
                  <a:pt x="2619587" y="1014656"/>
                </a:lnTo>
                <a:lnTo>
                  <a:pt x="2537340" y="1014656"/>
                </a:lnTo>
                <a:lnTo>
                  <a:pt x="2419925" y="1132070"/>
                </a:lnTo>
                <a:lnTo>
                  <a:pt x="2419925" y="1945466"/>
                </a:lnTo>
                <a:lnTo>
                  <a:pt x="2537340" y="2062881"/>
                </a:lnTo>
                <a:lnTo>
                  <a:pt x="2826623" y="2062881"/>
                </a:lnTo>
                <a:lnTo>
                  <a:pt x="2944038" y="1945466"/>
                </a:lnTo>
                <a:lnTo>
                  <a:pt x="2944038" y="1132070"/>
                </a:lnTo>
                <a:lnTo>
                  <a:pt x="2826623" y="1014656"/>
                </a:lnTo>
                <a:lnTo>
                  <a:pt x="2744376" y="1014656"/>
                </a:lnTo>
                <a:lnTo>
                  <a:pt x="2744376" y="0"/>
                </a:lnTo>
                <a:lnTo>
                  <a:pt x="12192000" y="0"/>
                </a:lnTo>
                <a:lnTo>
                  <a:pt x="12192000" y="2763022"/>
                </a:lnTo>
                <a:lnTo>
                  <a:pt x="0" y="2763022"/>
                </a:lnTo>
                <a:close/>
              </a:path>
            </a:pathLst>
          </a:custGeom>
        </p:spPr>
      </p:pic>
      <p:sp>
        <p:nvSpPr>
          <p:cNvPr id="191" name="Freeform 190">
            <a:extLst>
              <a:ext uri="{FF2B5EF4-FFF2-40B4-BE49-F238E27FC236}">
                <a16:creationId xmlns:a16="http://schemas.microsoft.com/office/drawing/2014/main" id="{EBB9C044-1AEB-0B7A-EF16-DC5BE7740A13}"/>
              </a:ext>
            </a:extLst>
          </p:cNvPr>
          <p:cNvSpPr/>
          <p:nvPr/>
        </p:nvSpPr>
        <p:spPr>
          <a:xfrm>
            <a:off x="2419925" y="3678703"/>
            <a:ext cx="6843076" cy="2479156"/>
          </a:xfrm>
          <a:custGeom>
            <a:avLst/>
            <a:gdLst>
              <a:gd name="connsiteX0" fmla="*/ 4114343 w 6843076"/>
              <a:gd name="connsiteY0" fmla="*/ 0 h 2479156"/>
              <a:gd name="connsiteX1" fmla="*/ 4114343 w 6843076"/>
              <a:gd name="connsiteY1" fmla="*/ 166139 h 2479156"/>
              <a:gd name="connsiteX2" fmla="*/ 6638877 w 6843076"/>
              <a:gd name="connsiteY2" fmla="*/ 166139 h 2479156"/>
              <a:gd name="connsiteX3" fmla="*/ 6843077 w 6843076"/>
              <a:gd name="connsiteY3" fmla="*/ 290928 h 2479156"/>
              <a:gd name="connsiteX4" fmla="*/ 393538 w 6843076"/>
              <a:gd name="connsiteY4" fmla="*/ 290928 h 2479156"/>
              <a:gd name="connsiteX5" fmla="*/ 324451 w 6843076"/>
              <a:gd name="connsiteY5" fmla="*/ 360016 h 2479156"/>
              <a:gd name="connsiteX6" fmla="*/ 324451 w 6843076"/>
              <a:gd name="connsiteY6" fmla="*/ 1430931 h 2479156"/>
              <a:gd name="connsiteX7" fmla="*/ 406698 w 6843076"/>
              <a:gd name="connsiteY7" fmla="*/ 1430931 h 2479156"/>
              <a:gd name="connsiteX8" fmla="*/ 524113 w 6843076"/>
              <a:gd name="connsiteY8" fmla="*/ 1548345 h 2479156"/>
              <a:gd name="connsiteX9" fmla="*/ 524113 w 6843076"/>
              <a:gd name="connsiteY9" fmla="*/ 2361741 h 2479156"/>
              <a:gd name="connsiteX10" fmla="*/ 406698 w 6843076"/>
              <a:gd name="connsiteY10" fmla="*/ 2479156 h 2479156"/>
              <a:gd name="connsiteX11" fmla="*/ 117415 w 6843076"/>
              <a:gd name="connsiteY11" fmla="*/ 2479156 h 2479156"/>
              <a:gd name="connsiteX12" fmla="*/ 0 w 6843076"/>
              <a:gd name="connsiteY12" fmla="*/ 2361741 h 2479156"/>
              <a:gd name="connsiteX13" fmla="*/ 0 w 6843076"/>
              <a:gd name="connsiteY13" fmla="*/ 1548345 h 2479156"/>
              <a:gd name="connsiteX14" fmla="*/ 117415 w 6843076"/>
              <a:gd name="connsiteY14" fmla="*/ 1430931 h 2479156"/>
              <a:gd name="connsiteX15" fmla="*/ 199662 w 6843076"/>
              <a:gd name="connsiteY15" fmla="*/ 1430931 h 2479156"/>
              <a:gd name="connsiteX16" fmla="*/ 199662 w 6843076"/>
              <a:gd name="connsiteY16" fmla="*/ 334207 h 2479156"/>
              <a:gd name="connsiteX17" fmla="*/ 199662 w 6843076"/>
              <a:gd name="connsiteY17" fmla="*/ 308342 h 2479156"/>
              <a:gd name="connsiteX18" fmla="*/ 217927 w 6843076"/>
              <a:gd name="connsiteY18" fmla="*/ 290077 h 2479156"/>
              <a:gd name="connsiteX19" fmla="*/ 323600 w 6843076"/>
              <a:gd name="connsiteY19" fmla="*/ 184404 h 2479156"/>
              <a:gd name="connsiteX20" fmla="*/ 341865 w 6843076"/>
              <a:gd name="connsiteY20" fmla="*/ 166139 h 2479156"/>
              <a:gd name="connsiteX21" fmla="*/ 367730 w 6843076"/>
              <a:gd name="connsiteY21" fmla="*/ 166139 h 2479156"/>
              <a:gd name="connsiteX22" fmla="*/ 3989554 w 6843076"/>
              <a:gd name="connsiteY22" fmla="*/ 166139 h 2479156"/>
              <a:gd name="connsiteX23" fmla="*/ 3989554 w 6843076"/>
              <a:gd name="connsiteY23" fmla="*/ 0 h 247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43076" h="2479156">
                <a:moveTo>
                  <a:pt x="4114343" y="0"/>
                </a:moveTo>
                <a:lnTo>
                  <a:pt x="4114343" y="166139"/>
                </a:lnTo>
                <a:lnTo>
                  <a:pt x="6638877" y="166139"/>
                </a:lnTo>
                <a:lnTo>
                  <a:pt x="6843077" y="290928"/>
                </a:lnTo>
                <a:lnTo>
                  <a:pt x="393538" y="290928"/>
                </a:lnTo>
                <a:lnTo>
                  <a:pt x="324451" y="360016"/>
                </a:lnTo>
                <a:lnTo>
                  <a:pt x="324451" y="1430931"/>
                </a:lnTo>
                <a:lnTo>
                  <a:pt x="406698" y="1430931"/>
                </a:lnTo>
                <a:lnTo>
                  <a:pt x="524113" y="1548345"/>
                </a:lnTo>
                <a:lnTo>
                  <a:pt x="524113" y="2361741"/>
                </a:lnTo>
                <a:lnTo>
                  <a:pt x="406698" y="2479156"/>
                </a:lnTo>
                <a:lnTo>
                  <a:pt x="117415" y="2479156"/>
                </a:lnTo>
                <a:lnTo>
                  <a:pt x="0" y="2361741"/>
                </a:lnTo>
                <a:lnTo>
                  <a:pt x="0" y="1548345"/>
                </a:lnTo>
                <a:lnTo>
                  <a:pt x="117415" y="1430931"/>
                </a:lnTo>
                <a:lnTo>
                  <a:pt x="199662" y="1430931"/>
                </a:lnTo>
                <a:lnTo>
                  <a:pt x="199662" y="334207"/>
                </a:lnTo>
                <a:lnTo>
                  <a:pt x="199662" y="308342"/>
                </a:lnTo>
                <a:lnTo>
                  <a:pt x="217927" y="290077"/>
                </a:lnTo>
                <a:lnTo>
                  <a:pt x="323600" y="184404"/>
                </a:lnTo>
                <a:lnTo>
                  <a:pt x="341865" y="166139"/>
                </a:lnTo>
                <a:lnTo>
                  <a:pt x="367730" y="166139"/>
                </a:lnTo>
                <a:lnTo>
                  <a:pt x="3989554" y="166139"/>
                </a:lnTo>
                <a:lnTo>
                  <a:pt x="3989554" y="0"/>
                </a:lnTo>
              </a:path>
            </a:pathLst>
          </a:custGeom>
          <a:noFill/>
          <a:ln w="9525" cap="flat">
            <a:solidFill>
              <a:srgbClr val="FFFFFF"/>
            </a:solidFill>
            <a:prstDash val="solid"/>
            <a:miter/>
          </a:ln>
        </p:spPr>
        <p:txBody>
          <a:bodyPr rtlCol="0" anchor="ctr"/>
          <a:lstStyle/>
          <a:p>
            <a:endParaRPr lang="sv-SE"/>
          </a:p>
        </p:txBody>
      </p:sp>
      <p:grpSp>
        <p:nvGrpSpPr>
          <p:cNvPr id="257" name="!!Hybrit_logo">
            <a:extLst>
              <a:ext uri="{FF2B5EF4-FFF2-40B4-BE49-F238E27FC236}">
                <a16:creationId xmlns:a16="http://schemas.microsoft.com/office/drawing/2014/main" id="{9D161536-FACC-0310-EC90-4B2A360D13DE}"/>
              </a:ext>
            </a:extLst>
          </p:cNvPr>
          <p:cNvGrpSpPr/>
          <p:nvPr/>
        </p:nvGrpSpPr>
        <p:grpSpPr>
          <a:xfrm>
            <a:off x="10823330" y="6338104"/>
            <a:ext cx="1018484" cy="320220"/>
            <a:chOff x="1343025" y="-3013943"/>
            <a:chExt cx="7772399" cy="2443714"/>
          </a:xfrm>
          <a:solidFill>
            <a:schemeClr val="bg1"/>
          </a:solidFill>
        </p:grpSpPr>
        <p:sp>
          <p:nvSpPr>
            <p:cNvPr id="258" name="Freeform 257">
              <a:extLst>
                <a:ext uri="{FF2B5EF4-FFF2-40B4-BE49-F238E27FC236}">
                  <a16:creationId xmlns:a16="http://schemas.microsoft.com/office/drawing/2014/main" id="{019C30E7-9CF8-6794-0ECA-B281FE7A6509}"/>
                </a:ext>
              </a:extLst>
            </p:cNvPr>
            <p:cNvSpPr/>
            <p:nvPr/>
          </p:nvSpPr>
          <p:spPr>
            <a:xfrm>
              <a:off x="1343025" y="-1132514"/>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lnTo>
                    <a:pt x="87658" y="543574"/>
                  </a:lnTo>
                  <a:close/>
                </a:path>
              </a:pathLst>
            </a:custGeom>
            <a:grpFill/>
            <a:ln w="0" cap="flat">
              <a:noFill/>
              <a:prstDash val="solid"/>
              <a:miter/>
            </a:ln>
          </p:spPr>
          <p:txBody>
            <a:bodyPr rtlCol="0" anchor="ctr"/>
            <a:lstStyle/>
            <a:p>
              <a:endParaRPr lang="sv-SE"/>
            </a:p>
          </p:txBody>
        </p:sp>
        <p:sp>
          <p:nvSpPr>
            <p:cNvPr id="259" name="Freeform 258">
              <a:extLst>
                <a:ext uri="{FF2B5EF4-FFF2-40B4-BE49-F238E27FC236}">
                  <a16:creationId xmlns:a16="http://schemas.microsoft.com/office/drawing/2014/main" id="{F20FDF51-5737-A729-52A8-2CF9D90FFAF2}"/>
                </a:ext>
              </a:extLst>
            </p:cNvPr>
            <p:cNvSpPr/>
            <p:nvPr/>
          </p:nvSpPr>
          <p:spPr>
            <a:xfrm>
              <a:off x="2002470" y="-1129022"/>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0" name="Freeform 259">
              <a:extLst>
                <a:ext uri="{FF2B5EF4-FFF2-40B4-BE49-F238E27FC236}">
                  <a16:creationId xmlns:a16="http://schemas.microsoft.com/office/drawing/2014/main" id="{D9FFE661-8D9C-ECCD-1BED-828D312DD481}"/>
                </a:ext>
              </a:extLst>
            </p:cNvPr>
            <p:cNvSpPr/>
            <p:nvPr/>
          </p:nvSpPr>
          <p:spPr>
            <a:xfrm>
              <a:off x="2672387" y="-1125463"/>
              <a:ext cx="513797" cy="555234"/>
            </a:xfrm>
            <a:custGeom>
              <a:avLst/>
              <a:gdLst>
                <a:gd name="connsiteX0" fmla="*/ 87658 w 513797"/>
                <a:gd name="connsiteY0" fmla="*/ 543574 h 555234"/>
                <a:gd name="connsiteX1" fmla="*/ 0 w 513797"/>
                <a:gd name="connsiteY1" fmla="*/ 490922 h 555234"/>
                <a:gd name="connsiteX2" fmla="*/ 0 w 513797"/>
                <a:gd name="connsiteY2" fmla="*/ 62791 h 555234"/>
                <a:gd name="connsiteX3" fmla="*/ 87658 w 513797"/>
                <a:gd name="connsiteY3" fmla="*/ 10139 h 555234"/>
                <a:gd name="connsiteX4" fmla="*/ 476949 w 513797"/>
                <a:gd name="connsiteY4" fmla="*/ 227731 h 555234"/>
                <a:gd name="connsiteX5" fmla="*/ 476949 w 513797"/>
                <a:gd name="connsiteY5" fmla="*/ 325983 h 555234"/>
                <a:gd name="connsiteX6" fmla="*/ 87658 w 513797"/>
                <a:gd name="connsiteY6" fmla="*/ 543574 h 5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797" h="555234">
                  <a:moveTo>
                    <a:pt x="87658" y="543574"/>
                  </a:moveTo>
                  <a:cubicBezTo>
                    <a:pt x="38526" y="571646"/>
                    <a:pt x="0" y="547066"/>
                    <a:pt x="0" y="490922"/>
                  </a:cubicBezTo>
                  <a:lnTo>
                    <a:pt x="0" y="62791"/>
                  </a:lnTo>
                  <a:cubicBezTo>
                    <a:pt x="0" y="6647"/>
                    <a:pt x="38594" y="-14440"/>
                    <a:pt x="87658" y="10139"/>
                  </a:cubicBezTo>
                  <a:lnTo>
                    <a:pt x="476949" y="227731"/>
                  </a:lnTo>
                  <a:cubicBezTo>
                    <a:pt x="526080" y="255803"/>
                    <a:pt x="526080" y="297911"/>
                    <a:pt x="476949" y="325983"/>
                  </a:cubicBezTo>
                  <a:cubicBezTo>
                    <a:pt x="476949" y="325983"/>
                    <a:pt x="87658" y="543574"/>
                    <a:pt x="87658" y="543574"/>
                  </a:cubicBezTo>
                  <a:close/>
                </a:path>
              </a:pathLst>
            </a:custGeom>
            <a:grpFill/>
            <a:ln w="0" cap="flat">
              <a:noFill/>
              <a:prstDash val="solid"/>
              <a:miter/>
            </a:ln>
          </p:spPr>
          <p:txBody>
            <a:bodyPr rtlCol="0" anchor="ctr"/>
            <a:lstStyle/>
            <a:p>
              <a:endParaRPr lang="sv-SE"/>
            </a:p>
          </p:txBody>
        </p:sp>
        <p:sp>
          <p:nvSpPr>
            <p:cNvPr id="261" name="Freeform 260">
              <a:extLst>
                <a:ext uri="{FF2B5EF4-FFF2-40B4-BE49-F238E27FC236}">
                  <a16:creationId xmlns:a16="http://schemas.microsoft.com/office/drawing/2014/main" id="{3FC86599-E9FC-1EE1-9DDA-D6A6FA2B4578}"/>
                </a:ext>
              </a:extLst>
            </p:cNvPr>
            <p:cNvSpPr/>
            <p:nvPr/>
          </p:nvSpPr>
          <p:spPr>
            <a:xfrm>
              <a:off x="1346515" y="-3013943"/>
              <a:ext cx="7768909" cy="1312532"/>
            </a:xfrm>
            <a:custGeom>
              <a:avLst/>
              <a:gdLst>
                <a:gd name="connsiteX0" fmla="*/ 234984 w 7768909"/>
                <a:gd name="connsiteY0" fmla="*/ 536927 h 1312532"/>
                <a:gd name="connsiteX1" fmla="*/ 1062698 w 7768909"/>
                <a:gd name="connsiteY1" fmla="*/ 536927 h 1312532"/>
                <a:gd name="connsiteX2" fmla="*/ 1062698 w 7768909"/>
                <a:gd name="connsiteY2" fmla="*/ 3492 h 1312532"/>
                <a:gd name="connsiteX3" fmla="*/ 1297682 w 7768909"/>
                <a:gd name="connsiteY3" fmla="*/ 3492 h 1312532"/>
                <a:gd name="connsiteX4" fmla="*/ 1297682 w 7768909"/>
                <a:gd name="connsiteY4" fmla="*/ 1305481 h 1312532"/>
                <a:gd name="connsiteX5" fmla="*/ 1062698 w 7768909"/>
                <a:gd name="connsiteY5" fmla="*/ 1305481 h 1312532"/>
                <a:gd name="connsiteX6" fmla="*/ 1062698 w 7768909"/>
                <a:gd name="connsiteY6" fmla="*/ 772046 h 1312532"/>
                <a:gd name="connsiteX7" fmla="*/ 234984 w 7768909"/>
                <a:gd name="connsiteY7" fmla="*/ 772046 h 1312532"/>
                <a:gd name="connsiteX8" fmla="*/ 234984 w 7768909"/>
                <a:gd name="connsiteY8" fmla="*/ 1305481 h 1312532"/>
                <a:gd name="connsiteX9" fmla="*/ 0 w 7768909"/>
                <a:gd name="connsiteY9" fmla="*/ 1305481 h 1312532"/>
                <a:gd name="connsiteX10" fmla="*/ 0 w 7768909"/>
                <a:gd name="connsiteY10" fmla="*/ 3492 h 1312532"/>
                <a:gd name="connsiteX11" fmla="*/ 234984 w 7768909"/>
                <a:gd name="connsiteY11" fmla="*/ 3492 h 1312532"/>
                <a:gd name="connsiteX12" fmla="*/ 234984 w 7768909"/>
                <a:gd name="connsiteY12" fmla="*/ 536927 h 1312532"/>
                <a:gd name="connsiteX13" fmla="*/ 2812965 w 7768909"/>
                <a:gd name="connsiteY13" fmla="*/ 438675 h 1312532"/>
                <a:gd name="connsiteX14" fmla="*/ 2791889 w 7768909"/>
                <a:gd name="connsiteY14" fmla="*/ 582594 h 1312532"/>
                <a:gd name="connsiteX15" fmla="*/ 2739268 w 7768909"/>
                <a:gd name="connsiteY15" fmla="*/ 694882 h 1312532"/>
                <a:gd name="connsiteX16" fmla="*/ 2662081 w 7768909"/>
                <a:gd name="connsiteY16" fmla="*/ 779098 h 1312532"/>
                <a:gd name="connsiteX17" fmla="*/ 2567376 w 7768909"/>
                <a:gd name="connsiteY17" fmla="*/ 835242 h 1312532"/>
                <a:gd name="connsiteX18" fmla="*/ 2469180 w 7768909"/>
                <a:gd name="connsiteY18" fmla="*/ 866806 h 1312532"/>
                <a:gd name="connsiteX19" fmla="*/ 2374475 w 7768909"/>
                <a:gd name="connsiteY19" fmla="*/ 877350 h 1312532"/>
                <a:gd name="connsiteX20" fmla="*/ 2279770 w 7768909"/>
                <a:gd name="connsiteY20" fmla="*/ 877350 h 1312532"/>
                <a:gd name="connsiteX21" fmla="*/ 2279770 w 7768909"/>
                <a:gd name="connsiteY21" fmla="*/ 1305481 h 1312532"/>
                <a:gd name="connsiteX22" fmla="*/ 2041295 w 7768909"/>
                <a:gd name="connsiteY22" fmla="*/ 1305481 h 1312532"/>
                <a:gd name="connsiteX23" fmla="*/ 2041295 w 7768909"/>
                <a:gd name="connsiteY23" fmla="*/ 877350 h 1312532"/>
                <a:gd name="connsiteX24" fmla="*/ 1946590 w 7768909"/>
                <a:gd name="connsiteY24" fmla="*/ 877350 h 1312532"/>
                <a:gd name="connsiteX25" fmla="*/ 1851885 w 7768909"/>
                <a:gd name="connsiteY25" fmla="*/ 866806 h 1312532"/>
                <a:gd name="connsiteX26" fmla="*/ 1753690 w 7768909"/>
                <a:gd name="connsiteY26" fmla="*/ 835242 h 1312532"/>
                <a:gd name="connsiteX27" fmla="*/ 1658985 w 7768909"/>
                <a:gd name="connsiteY27" fmla="*/ 779098 h 1312532"/>
                <a:gd name="connsiteX28" fmla="*/ 1581798 w 7768909"/>
                <a:gd name="connsiteY28" fmla="*/ 694882 h 1312532"/>
                <a:gd name="connsiteX29" fmla="*/ 1525686 w 7768909"/>
                <a:gd name="connsiteY29" fmla="*/ 582594 h 1312532"/>
                <a:gd name="connsiteX30" fmla="*/ 1504611 w 7768909"/>
                <a:gd name="connsiteY30" fmla="*/ 438675 h 1312532"/>
                <a:gd name="connsiteX31" fmla="*/ 1504611 w 7768909"/>
                <a:gd name="connsiteY31" fmla="*/ 3492 h 1312532"/>
                <a:gd name="connsiteX32" fmla="*/ 1739595 w 7768909"/>
                <a:gd name="connsiteY32" fmla="*/ 3492 h 1312532"/>
                <a:gd name="connsiteX33" fmla="*/ 1739595 w 7768909"/>
                <a:gd name="connsiteY33" fmla="*/ 438675 h 1312532"/>
                <a:gd name="connsiteX34" fmla="*/ 1753623 w 7768909"/>
                <a:gd name="connsiteY34" fmla="*/ 522891 h 1312532"/>
                <a:gd name="connsiteX35" fmla="*/ 1795706 w 7768909"/>
                <a:gd name="connsiteY35" fmla="*/ 586086 h 1312532"/>
                <a:gd name="connsiteX36" fmla="*/ 1858866 w 7768909"/>
                <a:gd name="connsiteY36" fmla="*/ 628194 h 1312532"/>
                <a:gd name="connsiteX37" fmla="*/ 1943033 w 7768909"/>
                <a:gd name="connsiteY37" fmla="*/ 642230 h 1312532"/>
                <a:gd name="connsiteX38" fmla="*/ 2367427 w 7768909"/>
                <a:gd name="connsiteY38" fmla="*/ 642230 h 1312532"/>
                <a:gd name="connsiteX39" fmla="*/ 2437567 w 7768909"/>
                <a:gd name="connsiteY39" fmla="*/ 628194 h 1312532"/>
                <a:gd name="connsiteX40" fmla="*/ 2500726 w 7768909"/>
                <a:gd name="connsiteY40" fmla="*/ 600122 h 1312532"/>
                <a:gd name="connsiteX41" fmla="*/ 2549858 w 7768909"/>
                <a:gd name="connsiteY41" fmla="*/ 540486 h 1312532"/>
                <a:gd name="connsiteX42" fmla="*/ 2567376 w 7768909"/>
                <a:gd name="connsiteY42" fmla="*/ 442234 h 1312532"/>
                <a:gd name="connsiteX43" fmla="*/ 2567376 w 7768909"/>
                <a:gd name="connsiteY43" fmla="*/ 7052 h 1312532"/>
                <a:gd name="connsiteX44" fmla="*/ 2812897 w 7768909"/>
                <a:gd name="connsiteY44" fmla="*/ 7052 h 1312532"/>
                <a:gd name="connsiteX45" fmla="*/ 2812897 w 7768909"/>
                <a:gd name="connsiteY45" fmla="*/ 438742 h 1312532"/>
                <a:gd name="connsiteX46" fmla="*/ 2812897 w 7768909"/>
                <a:gd name="connsiteY46" fmla="*/ 438742 h 1312532"/>
                <a:gd name="connsiteX47" fmla="*/ 4324623 w 7768909"/>
                <a:gd name="connsiteY47" fmla="*/ 1017710 h 1312532"/>
                <a:gd name="connsiteX48" fmla="*/ 4310595 w 7768909"/>
                <a:gd name="connsiteY48" fmla="*/ 1112469 h 1312532"/>
                <a:gd name="connsiteX49" fmla="*/ 4261463 w 7768909"/>
                <a:gd name="connsiteY49" fmla="*/ 1203737 h 1312532"/>
                <a:gd name="connsiteX50" fmla="*/ 4173806 w 7768909"/>
                <a:gd name="connsiteY50" fmla="*/ 1273917 h 1312532"/>
                <a:gd name="connsiteX51" fmla="*/ 4040507 w 7768909"/>
                <a:gd name="connsiteY51" fmla="*/ 1301989 h 1312532"/>
                <a:gd name="connsiteX52" fmla="*/ 3146144 w 7768909"/>
                <a:gd name="connsiteY52" fmla="*/ 1301989 h 1312532"/>
                <a:gd name="connsiteX53" fmla="*/ 3100570 w 7768909"/>
                <a:gd name="connsiteY53" fmla="*/ 1291445 h 1312532"/>
                <a:gd name="connsiteX54" fmla="*/ 3061977 w 7768909"/>
                <a:gd name="connsiteY54" fmla="*/ 1266865 h 1312532"/>
                <a:gd name="connsiteX55" fmla="*/ 3037411 w 7768909"/>
                <a:gd name="connsiteY55" fmla="*/ 1228250 h 1312532"/>
                <a:gd name="connsiteX56" fmla="*/ 3026873 w 7768909"/>
                <a:gd name="connsiteY56" fmla="*/ 1182649 h 1312532"/>
                <a:gd name="connsiteX57" fmla="*/ 3026873 w 7768909"/>
                <a:gd name="connsiteY57" fmla="*/ 119339 h 1312532"/>
                <a:gd name="connsiteX58" fmla="*/ 3037411 w 7768909"/>
                <a:gd name="connsiteY58" fmla="*/ 73739 h 1312532"/>
                <a:gd name="connsiteX59" fmla="*/ 3061977 w 7768909"/>
                <a:gd name="connsiteY59" fmla="*/ 35124 h 1312532"/>
                <a:gd name="connsiteX60" fmla="*/ 3100570 w 7768909"/>
                <a:gd name="connsiteY60" fmla="*/ 10544 h 1312532"/>
                <a:gd name="connsiteX61" fmla="*/ 3146144 w 7768909"/>
                <a:gd name="connsiteY61" fmla="*/ 0 h 1312532"/>
                <a:gd name="connsiteX62" fmla="*/ 3935332 w 7768909"/>
                <a:gd name="connsiteY62" fmla="*/ 0 h 1312532"/>
                <a:gd name="connsiteX63" fmla="*/ 4030037 w 7768909"/>
                <a:gd name="connsiteY63" fmla="*/ 14036 h 1312532"/>
                <a:gd name="connsiteX64" fmla="*/ 4124742 w 7768909"/>
                <a:gd name="connsiteY64" fmla="*/ 63196 h 1312532"/>
                <a:gd name="connsiteX65" fmla="*/ 4194881 w 7768909"/>
                <a:gd name="connsiteY65" fmla="*/ 150904 h 1312532"/>
                <a:gd name="connsiteX66" fmla="*/ 4222937 w 7768909"/>
                <a:gd name="connsiteY66" fmla="*/ 284279 h 1312532"/>
                <a:gd name="connsiteX67" fmla="*/ 4222937 w 7768909"/>
                <a:gd name="connsiteY67" fmla="*/ 329879 h 1312532"/>
                <a:gd name="connsiteX68" fmla="*/ 4201862 w 7768909"/>
                <a:gd name="connsiteY68" fmla="*/ 463255 h 1312532"/>
                <a:gd name="connsiteX69" fmla="*/ 4135212 w 7768909"/>
                <a:gd name="connsiteY69" fmla="*/ 600122 h 1312532"/>
                <a:gd name="connsiteX70" fmla="*/ 4208842 w 7768909"/>
                <a:gd name="connsiteY70" fmla="*/ 659759 h 1312532"/>
                <a:gd name="connsiteX71" fmla="*/ 4268444 w 7768909"/>
                <a:gd name="connsiteY71" fmla="*/ 740482 h 1312532"/>
                <a:gd name="connsiteX72" fmla="*/ 4310528 w 7768909"/>
                <a:gd name="connsiteY72" fmla="*/ 842226 h 1312532"/>
                <a:gd name="connsiteX73" fmla="*/ 4324556 w 7768909"/>
                <a:gd name="connsiteY73" fmla="*/ 968550 h 1312532"/>
                <a:gd name="connsiteX74" fmla="*/ 4324556 w 7768909"/>
                <a:gd name="connsiteY74" fmla="*/ 1017710 h 1312532"/>
                <a:gd name="connsiteX75" fmla="*/ 4089638 w 7768909"/>
                <a:gd name="connsiteY75" fmla="*/ 972110 h 1312532"/>
                <a:gd name="connsiteX76" fmla="*/ 4075610 w 7768909"/>
                <a:gd name="connsiteY76" fmla="*/ 887894 h 1312532"/>
                <a:gd name="connsiteX77" fmla="*/ 4033527 w 7768909"/>
                <a:gd name="connsiteY77" fmla="*/ 824698 h 1312532"/>
                <a:gd name="connsiteX78" fmla="*/ 3970368 w 7768909"/>
                <a:gd name="connsiteY78" fmla="*/ 782590 h 1312532"/>
                <a:gd name="connsiteX79" fmla="*/ 3886200 w 7768909"/>
                <a:gd name="connsiteY79" fmla="*/ 768554 h 1312532"/>
                <a:gd name="connsiteX80" fmla="*/ 3353073 w 7768909"/>
                <a:gd name="connsiteY80" fmla="*/ 768554 h 1312532"/>
                <a:gd name="connsiteX81" fmla="*/ 3353073 w 7768909"/>
                <a:gd name="connsiteY81" fmla="*/ 529942 h 1312532"/>
                <a:gd name="connsiteX82" fmla="*/ 3777467 w 7768909"/>
                <a:gd name="connsiteY82" fmla="*/ 529942 h 1312532"/>
                <a:gd name="connsiteX83" fmla="*/ 3861634 w 7768909"/>
                <a:gd name="connsiteY83" fmla="*/ 515906 h 1312532"/>
                <a:gd name="connsiteX84" fmla="*/ 3924794 w 7768909"/>
                <a:gd name="connsiteY84" fmla="*/ 473799 h 1312532"/>
                <a:gd name="connsiteX85" fmla="*/ 3966877 w 7768909"/>
                <a:gd name="connsiteY85" fmla="*/ 410603 h 1312532"/>
                <a:gd name="connsiteX86" fmla="*/ 3980905 w 7768909"/>
                <a:gd name="connsiteY86" fmla="*/ 326387 h 1312532"/>
                <a:gd name="connsiteX87" fmla="*/ 3980905 w 7768909"/>
                <a:gd name="connsiteY87" fmla="*/ 280787 h 1312532"/>
                <a:gd name="connsiteX88" fmla="*/ 3931774 w 7768909"/>
                <a:gd name="connsiteY88" fmla="*/ 231627 h 1312532"/>
                <a:gd name="connsiteX89" fmla="*/ 3258367 w 7768909"/>
                <a:gd name="connsiteY89" fmla="*/ 231627 h 1312532"/>
                <a:gd name="connsiteX90" fmla="*/ 3258367 w 7768909"/>
                <a:gd name="connsiteY90" fmla="*/ 1059818 h 1312532"/>
                <a:gd name="connsiteX91" fmla="*/ 4051045 w 7768909"/>
                <a:gd name="connsiteY91" fmla="*/ 1059818 h 1312532"/>
                <a:gd name="connsiteX92" fmla="*/ 4068563 w 7768909"/>
                <a:gd name="connsiteY92" fmla="*/ 1052766 h 1312532"/>
                <a:gd name="connsiteX93" fmla="*/ 4082591 w 7768909"/>
                <a:gd name="connsiteY93" fmla="*/ 1038730 h 1312532"/>
                <a:gd name="connsiteX94" fmla="*/ 4089638 w 7768909"/>
                <a:gd name="connsiteY94" fmla="*/ 1007166 h 1312532"/>
                <a:gd name="connsiteX95" fmla="*/ 4089638 w 7768909"/>
                <a:gd name="connsiteY95" fmla="*/ 972042 h 1312532"/>
                <a:gd name="connsiteX96" fmla="*/ 5804735 w 7768909"/>
                <a:gd name="connsiteY96" fmla="*/ 442167 h 1312532"/>
                <a:gd name="connsiteX97" fmla="*/ 5783659 w 7768909"/>
                <a:gd name="connsiteY97" fmla="*/ 586086 h 1312532"/>
                <a:gd name="connsiteX98" fmla="*/ 5731038 w 7768909"/>
                <a:gd name="connsiteY98" fmla="*/ 698374 h 1312532"/>
                <a:gd name="connsiteX99" fmla="*/ 5653851 w 7768909"/>
                <a:gd name="connsiteY99" fmla="*/ 782590 h 1312532"/>
                <a:gd name="connsiteX100" fmla="*/ 5559146 w 7768909"/>
                <a:gd name="connsiteY100" fmla="*/ 838734 h 1312532"/>
                <a:gd name="connsiteX101" fmla="*/ 5460950 w 7768909"/>
                <a:gd name="connsiteY101" fmla="*/ 870298 h 1312532"/>
                <a:gd name="connsiteX102" fmla="*/ 5366245 w 7768909"/>
                <a:gd name="connsiteY102" fmla="*/ 880842 h 1312532"/>
                <a:gd name="connsiteX103" fmla="*/ 5857289 w 7768909"/>
                <a:gd name="connsiteY103" fmla="*/ 1305481 h 1312532"/>
                <a:gd name="connsiteX104" fmla="*/ 5492496 w 7768909"/>
                <a:gd name="connsiteY104" fmla="*/ 1305481 h 1312532"/>
                <a:gd name="connsiteX105" fmla="*/ 5001452 w 7768909"/>
                <a:gd name="connsiteY105" fmla="*/ 880842 h 1312532"/>
                <a:gd name="connsiteX106" fmla="*/ 4833117 w 7768909"/>
                <a:gd name="connsiteY106" fmla="*/ 880842 h 1312532"/>
                <a:gd name="connsiteX107" fmla="*/ 4833117 w 7768909"/>
                <a:gd name="connsiteY107" fmla="*/ 645723 h 1312532"/>
                <a:gd name="connsiteX108" fmla="*/ 5366245 w 7768909"/>
                <a:gd name="connsiteY108" fmla="*/ 645723 h 1312532"/>
                <a:gd name="connsiteX109" fmla="*/ 5446922 w 7768909"/>
                <a:gd name="connsiteY109" fmla="*/ 628194 h 1312532"/>
                <a:gd name="connsiteX110" fmla="*/ 5510082 w 7768909"/>
                <a:gd name="connsiteY110" fmla="*/ 586086 h 1312532"/>
                <a:gd name="connsiteX111" fmla="*/ 5552165 w 7768909"/>
                <a:gd name="connsiteY111" fmla="*/ 526450 h 1312532"/>
                <a:gd name="connsiteX112" fmla="*/ 5566193 w 7768909"/>
                <a:gd name="connsiteY112" fmla="*/ 445727 h 1312532"/>
                <a:gd name="connsiteX113" fmla="*/ 5566193 w 7768909"/>
                <a:gd name="connsiteY113" fmla="*/ 298315 h 1312532"/>
                <a:gd name="connsiteX114" fmla="*/ 5562703 w 7768909"/>
                <a:gd name="connsiteY114" fmla="*/ 266751 h 1312532"/>
                <a:gd name="connsiteX115" fmla="*/ 5548675 w 7768909"/>
                <a:gd name="connsiteY115" fmla="*/ 252715 h 1312532"/>
                <a:gd name="connsiteX116" fmla="*/ 5531157 w 7768909"/>
                <a:gd name="connsiteY116" fmla="*/ 245663 h 1312532"/>
                <a:gd name="connsiteX117" fmla="*/ 4734989 w 7768909"/>
                <a:gd name="connsiteY117" fmla="*/ 245663 h 1312532"/>
                <a:gd name="connsiteX118" fmla="*/ 4734989 w 7768909"/>
                <a:gd name="connsiteY118" fmla="*/ 1312533 h 1312532"/>
                <a:gd name="connsiteX119" fmla="*/ 4506986 w 7768909"/>
                <a:gd name="connsiteY119" fmla="*/ 1312533 h 1312532"/>
                <a:gd name="connsiteX120" fmla="*/ 4506986 w 7768909"/>
                <a:gd name="connsiteY120" fmla="*/ 129816 h 1312532"/>
                <a:gd name="connsiteX121" fmla="*/ 4517523 w 7768909"/>
                <a:gd name="connsiteY121" fmla="*/ 84216 h 1312532"/>
                <a:gd name="connsiteX122" fmla="*/ 4542089 w 7768909"/>
                <a:gd name="connsiteY122" fmla="*/ 45600 h 1312532"/>
                <a:gd name="connsiteX123" fmla="*/ 4580682 w 7768909"/>
                <a:gd name="connsiteY123" fmla="*/ 21020 h 1312532"/>
                <a:gd name="connsiteX124" fmla="*/ 4626256 w 7768909"/>
                <a:gd name="connsiteY124" fmla="*/ 10477 h 1312532"/>
                <a:gd name="connsiteX125" fmla="*/ 5520619 w 7768909"/>
                <a:gd name="connsiteY125" fmla="*/ 10477 h 1312532"/>
                <a:gd name="connsiteX126" fmla="*/ 5653918 w 7768909"/>
                <a:gd name="connsiteY126" fmla="*/ 38549 h 1312532"/>
                <a:gd name="connsiteX127" fmla="*/ 5741576 w 7768909"/>
                <a:gd name="connsiteY127" fmla="*/ 108729 h 1312532"/>
                <a:gd name="connsiteX128" fmla="*/ 5790707 w 7768909"/>
                <a:gd name="connsiteY128" fmla="*/ 203488 h 1312532"/>
                <a:gd name="connsiteX129" fmla="*/ 5804735 w 7768909"/>
                <a:gd name="connsiteY129" fmla="*/ 298248 h 1312532"/>
                <a:gd name="connsiteX130" fmla="*/ 5804735 w 7768909"/>
                <a:gd name="connsiteY130" fmla="*/ 442167 h 1312532"/>
                <a:gd name="connsiteX131" fmla="*/ 6299336 w 7768909"/>
                <a:gd name="connsiteY131" fmla="*/ 1305481 h 1312532"/>
                <a:gd name="connsiteX132" fmla="*/ 6064351 w 7768909"/>
                <a:gd name="connsiteY132" fmla="*/ 1305481 h 1312532"/>
                <a:gd name="connsiteX133" fmla="*/ 6064351 w 7768909"/>
                <a:gd name="connsiteY133" fmla="*/ 3492 h 1312532"/>
                <a:gd name="connsiteX134" fmla="*/ 6299336 w 7768909"/>
                <a:gd name="connsiteY134" fmla="*/ 3492 h 1312532"/>
                <a:gd name="connsiteX135" fmla="*/ 6299336 w 7768909"/>
                <a:gd name="connsiteY135" fmla="*/ 1305481 h 1312532"/>
                <a:gd name="connsiteX136" fmla="*/ 7768910 w 7768909"/>
                <a:gd name="connsiteY136" fmla="*/ 238612 h 1312532"/>
                <a:gd name="connsiteX137" fmla="*/ 7249811 w 7768909"/>
                <a:gd name="connsiteY137" fmla="*/ 238612 h 1312532"/>
                <a:gd name="connsiteX138" fmla="*/ 7249811 w 7768909"/>
                <a:gd name="connsiteY138" fmla="*/ 1305481 h 1312532"/>
                <a:gd name="connsiteX139" fmla="*/ 7014826 w 7768909"/>
                <a:gd name="connsiteY139" fmla="*/ 1305481 h 1312532"/>
                <a:gd name="connsiteX140" fmla="*/ 7014826 w 7768909"/>
                <a:gd name="connsiteY140" fmla="*/ 238612 h 1312532"/>
                <a:gd name="connsiteX141" fmla="*/ 6495726 w 7768909"/>
                <a:gd name="connsiteY141" fmla="*/ 238612 h 1312532"/>
                <a:gd name="connsiteX142" fmla="*/ 6495726 w 7768909"/>
                <a:gd name="connsiteY142" fmla="*/ 3492 h 1312532"/>
                <a:gd name="connsiteX143" fmla="*/ 7768910 w 7768909"/>
                <a:gd name="connsiteY143" fmla="*/ 3492 h 1312532"/>
                <a:gd name="connsiteX144" fmla="*/ 7768910 w 7768909"/>
                <a:gd name="connsiteY144" fmla="*/ 238612 h 131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7768909" h="1312532">
                  <a:moveTo>
                    <a:pt x="234984" y="536927"/>
                  </a:moveTo>
                  <a:lnTo>
                    <a:pt x="1062698" y="536927"/>
                  </a:lnTo>
                  <a:lnTo>
                    <a:pt x="1062698" y="3492"/>
                  </a:lnTo>
                  <a:lnTo>
                    <a:pt x="1297682" y="3492"/>
                  </a:lnTo>
                  <a:lnTo>
                    <a:pt x="1297682" y="1305481"/>
                  </a:lnTo>
                  <a:lnTo>
                    <a:pt x="1062698" y="1305481"/>
                  </a:lnTo>
                  <a:lnTo>
                    <a:pt x="1062698" y="772046"/>
                  </a:lnTo>
                  <a:lnTo>
                    <a:pt x="234984" y="772046"/>
                  </a:lnTo>
                  <a:lnTo>
                    <a:pt x="234984" y="1305481"/>
                  </a:lnTo>
                  <a:lnTo>
                    <a:pt x="0" y="1305481"/>
                  </a:lnTo>
                  <a:lnTo>
                    <a:pt x="0" y="3492"/>
                  </a:lnTo>
                  <a:lnTo>
                    <a:pt x="234984" y="3492"/>
                  </a:lnTo>
                  <a:lnTo>
                    <a:pt x="234984" y="536927"/>
                  </a:lnTo>
                  <a:close/>
                  <a:moveTo>
                    <a:pt x="2812965" y="438675"/>
                  </a:moveTo>
                  <a:cubicBezTo>
                    <a:pt x="2812965" y="491327"/>
                    <a:pt x="2805917" y="540419"/>
                    <a:pt x="2791889" y="582594"/>
                  </a:cubicBezTo>
                  <a:cubicBezTo>
                    <a:pt x="2777861" y="624702"/>
                    <a:pt x="2760343" y="663318"/>
                    <a:pt x="2739268" y="694882"/>
                  </a:cubicBezTo>
                  <a:cubicBezTo>
                    <a:pt x="2718192" y="726446"/>
                    <a:pt x="2690137" y="754518"/>
                    <a:pt x="2662081" y="779098"/>
                  </a:cubicBezTo>
                  <a:cubicBezTo>
                    <a:pt x="2634025" y="803678"/>
                    <a:pt x="2602479" y="821206"/>
                    <a:pt x="2567376" y="835242"/>
                  </a:cubicBezTo>
                  <a:cubicBezTo>
                    <a:pt x="2535829" y="849278"/>
                    <a:pt x="2504216" y="859822"/>
                    <a:pt x="2469180" y="866806"/>
                  </a:cubicBezTo>
                  <a:cubicBezTo>
                    <a:pt x="2434077" y="873858"/>
                    <a:pt x="2406021" y="877350"/>
                    <a:pt x="2374475" y="877350"/>
                  </a:cubicBezTo>
                  <a:lnTo>
                    <a:pt x="2279770" y="877350"/>
                  </a:lnTo>
                  <a:lnTo>
                    <a:pt x="2279770" y="1305481"/>
                  </a:lnTo>
                  <a:lnTo>
                    <a:pt x="2041295" y="1305481"/>
                  </a:lnTo>
                  <a:lnTo>
                    <a:pt x="2041295" y="877350"/>
                  </a:lnTo>
                  <a:lnTo>
                    <a:pt x="1946590" y="877350"/>
                  </a:lnTo>
                  <a:cubicBezTo>
                    <a:pt x="1918534" y="877350"/>
                    <a:pt x="1886988" y="873858"/>
                    <a:pt x="1851885" y="866806"/>
                  </a:cubicBezTo>
                  <a:cubicBezTo>
                    <a:pt x="1820339" y="859755"/>
                    <a:pt x="1785236" y="849278"/>
                    <a:pt x="1753690" y="835242"/>
                  </a:cubicBezTo>
                  <a:cubicBezTo>
                    <a:pt x="1722144" y="821206"/>
                    <a:pt x="1690531" y="800118"/>
                    <a:pt x="1658985" y="779098"/>
                  </a:cubicBezTo>
                  <a:cubicBezTo>
                    <a:pt x="1630929" y="754518"/>
                    <a:pt x="1602873" y="729938"/>
                    <a:pt x="1581798" y="694882"/>
                  </a:cubicBezTo>
                  <a:cubicBezTo>
                    <a:pt x="1560722" y="659759"/>
                    <a:pt x="1539714" y="624702"/>
                    <a:pt x="1525686" y="582594"/>
                  </a:cubicBezTo>
                  <a:cubicBezTo>
                    <a:pt x="1511658" y="540486"/>
                    <a:pt x="1504611" y="491327"/>
                    <a:pt x="1504611" y="438675"/>
                  </a:cubicBezTo>
                  <a:lnTo>
                    <a:pt x="1504611" y="3492"/>
                  </a:lnTo>
                  <a:lnTo>
                    <a:pt x="1739595" y="3492"/>
                  </a:lnTo>
                  <a:lnTo>
                    <a:pt x="1739595" y="438675"/>
                  </a:lnTo>
                  <a:cubicBezTo>
                    <a:pt x="1739595" y="470239"/>
                    <a:pt x="1743085" y="498311"/>
                    <a:pt x="1753623" y="522891"/>
                  </a:cubicBezTo>
                  <a:cubicBezTo>
                    <a:pt x="1764160" y="547471"/>
                    <a:pt x="1778188" y="568491"/>
                    <a:pt x="1795706" y="586086"/>
                  </a:cubicBezTo>
                  <a:cubicBezTo>
                    <a:pt x="1813225" y="603682"/>
                    <a:pt x="1834300" y="617651"/>
                    <a:pt x="1858866" y="628194"/>
                  </a:cubicBezTo>
                  <a:cubicBezTo>
                    <a:pt x="1883431" y="638738"/>
                    <a:pt x="1911487" y="642230"/>
                    <a:pt x="1943033" y="642230"/>
                  </a:cubicBezTo>
                  <a:lnTo>
                    <a:pt x="2367427" y="642230"/>
                  </a:lnTo>
                  <a:cubicBezTo>
                    <a:pt x="2388503" y="638738"/>
                    <a:pt x="2413001" y="635179"/>
                    <a:pt x="2437567" y="628194"/>
                  </a:cubicBezTo>
                  <a:cubicBezTo>
                    <a:pt x="2462133" y="621210"/>
                    <a:pt x="2483141" y="614158"/>
                    <a:pt x="2500726" y="600122"/>
                  </a:cubicBezTo>
                  <a:cubicBezTo>
                    <a:pt x="2521802" y="586086"/>
                    <a:pt x="2535829" y="568558"/>
                    <a:pt x="2549858" y="540486"/>
                  </a:cubicBezTo>
                  <a:cubicBezTo>
                    <a:pt x="2563885" y="512414"/>
                    <a:pt x="2567376" y="484342"/>
                    <a:pt x="2567376" y="442234"/>
                  </a:cubicBezTo>
                  <a:lnTo>
                    <a:pt x="2567376" y="7052"/>
                  </a:lnTo>
                  <a:lnTo>
                    <a:pt x="2812897" y="7052"/>
                  </a:lnTo>
                  <a:lnTo>
                    <a:pt x="2812897" y="438742"/>
                  </a:lnTo>
                  <a:cubicBezTo>
                    <a:pt x="2812897" y="438742"/>
                    <a:pt x="2812897" y="438742"/>
                    <a:pt x="2812897" y="438742"/>
                  </a:cubicBezTo>
                  <a:close/>
                  <a:moveTo>
                    <a:pt x="4324623" y="1017710"/>
                  </a:moveTo>
                  <a:cubicBezTo>
                    <a:pt x="4324623" y="1045782"/>
                    <a:pt x="4321133" y="1077346"/>
                    <a:pt x="4310595" y="1112469"/>
                  </a:cubicBezTo>
                  <a:cubicBezTo>
                    <a:pt x="4300057" y="1144034"/>
                    <a:pt x="4282539" y="1175665"/>
                    <a:pt x="4261463" y="1203737"/>
                  </a:cubicBezTo>
                  <a:cubicBezTo>
                    <a:pt x="4240388" y="1231809"/>
                    <a:pt x="4208842" y="1256389"/>
                    <a:pt x="4173806" y="1273917"/>
                  </a:cubicBezTo>
                  <a:cubicBezTo>
                    <a:pt x="4138703" y="1291445"/>
                    <a:pt x="4093128" y="1301989"/>
                    <a:pt x="4040507" y="1301989"/>
                  </a:cubicBezTo>
                  <a:lnTo>
                    <a:pt x="3146144" y="1301989"/>
                  </a:lnTo>
                  <a:cubicBezTo>
                    <a:pt x="3128626" y="1301989"/>
                    <a:pt x="3114598" y="1298497"/>
                    <a:pt x="3100570" y="1291445"/>
                  </a:cubicBezTo>
                  <a:cubicBezTo>
                    <a:pt x="3086542" y="1284394"/>
                    <a:pt x="3072514" y="1277409"/>
                    <a:pt x="3061977" y="1266865"/>
                  </a:cubicBezTo>
                  <a:cubicBezTo>
                    <a:pt x="3051439" y="1256322"/>
                    <a:pt x="3044459" y="1242286"/>
                    <a:pt x="3037411" y="1228250"/>
                  </a:cubicBezTo>
                  <a:cubicBezTo>
                    <a:pt x="3030364" y="1214214"/>
                    <a:pt x="3026873" y="1196685"/>
                    <a:pt x="3026873" y="1182649"/>
                  </a:cubicBezTo>
                  <a:lnTo>
                    <a:pt x="3026873" y="119339"/>
                  </a:lnTo>
                  <a:cubicBezTo>
                    <a:pt x="3026873" y="101811"/>
                    <a:pt x="3030364" y="87775"/>
                    <a:pt x="3037411" y="73739"/>
                  </a:cubicBezTo>
                  <a:cubicBezTo>
                    <a:pt x="3044459" y="59703"/>
                    <a:pt x="3051439" y="45667"/>
                    <a:pt x="3061977" y="35124"/>
                  </a:cubicBezTo>
                  <a:cubicBezTo>
                    <a:pt x="3072514" y="24580"/>
                    <a:pt x="3086542" y="14036"/>
                    <a:pt x="3100570" y="10544"/>
                  </a:cubicBezTo>
                  <a:cubicBezTo>
                    <a:pt x="3114598" y="3492"/>
                    <a:pt x="3132116" y="0"/>
                    <a:pt x="3146144" y="0"/>
                  </a:cubicBezTo>
                  <a:lnTo>
                    <a:pt x="3935332" y="0"/>
                  </a:lnTo>
                  <a:cubicBezTo>
                    <a:pt x="3963387" y="0"/>
                    <a:pt x="3994933" y="3492"/>
                    <a:pt x="4030037" y="14036"/>
                  </a:cubicBezTo>
                  <a:cubicBezTo>
                    <a:pt x="4061583" y="24580"/>
                    <a:pt x="4093196" y="42108"/>
                    <a:pt x="4124742" y="63196"/>
                  </a:cubicBezTo>
                  <a:cubicBezTo>
                    <a:pt x="4152797" y="84283"/>
                    <a:pt x="4177363" y="115847"/>
                    <a:pt x="4194881" y="150904"/>
                  </a:cubicBezTo>
                  <a:cubicBezTo>
                    <a:pt x="4212399" y="185960"/>
                    <a:pt x="4222937" y="231627"/>
                    <a:pt x="4222937" y="284279"/>
                  </a:cubicBezTo>
                  <a:lnTo>
                    <a:pt x="4222937" y="329879"/>
                  </a:lnTo>
                  <a:cubicBezTo>
                    <a:pt x="4222937" y="371987"/>
                    <a:pt x="4215890" y="417587"/>
                    <a:pt x="4201862" y="463255"/>
                  </a:cubicBezTo>
                  <a:cubicBezTo>
                    <a:pt x="4187834" y="512414"/>
                    <a:pt x="4166758" y="558014"/>
                    <a:pt x="4135212" y="600122"/>
                  </a:cubicBezTo>
                  <a:cubicBezTo>
                    <a:pt x="4163268" y="617651"/>
                    <a:pt x="4187834" y="635246"/>
                    <a:pt x="4208842" y="659759"/>
                  </a:cubicBezTo>
                  <a:cubicBezTo>
                    <a:pt x="4233408" y="684338"/>
                    <a:pt x="4250926" y="708918"/>
                    <a:pt x="4268444" y="740482"/>
                  </a:cubicBezTo>
                  <a:cubicBezTo>
                    <a:pt x="4285962" y="772046"/>
                    <a:pt x="4299990" y="803678"/>
                    <a:pt x="4310528" y="842226"/>
                  </a:cubicBezTo>
                  <a:cubicBezTo>
                    <a:pt x="4321065" y="880842"/>
                    <a:pt x="4324556" y="922950"/>
                    <a:pt x="4324556" y="968550"/>
                  </a:cubicBezTo>
                  <a:cubicBezTo>
                    <a:pt x="4324556" y="968550"/>
                    <a:pt x="4324556" y="1017710"/>
                    <a:pt x="4324556" y="1017710"/>
                  </a:cubicBezTo>
                  <a:close/>
                  <a:moveTo>
                    <a:pt x="4089638" y="972110"/>
                  </a:moveTo>
                  <a:cubicBezTo>
                    <a:pt x="4089638" y="940545"/>
                    <a:pt x="4086148" y="912473"/>
                    <a:pt x="4075610" y="887894"/>
                  </a:cubicBezTo>
                  <a:cubicBezTo>
                    <a:pt x="4065073" y="863314"/>
                    <a:pt x="4051045" y="842294"/>
                    <a:pt x="4033527" y="824698"/>
                  </a:cubicBezTo>
                  <a:cubicBezTo>
                    <a:pt x="4016009" y="807103"/>
                    <a:pt x="3994933" y="793134"/>
                    <a:pt x="3970368" y="782590"/>
                  </a:cubicBezTo>
                  <a:cubicBezTo>
                    <a:pt x="3945802" y="772046"/>
                    <a:pt x="3917746" y="768554"/>
                    <a:pt x="3886200" y="768554"/>
                  </a:cubicBezTo>
                  <a:lnTo>
                    <a:pt x="3353073" y="768554"/>
                  </a:lnTo>
                  <a:lnTo>
                    <a:pt x="3353073" y="529942"/>
                  </a:lnTo>
                  <a:lnTo>
                    <a:pt x="3777467" y="529942"/>
                  </a:lnTo>
                  <a:cubicBezTo>
                    <a:pt x="3809013" y="529942"/>
                    <a:pt x="3837069" y="526450"/>
                    <a:pt x="3861634" y="515906"/>
                  </a:cubicBezTo>
                  <a:cubicBezTo>
                    <a:pt x="3886200" y="505363"/>
                    <a:pt x="3907209" y="491327"/>
                    <a:pt x="3924794" y="473799"/>
                  </a:cubicBezTo>
                  <a:cubicBezTo>
                    <a:pt x="3942379" y="456270"/>
                    <a:pt x="3956339" y="435183"/>
                    <a:pt x="3966877" y="410603"/>
                  </a:cubicBezTo>
                  <a:cubicBezTo>
                    <a:pt x="3977415" y="386023"/>
                    <a:pt x="3980905" y="357951"/>
                    <a:pt x="3980905" y="326387"/>
                  </a:cubicBezTo>
                  <a:lnTo>
                    <a:pt x="3980905" y="280787"/>
                  </a:lnTo>
                  <a:cubicBezTo>
                    <a:pt x="3980905" y="245663"/>
                    <a:pt x="3963387" y="231627"/>
                    <a:pt x="3931774" y="231627"/>
                  </a:cubicBezTo>
                  <a:lnTo>
                    <a:pt x="3258367" y="231627"/>
                  </a:lnTo>
                  <a:lnTo>
                    <a:pt x="3258367" y="1059818"/>
                  </a:lnTo>
                  <a:lnTo>
                    <a:pt x="4051045" y="1059818"/>
                  </a:lnTo>
                  <a:cubicBezTo>
                    <a:pt x="4058092" y="1059818"/>
                    <a:pt x="4061583" y="1056326"/>
                    <a:pt x="4068563" y="1052766"/>
                  </a:cubicBezTo>
                  <a:cubicBezTo>
                    <a:pt x="4072053" y="1049274"/>
                    <a:pt x="4079101" y="1045715"/>
                    <a:pt x="4082591" y="1038730"/>
                  </a:cubicBezTo>
                  <a:cubicBezTo>
                    <a:pt x="4086081" y="1031679"/>
                    <a:pt x="4089638" y="1021202"/>
                    <a:pt x="4089638" y="1007166"/>
                  </a:cubicBezTo>
                  <a:lnTo>
                    <a:pt x="4089638" y="972042"/>
                  </a:lnTo>
                  <a:close/>
                  <a:moveTo>
                    <a:pt x="5804735" y="442167"/>
                  </a:moveTo>
                  <a:cubicBezTo>
                    <a:pt x="5804735" y="494819"/>
                    <a:pt x="5797687" y="543911"/>
                    <a:pt x="5783659" y="586086"/>
                  </a:cubicBezTo>
                  <a:cubicBezTo>
                    <a:pt x="5769631" y="628194"/>
                    <a:pt x="5752113" y="666810"/>
                    <a:pt x="5731038" y="698374"/>
                  </a:cubicBezTo>
                  <a:cubicBezTo>
                    <a:pt x="5709962" y="729938"/>
                    <a:pt x="5681907" y="758010"/>
                    <a:pt x="5653851" y="782590"/>
                  </a:cubicBezTo>
                  <a:cubicBezTo>
                    <a:pt x="5625795" y="807170"/>
                    <a:pt x="5594249" y="824698"/>
                    <a:pt x="5559146" y="838734"/>
                  </a:cubicBezTo>
                  <a:cubicBezTo>
                    <a:pt x="5527600" y="852770"/>
                    <a:pt x="5492496" y="863314"/>
                    <a:pt x="5460950" y="870298"/>
                  </a:cubicBezTo>
                  <a:cubicBezTo>
                    <a:pt x="5429404" y="877350"/>
                    <a:pt x="5397791" y="880842"/>
                    <a:pt x="5366245" y="880842"/>
                  </a:cubicBezTo>
                  <a:lnTo>
                    <a:pt x="5857289" y="1305481"/>
                  </a:lnTo>
                  <a:lnTo>
                    <a:pt x="5492496" y="1305481"/>
                  </a:lnTo>
                  <a:lnTo>
                    <a:pt x="5001452" y="880842"/>
                  </a:lnTo>
                  <a:lnTo>
                    <a:pt x="4833117" y="880842"/>
                  </a:lnTo>
                  <a:lnTo>
                    <a:pt x="4833117" y="645723"/>
                  </a:lnTo>
                  <a:lnTo>
                    <a:pt x="5366245" y="645723"/>
                  </a:lnTo>
                  <a:cubicBezTo>
                    <a:pt x="5394301" y="642230"/>
                    <a:pt x="5422357" y="638671"/>
                    <a:pt x="5446922" y="628194"/>
                  </a:cubicBezTo>
                  <a:cubicBezTo>
                    <a:pt x="5471488" y="617718"/>
                    <a:pt x="5492496" y="603615"/>
                    <a:pt x="5510082" y="586086"/>
                  </a:cubicBezTo>
                  <a:cubicBezTo>
                    <a:pt x="5527667" y="568558"/>
                    <a:pt x="5541627" y="547471"/>
                    <a:pt x="5552165" y="526450"/>
                  </a:cubicBezTo>
                  <a:cubicBezTo>
                    <a:pt x="5562703" y="501870"/>
                    <a:pt x="5566193" y="473799"/>
                    <a:pt x="5566193" y="445727"/>
                  </a:cubicBezTo>
                  <a:lnTo>
                    <a:pt x="5566193" y="298315"/>
                  </a:lnTo>
                  <a:cubicBezTo>
                    <a:pt x="5566193" y="284279"/>
                    <a:pt x="5566193" y="273735"/>
                    <a:pt x="5562703" y="266751"/>
                  </a:cubicBezTo>
                  <a:cubicBezTo>
                    <a:pt x="5559213" y="259699"/>
                    <a:pt x="5555655" y="256207"/>
                    <a:pt x="5548675" y="252715"/>
                  </a:cubicBezTo>
                  <a:cubicBezTo>
                    <a:pt x="5545185" y="249223"/>
                    <a:pt x="5538137" y="245663"/>
                    <a:pt x="5531157" y="245663"/>
                  </a:cubicBezTo>
                  <a:lnTo>
                    <a:pt x="4734989" y="245663"/>
                  </a:lnTo>
                  <a:lnTo>
                    <a:pt x="4734989" y="1312533"/>
                  </a:lnTo>
                  <a:lnTo>
                    <a:pt x="4506986" y="1312533"/>
                  </a:lnTo>
                  <a:lnTo>
                    <a:pt x="4506986" y="129816"/>
                  </a:lnTo>
                  <a:cubicBezTo>
                    <a:pt x="4506986" y="112288"/>
                    <a:pt x="4510476" y="98252"/>
                    <a:pt x="4517523" y="84216"/>
                  </a:cubicBezTo>
                  <a:cubicBezTo>
                    <a:pt x="4524571" y="70180"/>
                    <a:pt x="4531551" y="56144"/>
                    <a:pt x="4542089" y="45600"/>
                  </a:cubicBezTo>
                  <a:cubicBezTo>
                    <a:pt x="4552626" y="35056"/>
                    <a:pt x="4566655" y="24513"/>
                    <a:pt x="4580682" y="21020"/>
                  </a:cubicBezTo>
                  <a:cubicBezTo>
                    <a:pt x="4594710" y="13969"/>
                    <a:pt x="4612228" y="10477"/>
                    <a:pt x="4626256" y="10477"/>
                  </a:cubicBezTo>
                  <a:lnTo>
                    <a:pt x="5520619" y="10477"/>
                  </a:lnTo>
                  <a:cubicBezTo>
                    <a:pt x="5573241" y="10477"/>
                    <a:pt x="5618814" y="21020"/>
                    <a:pt x="5653918" y="38549"/>
                  </a:cubicBezTo>
                  <a:cubicBezTo>
                    <a:pt x="5689021" y="56077"/>
                    <a:pt x="5720567" y="80657"/>
                    <a:pt x="5741576" y="108729"/>
                  </a:cubicBezTo>
                  <a:cubicBezTo>
                    <a:pt x="5762651" y="136801"/>
                    <a:pt x="5780169" y="168365"/>
                    <a:pt x="5790707" y="203488"/>
                  </a:cubicBezTo>
                  <a:cubicBezTo>
                    <a:pt x="5801245" y="235052"/>
                    <a:pt x="5804735" y="266684"/>
                    <a:pt x="5804735" y="298248"/>
                  </a:cubicBezTo>
                  <a:lnTo>
                    <a:pt x="5804735" y="442167"/>
                  </a:lnTo>
                  <a:close/>
                  <a:moveTo>
                    <a:pt x="6299336" y="1305481"/>
                  </a:moveTo>
                  <a:lnTo>
                    <a:pt x="6064351" y="1305481"/>
                  </a:lnTo>
                  <a:lnTo>
                    <a:pt x="6064351" y="3492"/>
                  </a:lnTo>
                  <a:lnTo>
                    <a:pt x="6299336" y="3492"/>
                  </a:lnTo>
                  <a:lnTo>
                    <a:pt x="6299336" y="1305481"/>
                  </a:lnTo>
                  <a:close/>
                  <a:moveTo>
                    <a:pt x="7768910" y="238612"/>
                  </a:moveTo>
                  <a:lnTo>
                    <a:pt x="7249811" y="238612"/>
                  </a:lnTo>
                  <a:lnTo>
                    <a:pt x="7249811" y="1305481"/>
                  </a:lnTo>
                  <a:lnTo>
                    <a:pt x="7014826" y="1305481"/>
                  </a:lnTo>
                  <a:lnTo>
                    <a:pt x="7014826" y="238612"/>
                  </a:lnTo>
                  <a:lnTo>
                    <a:pt x="6495726" y="238612"/>
                  </a:lnTo>
                  <a:lnTo>
                    <a:pt x="6495726" y="3492"/>
                  </a:lnTo>
                  <a:lnTo>
                    <a:pt x="7768910" y="3492"/>
                  </a:lnTo>
                  <a:lnTo>
                    <a:pt x="7768910" y="238612"/>
                  </a:lnTo>
                  <a:close/>
                </a:path>
              </a:pathLst>
            </a:custGeom>
            <a:grpFill/>
            <a:ln w="0" cap="flat">
              <a:noFill/>
              <a:prstDash val="solid"/>
              <a:miter/>
            </a:ln>
          </p:spPr>
          <p:txBody>
            <a:bodyPr rtlCol="0" anchor="ctr"/>
            <a:lstStyle/>
            <a:p>
              <a:endParaRPr lang="sv-SE"/>
            </a:p>
          </p:txBody>
        </p:sp>
        <p:sp>
          <p:nvSpPr>
            <p:cNvPr id="262" name="Freeform 261">
              <a:extLst>
                <a:ext uri="{FF2B5EF4-FFF2-40B4-BE49-F238E27FC236}">
                  <a16:creationId xmlns:a16="http://schemas.microsoft.com/office/drawing/2014/main" id="{4B61CAC0-15E8-78C1-6DC1-2B1A8834324E}"/>
                </a:ext>
              </a:extLst>
            </p:cNvPr>
            <p:cNvSpPr/>
            <p:nvPr/>
          </p:nvSpPr>
          <p:spPr>
            <a:xfrm>
              <a:off x="3415866" y="-1101288"/>
              <a:ext cx="5685531" cy="470306"/>
            </a:xfrm>
            <a:custGeom>
              <a:avLst/>
              <a:gdLst>
                <a:gd name="connsiteX0" fmla="*/ 94705 w 5685531"/>
                <a:gd name="connsiteY0" fmla="*/ 466747 h 470306"/>
                <a:gd name="connsiteX1" fmla="*/ 0 w 5685531"/>
                <a:gd name="connsiteY1" fmla="*/ 466747 h 470306"/>
                <a:gd name="connsiteX2" fmla="*/ 0 w 5685531"/>
                <a:gd name="connsiteY2" fmla="*/ 17528 h 470306"/>
                <a:gd name="connsiteX3" fmla="*/ 259550 w 5685531"/>
                <a:gd name="connsiteY3" fmla="*/ 17528 h 470306"/>
                <a:gd name="connsiteX4" fmla="*/ 259550 w 5685531"/>
                <a:gd name="connsiteY4" fmla="*/ 94760 h 470306"/>
                <a:gd name="connsiteX5" fmla="*/ 94705 w 5685531"/>
                <a:gd name="connsiteY5" fmla="*/ 94760 h 470306"/>
                <a:gd name="connsiteX6" fmla="*/ 94705 w 5685531"/>
                <a:gd name="connsiteY6" fmla="*/ 210540 h 470306"/>
                <a:gd name="connsiteX7" fmla="*/ 249012 w 5685531"/>
                <a:gd name="connsiteY7" fmla="*/ 210540 h 470306"/>
                <a:gd name="connsiteX8" fmla="*/ 249012 w 5685531"/>
                <a:gd name="connsiteY8" fmla="*/ 287771 h 470306"/>
                <a:gd name="connsiteX9" fmla="*/ 94705 w 5685531"/>
                <a:gd name="connsiteY9" fmla="*/ 287771 h 470306"/>
                <a:gd name="connsiteX10" fmla="*/ 94705 w 5685531"/>
                <a:gd name="connsiteY10" fmla="*/ 466747 h 470306"/>
                <a:gd name="connsiteX11" fmla="*/ 757641 w 5685531"/>
                <a:gd name="connsiteY11" fmla="*/ 238612 h 470306"/>
                <a:gd name="connsiteX12" fmla="*/ 701530 w 5685531"/>
                <a:gd name="connsiteY12" fmla="*/ 410603 h 470306"/>
                <a:gd name="connsiteX13" fmla="*/ 543665 w 5685531"/>
                <a:gd name="connsiteY13" fmla="*/ 470239 h 470306"/>
                <a:gd name="connsiteX14" fmla="*/ 385801 w 5685531"/>
                <a:gd name="connsiteY14" fmla="*/ 410603 h 470306"/>
                <a:gd name="connsiteX15" fmla="*/ 329690 w 5685531"/>
                <a:gd name="connsiteY15" fmla="*/ 238612 h 470306"/>
                <a:gd name="connsiteX16" fmla="*/ 385801 w 5685531"/>
                <a:gd name="connsiteY16" fmla="*/ 66621 h 470306"/>
                <a:gd name="connsiteX17" fmla="*/ 543665 w 5685531"/>
                <a:gd name="connsiteY17" fmla="*/ 6984 h 470306"/>
                <a:gd name="connsiteX18" fmla="*/ 701530 w 5685531"/>
                <a:gd name="connsiteY18" fmla="*/ 66621 h 470306"/>
                <a:gd name="connsiteX19" fmla="*/ 757641 w 5685531"/>
                <a:gd name="connsiteY19" fmla="*/ 238612 h 470306"/>
                <a:gd name="connsiteX20" fmla="*/ 427952 w 5685531"/>
                <a:gd name="connsiteY20" fmla="*/ 238612 h 470306"/>
                <a:gd name="connsiteX21" fmla="*/ 456008 w 5685531"/>
                <a:gd name="connsiteY21" fmla="*/ 350900 h 470306"/>
                <a:gd name="connsiteX22" fmla="*/ 540175 w 5685531"/>
                <a:gd name="connsiteY22" fmla="*/ 389515 h 470306"/>
                <a:gd name="connsiteX23" fmla="*/ 655889 w 5685531"/>
                <a:gd name="connsiteY23" fmla="*/ 238612 h 470306"/>
                <a:gd name="connsiteX24" fmla="*/ 543665 w 5685531"/>
                <a:gd name="connsiteY24" fmla="*/ 87708 h 470306"/>
                <a:gd name="connsiteX25" fmla="*/ 456008 w 5685531"/>
                <a:gd name="connsiteY25" fmla="*/ 126324 h 470306"/>
                <a:gd name="connsiteX26" fmla="*/ 427952 w 5685531"/>
                <a:gd name="connsiteY26" fmla="*/ 238612 h 470306"/>
                <a:gd name="connsiteX27" fmla="*/ 1115387 w 5685531"/>
                <a:gd name="connsiteY27" fmla="*/ 340423 h 470306"/>
                <a:gd name="connsiteX28" fmla="*/ 1069813 w 5685531"/>
                <a:gd name="connsiteY28" fmla="*/ 435183 h 470306"/>
                <a:gd name="connsiteX29" fmla="*/ 947052 w 5685531"/>
                <a:gd name="connsiteY29" fmla="*/ 470306 h 470306"/>
                <a:gd name="connsiteX30" fmla="*/ 820800 w 5685531"/>
                <a:gd name="connsiteY30" fmla="*/ 442234 h 470306"/>
                <a:gd name="connsiteX31" fmla="*/ 820800 w 5685531"/>
                <a:gd name="connsiteY31" fmla="*/ 354526 h 470306"/>
                <a:gd name="connsiteX32" fmla="*/ 897987 w 5685531"/>
                <a:gd name="connsiteY32" fmla="*/ 382598 h 470306"/>
                <a:gd name="connsiteX33" fmla="*/ 954099 w 5685531"/>
                <a:gd name="connsiteY33" fmla="*/ 389650 h 470306"/>
                <a:gd name="connsiteX34" fmla="*/ 1003230 w 5685531"/>
                <a:gd name="connsiteY34" fmla="*/ 379106 h 470306"/>
                <a:gd name="connsiteX35" fmla="*/ 1020748 w 5685531"/>
                <a:gd name="connsiteY35" fmla="*/ 343982 h 470306"/>
                <a:gd name="connsiteX36" fmla="*/ 1013701 w 5685531"/>
                <a:gd name="connsiteY36" fmla="*/ 319403 h 470306"/>
                <a:gd name="connsiteX37" fmla="*/ 992626 w 5685531"/>
                <a:gd name="connsiteY37" fmla="*/ 298315 h 470306"/>
                <a:gd name="connsiteX38" fmla="*/ 933024 w 5685531"/>
                <a:gd name="connsiteY38" fmla="*/ 266751 h 470306"/>
                <a:gd name="connsiteX39" fmla="*/ 869865 w 5685531"/>
                <a:gd name="connsiteY39" fmla="*/ 228135 h 470306"/>
                <a:gd name="connsiteX40" fmla="*/ 838319 w 5685531"/>
                <a:gd name="connsiteY40" fmla="*/ 186027 h 470306"/>
                <a:gd name="connsiteX41" fmla="*/ 824291 w 5685531"/>
                <a:gd name="connsiteY41" fmla="*/ 129883 h 470306"/>
                <a:gd name="connsiteX42" fmla="*/ 866374 w 5685531"/>
                <a:gd name="connsiteY42" fmla="*/ 35124 h 470306"/>
                <a:gd name="connsiteX43" fmla="*/ 978598 w 5685531"/>
                <a:gd name="connsiteY43" fmla="*/ 0 h 470306"/>
                <a:gd name="connsiteX44" fmla="*/ 1045247 w 5685531"/>
                <a:gd name="connsiteY44" fmla="*/ 7052 h 470306"/>
                <a:gd name="connsiteX45" fmla="*/ 1111896 w 5685531"/>
                <a:gd name="connsiteY45" fmla="*/ 31631 h 470306"/>
                <a:gd name="connsiteX46" fmla="*/ 1080350 w 5685531"/>
                <a:gd name="connsiteY46" fmla="*/ 105304 h 470306"/>
                <a:gd name="connsiteX47" fmla="*/ 1020748 w 5685531"/>
                <a:gd name="connsiteY47" fmla="*/ 84216 h 470306"/>
                <a:gd name="connsiteX48" fmla="*/ 975175 w 5685531"/>
                <a:gd name="connsiteY48" fmla="*/ 77164 h 470306"/>
                <a:gd name="connsiteX49" fmla="*/ 933091 w 5685531"/>
                <a:gd name="connsiteY49" fmla="*/ 91200 h 470306"/>
                <a:gd name="connsiteX50" fmla="*/ 919063 w 5685531"/>
                <a:gd name="connsiteY50" fmla="*/ 122765 h 470306"/>
                <a:gd name="connsiteX51" fmla="*/ 926110 w 5685531"/>
                <a:gd name="connsiteY51" fmla="*/ 143852 h 470306"/>
                <a:gd name="connsiteX52" fmla="*/ 943629 w 5685531"/>
                <a:gd name="connsiteY52" fmla="*/ 161380 h 470306"/>
                <a:gd name="connsiteX53" fmla="*/ 1003230 w 5685531"/>
                <a:gd name="connsiteY53" fmla="*/ 192945 h 470306"/>
                <a:gd name="connsiteX54" fmla="*/ 1090888 w 5685531"/>
                <a:gd name="connsiteY54" fmla="*/ 252581 h 470306"/>
                <a:gd name="connsiteX55" fmla="*/ 1115454 w 5685531"/>
                <a:gd name="connsiteY55" fmla="*/ 340289 h 470306"/>
                <a:gd name="connsiteX56" fmla="*/ 1115454 w 5685531"/>
                <a:gd name="connsiteY56" fmla="*/ 340289 h 470306"/>
                <a:gd name="connsiteX57" fmla="*/ 1466151 w 5685531"/>
                <a:gd name="connsiteY57" fmla="*/ 340423 h 470306"/>
                <a:gd name="connsiteX58" fmla="*/ 1420577 w 5685531"/>
                <a:gd name="connsiteY58" fmla="*/ 435183 h 470306"/>
                <a:gd name="connsiteX59" fmla="*/ 1297816 w 5685531"/>
                <a:gd name="connsiteY59" fmla="*/ 470306 h 470306"/>
                <a:gd name="connsiteX60" fmla="*/ 1171565 w 5685531"/>
                <a:gd name="connsiteY60" fmla="*/ 442234 h 470306"/>
                <a:gd name="connsiteX61" fmla="*/ 1171565 w 5685531"/>
                <a:gd name="connsiteY61" fmla="*/ 354526 h 470306"/>
                <a:gd name="connsiteX62" fmla="*/ 1248752 w 5685531"/>
                <a:gd name="connsiteY62" fmla="*/ 382598 h 470306"/>
                <a:gd name="connsiteX63" fmla="*/ 1304864 w 5685531"/>
                <a:gd name="connsiteY63" fmla="*/ 389650 h 470306"/>
                <a:gd name="connsiteX64" fmla="*/ 1353995 w 5685531"/>
                <a:gd name="connsiteY64" fmla="*/ 379106 h 470306"/>
                <a:gd name="connsiteX65" fmla="*/ 1371513 w 5685531"/>
                <a:gd name="connsiteY65" fmla="*/ 343982 h 470306"/>
                <a:gd name="connsiteX66" fmla="*/ 1364466 w 5685531"/>
                <a:gd name="connsiteY66" fmla="*/ 319403 h 470306"/>
                <a:gd name="connsiteX67" fmla="*/ 1343390 w 5685531"/>
                <a:gd name="connsiteY67" fmla="*/ 298315 h 470306"/>
                <a:gd name="connsiteX68" fmla="*/ 1283789 w 5685531"/>
                <a:gd name="connsiteY68" fmla="*/ 266751 h 470306"/>
                <a:gd name="connsiteX69" fmla="*/ 1220629 w 5685531"/>
                <a:gd name="connsiteY69" fmla="*/ 228135 h 470306"/>
                <a:gd name="connsiteX70" fmla="*/ 1189083 w 5685531"/>
                <a:gd name="connsiteY70" fmla="*/ 186027 h 470306"/>
                <a:gd name="connsiteX71" fmla="*/ 1175055 w 5685531"/>
                <a:gd name="connsiteY71" fmla="*/ 129883 h 470306"/>
                <a:gd name="connsiteX72" fmla="*/ 1217139 w 5685531"/>
                <a:gd name="connsiteY72" fmla="*/ 35124 h 470306"/>
                <a:gd name="connsiteX73" fmla="*/ 1329363 w 5685531"/>
                <a:gd name="connsiteY73" fmla="*/ 0 h 470306"/>
                <a:gd name="connsiteX74" fmla="*/ 1396012 w 5685531"/>
                <a:gd name="connsiteY74" fmla="*/ 7052 h 470306"/>
                <a:gd name="connsiteX75" fmla="*/ 1462661 w 5685531"/>
                <a:gd name="connsiteY75" fmla="*/ 31631 h 470306"/>
                <a:gd name="connsiteX76" fmla="*/ 1431115 w 5685531"/>
                <a:gd name="connsiteY76" fmla="*/ 105304 h 470306"/>
                <a:gd name="connsiteX77" fmla="*/ 1371513 w 5685531"/>
                <a:gd name="connsiteY77" fmla="*/ 84216 h 470306"/>
                <a:gd name="connsiteX78" fmla="*/ 1325939 w 5685531"/>
                <a:gd name="connsiteY78" fmla="*/ 77164 h 470306"/>
                <a:gd name="connsiteX79" fmla="*/ 1283856 w 5685531"/>
                <a:gd name="connsiteY79" fmla="*/ 91200 h 470306"/>
                <a:gd name="connsiteX80" fmla="*/ 1269828 w 5685531"/>
                <a:gd name="connsiteY80" fmla="*/ 122765 h 470306"/>
                <a:gd name="connsiteX81" fmla="*/ 1276875 w 5685531"/>
                <a:gd name="connsiteY81" fmla="*/ 143852 h 470306"/>
                <a:gd name="connsiteX82" fmla="*/ 1294393 w 5685531"/>
                <a:gd name="connsiteY82" fmla="*/ 161380 h 470306"/>
                <a:gd name="connsiteX83" fmla="*/ 1353995 w 5685531"/>
                <a:gd name="connsiteY83" fmla="*/ 192945 h 470306"/>
                <a:gd name="connsiteX84" fmla="*/ 1441653 w 5685531"/>
                <a:gd name="connsiteY84" fmla="*/ 252581 h 470306"/>
                <a:gd name="connsiteX85" fmla="*/ 1466219 w 5685531"/>
                <a:gd name="connsiteY85" fmla="*/ 340289 h 470306"/>
                <a:gd name="connsiteX86" fmla="*/ 1466219 w 5685531"/>
                <a:gd name="connsiteY86" fmla="*/ 340289 h 470306"/>
                <a:gd name="connsiteX87" fmla="*/ 1715163 w 5685531"/>
                <a:gd name="connsiteY87" fmla="*/ 466747 h 470306"/>
                <a:gd name="connsiteX88" fmla="*/ 1511725 w 5685531"/>
                <a:gd name="connsiteY88" fmla="*/ 466747 h 470306"/>
                <a:gd name="connsiteX89" fmla="*/ 1511725 w 5685531"/>
                <a:gd name="connsiteY89" fmla="*/ 414095 h 470306"/>
                <a:gd name="connsiteX90" fmla="*/ 1567837 w 5685531"/>
                <a:gd name="connsiteY90" fmla="*/ 389515 h 470306"/>
                <a:gd name="connsiteX91" fmla="*/ 1567837 w 5685531"/>
                <a:gd name="connsiteY91" fmla="*/ 98252 h 470306"/>
                <a:gd name="connsiteX92" fmla="*/ 1511725 w 5685531"/>
                <a:gd name="connsiteY92" fmla="*/ 73672 h 470306"/>
                <a:gd name="connsiteX93" fmla="*/ 1511725 w 5685531"/>
                <a:gd name="connsiteY93" fmla="*/ 21020 h 470306"/>
                <a:gd name="connsiteX94" fmla="*/ 1715163 w 5685531"/>
                <a:gd name="connsiteY94" fmla="*/ 21020 h 470306"/>
                <a:gd name="connsiteX95" fmla="*/ 1715163 w 5685531"/>
                <a:gd name="connsiteY95" fmla="*/ 73672 h 470306"/>
                <a:gd name="connsiteX96" fmla="*/ 1659052 w 5685531"/>
                <a:gd name="connsiteY96" fmla="*/ 98252 h 470306"/>
                <a:gd name="connsiteX97" fmla="*/ 1659052 w 5685531"/>
                <a:gd name="connsiteY97" fmla="*/ 389515 h 470306"/>
                <a:gd name="connsiteX98" fmla="*/ 1715163 w 5685531"/>
                <a:gd name="connsiteY98" fmla="*/ 414095 h 470306"/>
                <a:gd name="connsiteX99" fmla="*/ 1715163 w 5685531"/>
                <a:gd name="connsiteY99" fmla="*/ 466747 h 470306"/>
                <a:gd name="connsiteX100" fmla="*/ 1792283 w 5685531"/>
                <a:gd name="connsiteY100" fmla="*/ 466747 h 470306"/>
                <a:gd name="connsiteX101" fmla="*/ 1792283 w 5685531"/>
                <a:gd name="connsiteY101" fmla="*/ 17528 h 470306"/>
                <a:gd name="connsiteX102" fmla="*/ 1886988 w 5685531"/>
                <a:gd name="connsiteY102" fmla="*/ 17528 h 470306"/>
                <a:gd name="connsiteX103" fmla="*/ 1886988 w 5685531"/>
                <a:gd name="connsiteY103" fmla="*/ 389515 h 470306"/>
                <a:gd name="connsiteX104" fmla="*/ 2069351 w 5685531"/>
                <a:gd name="connsiteY104" fmla="*/ 389515 h 470306"/>
                <a:gd name="connsiteX105" fmla="*/ 2069351 w 5685531"/>
                <a:gd name="connsiteY105" fmla="*/ 466747 h 470306"/>
                <a:gd name="connsiteX106" fmla="*/ 1792283 w 5685531"/>
                <a:gd name="connsiteY106" fmla="*/ 466747 h 470306"/>
                <a:gd name="connsiteX107" fmla="*/ 2111502 w 5685531"/>
                <a:gd name="connsiteY107" fmla="*/ 333372 h 470306"/>
                <a:gd name="connsiteX108" fmla="*/ 2111502 w 5685531"/>
                <a:gd name="connsiteY108" fmla="*/ 256140 h 470306"/>
                <a:gd name="connsiteX109" fmla="*/ 2276347 w 5685531"/>
                <a:gd name="connsiteY109" fmla="*/ 256140 h 470306"/>
                <a:gd name="connsiteX110" fmla="*/ 2276347 w 5685531"/>
                <a:gd name="connsiteY110" fmla="*/ 333372 h 470306"/>
                <a:gd name="connsiteX111" fmla="*/ 2111502 w 5685531"/>
                <a:gd name="connsiteY111" fmla="*/ 333372 h 470306"/>
                <a:gd name="connsiteX112" fmla="*/ 2444682 w 5685531"/>
                <a:gd name="connsiteY112" fmla="*/ 466747 h 470306"/>
                <a:gd name="connsiteX113" fmla="*/ 2349977 w 5685531"/>
                <a:gd name="connsiteY113" fmla="*/ 466747 h 470306"/>
                <a:gd name="connsiteX114" fmla="*/ 2349977 w 5685531"/>
                <a:gd name="connsiteY114" fmla="*/ 17528 h 470306"/>
                <a:gd name="connsiteX115" fmla="*/ 2609526 w 5685531"/>
                <a:gd name="connsiteY115" fmla="*/ 17528 h 470306"/>
                <a:gd name="connsiteX116" fmla="*/ 2609526 w 5685531"/>
                <a:gd name="connsiteY116" fmla="*/ 94760 h 470306"/>
                <a:gd name="connsiteX117" fmla="*/ 2444682 w 5685531"/>
                <a:gd name="connsiteY117" fmla="*/ 94760 h 470306"/>
                <a:gd name="connsiteX118" fmla="*/ 2444682 w 5685531"/>
                <a:gd name="connsiteY118" fmla="*/ 210540 h 470306"/>
                <a:gd name="connsiteX119" fmla="*/ 2598989 w 5685531"/>
                <a:gd name="connsiteY119" fmla="*/ 210540 h 470306"/>
                <a:gd name="connsiteX120" fmla="*/ 2598989 w 5685531"/>
                <a:gd name="connsiteY120" fmla="*/ 287771 h 470306"/>
                <a:gd name="connsiteX121" fmla="*/ 2444682 w 5685531"/>
                <a:gd name="connsiteY121" fmla="*/ 287771 h 470306"/>
                <a:gd name="connsiteX122" fmla="*/ 2444682 w 5685531"/>
                <a:gd name="connsiteY122" fmla="*/ 466747 h 470306"/>
                <a:gd name="connsiteX123" fmla="*/ 2795447 w 5685531"/>
                <a:gd name="connsiteY123" fmla="*/ 291264 h 470306"/>
                <a:gd name="connsiteX124" fmla="*/ 2795447 w 5685531"/>
                <a:gd name="connsiteY124" fmla="*/ 463255 h 470306"/>
                <a:gd name="connsiteX125" fmla="*/ 2700742 w 5685531"/>
                <a:gd name="connsiteY125" fmla="*/ 463255 h 470306"/>
                <a:gd name="connsiteX126" fmla="*/ 2700742 w 5685531"/>
                <a:gd name="connsiteY126" fmla="*/ 14036 h 470306"/>
                <a:gd name="connsiteX127" fmla="*/ 2830483 w 5685531"/>
                <a:gd name="connsiteY127" fmla="*/ 14036 h 470306"/>
                <a:gd name="connsiteX128" fmla="*/ 2967272 w 5685531"/>
                <a:gd name="connsiteY128" fmla="*/ 49160 h 470306"/>
                <a:gd name="connsiteX129" fmla="*/ 3012846 w 5685531"/>
                <a:gd name="connsiteY129" fmla="*/ 150904 h 470306"/>
                <a:gd name="connsiteX130" fmla="*/ 2991770 w 5685531"/>
                <a:gd name="connsiteY130" fmla="*/ 221084 h 470306"/>
                <a:gd name="connsiteX131" fmla="*/ 2928611 w 5685531"/>
                <a:gd name="connsiteY131" fmla="*/ 270243 h 470306"/>
                <a:gd name="connsiteX132" fmla="*/ 3061910 w 5685531"/>
                <a:gd name="connsiteY132" fmla="*/ 466747 h 470306"/>
                <a:gd name="connsiteX133" fmla="*/ 2956667 w 5685531"/>
                <a:gd name="connsiteY133" fmla="*/ 466747 h 470306"/>
                <a:gd name="connsiteX134" fmla="*/ 2847934 w 5685531"/>
                <a:gd name="connsiteY134" fmla="*/ 294756 h 470306"/>
                <a:gd name="connsiteX135" fmla="*/ 2795312 w 5685531"/>
                <a:gd name="connsiteY135" fmla="*/ 294756 h 470306"/>
                <a:gd name="connsiteX136" fmla="*/ 2795312 w 5685531"/>
                <a:gd name="connsiteY136" fmla="*/ 291264 h 470306"/>
                <a:gd name="connsiteX137" fmla="*/ 2795312 w 5685531"/>
                <a:gd name="connsiteY137" fmla="*/ 291264 h 470306"/>
                <a:gd name="connsiteX138" fmla="*/ 2795447 w 5685531"/>
                <a:gd name="connsiteY138" fmla="*/ 214032 h 470306"/>
                <a:gd name="connsiteX139" fmla="*/ 2826993 w 5685531"/>
                <a:gd name="connsiteY139" fmla="*/ 214032 h 470306"/>
                <a:gd name="connsiteX140" fmla="*/ 2893642 w 5685531"/>
                <a:gd name="connsiteY140" fmla="*/ 199996 h 470306"/>
                <a:gd name="connsiteX141" fmla="*/ 2914718 w 5685531"/>
                <a:gd name="connsiteY141" fmla="*/ 150837 h 470306"/>
                <a:gd name="connsiteX142" fmla="*/ 2893642 w 5685531"/>
                <a:gd name="connsiteY142" fmla="*/ 105236 h 470306"/>
                <a:gd name="connsiteX143" fmla="*/ 2826993 w 5685531"/>
                <a:gd name="connsiteY143" fmla="*/ 91200 h 470306"/>
                <a:gd name="connsiteX144" fmla="*/ 2798937 w 5685531"/>
                <a:gd name="connsiteY144" fmla="*/ 91200 h 470306"/>
                <a:gd name="connsiteX145" fmla="*/ 2798937 w 5685531"/>
                <a:gd name="connsiteY145" fmla="*/ 214032 h 470306"/>
                <a:gd name="connsiteX146" fmla="*/ 2795447 w 5685531"/>
                <a:gd name="connsiteY146" fmla="*/ 214032 h 470306"/>
                <a:gd name="connsiteX147" fmla="*/ 2795447 w 5685531"/>
                <a:gd name="connsiteY147" fmla="*/ 214032 h 470306"/>
                <a:gd name="connsiteX148" fmla="*/ 3374148 w 5685531"/>
                <a:gd name="connsiteY148" fmla="*/ 466747 h 470306"/>
                <a:gd name="connsiteX149" fmla="*/ 3114598 w 5685531"/>
                <a:gd name="connsiteY149" fmla="*/ 466747 h 470306"/>
                <a:gd name="connsiteX150" fmla="*/ 3114598 w 5685531"/>
                <a:gd name="connsiteY150" fmla="*/ 17528 h 470306"/>
                <a:gd name="connsiteX151" fmla="*/ 3374148 w 5685531"/>
                <a:gd name="connsiteY151" fmla="*/ 17528 h 470306"/>
                <a:gd name="connsiteX152" fmla="*/ 3374148 w 5685531"/>
                <a:gd name="connsiteY152" fmla="*/ 94760 h 470306"/>
                <a:gd name="connsiteX153" fmla="*/ 3209303 w 5685531"/>
                <a:gd name="connsiteY153" fmla="*/ 94760 h 470306"/>
                <a:gd name="connsiteX154" fmla="*/ 3209303 w 5685531"/>
                <a:gd name="connsiteY154" fmla="*/ 193012 h 470306"/>
                <a:gd name="connsiteX155" fmla="*/ 3363610 w 5685531"/>
                <a:gd name="connsiteY155" fmla="*/ 193012 h 470306"/>
                <a:gd name="connsiteX156" fmla="*/ 3363610 w 5685531"/>
                <a:gd name="connsiteY156" fmla="*/ 270243 h 470306"/>
                <a:gd name="connsiteX157" fmla="*/ 3209303 w 5685531"/>
                <a:gd name="connsiteY157" fmla="*/ 270243 h 470306"/>
                <a:gd name="connsiteX158" fmla="*/ 3209303 w 5685531"/>
                <a:gd name="connsiteY158" fmla="*/ 386023 h 470306"/>
                <a:gd name="connsiteX159" fmla="*/ 3374148 w 5685531"/>
                <a:gd name="connsiteY159" fmla="*/ 386023 h 470306"/>
                <a:gd name="connsiteX160" fmla="*/ 3374148 w 5685531"/>
                <a:gd name="connsiteY160" fmla="*/ 466747 h 470306"/>
                <a:gd name="connsiteX161" fmla="*/ 3728403 w 5685531"/>
                <a:gd name="connsiteY161" fmla="*/ 466747 h 470306"/>
                <a:gd name="connsiteX162" fmla="*/ 3468853 w 5685531"/>
                <a:gd name="connsiteY162" fmla="*/ 466747 h 470306"/>
                <a:gd name="connsiteX163" fmla="*/ 3468853 w 5685531"/>
                <a:gd name="connsiteY163" fmla="*/ 17528 h 470306"/>
                <a:gd name="connsiteX164" fmla="*/ 3728403 w 5685531"/>
                <a:gd name="connsiteY164" fmla="*/ 17528 h 470306"/>
                <a:gd name="connsiteX165" fmla="*/ 3728403 w 5685531"/>
                <a:gd name="connsiteY165" fmla="*/ 94760 h 470306"/>
                <a:gd name="connsiteX166" fmla="*/ 3563558 w 5685531"/>
                <a:gd name="connsiteY166" fmla="*/ 94760 h 470306"/>
                <a:gd name="connsiteX167" fmla="*/ 3563558 w 5685531"/>
                <a:gd name="connsiteY167" fmla="*/ 193012 h 470306"/>
                <a:gd name="connsiteX168" fmla="*/ 3717865 w 5685531"/>
                <a:gd name="connsiteY168" fmla="*/ 193012 h 470306"/>
                <a:gd name="connsiteX169" fmla="*/ 3717865 w 5685531"/>
                <a:gd name="connsiteY169" fmla="*/ 270243 h 470306"/>
                <a:gd name="connsiteX170" fmla="*/ 3563558 w 5685531"/>
                <a:gd name="connsiteY170" fmla="*/ 270243 h 470306"/>
                <a:gd name="connsiteX171" fmla="*/ 3563558 w 5685531"/>
                <a:gd name="connsiteY171" fmla="*/ 386023 h 470306"/>
                <a:gd name="connsiteX172" fmla="*/ 3728403 w 5685531"/>
                <a:gd name="connsiteY172" fmla="*/ 386023 h 470306"/>
                <a:gd name="connsiteX173" fmla="*/ 3728403 w 5685531"/>
                <a:gd name="connsiteY173" fmla="*/ 466747 h 470306"/>
                <a:gd name="connsiteX174" fmla="*/ 4250993 w 5685531"/>
                <a:gd name="connsiteY174" fmla="*/ 340423 h 470306"/>
                <a:gd name="connsiteX175" fmla="*/ 4205419 w 5685531"/>
                <a:gd name="connsiteY175" fmla="*/ 435183 h 470306"/>
                <a:gd name="connsiteX176" fmla="*/ 4082658 w 5685531"/>
                <a:gd name="connsiteY176" fmla="*/ 470306 h 470306"/>
                <a:gd name="connsiteX177" fmla="*/ 3956407 w 5685531"/>
                <a:gd name="connsiteY177" fmla="*/ 442234 h 470306"/>
                <a:gd name="connsiteX178" fmla="*/ 3956407 w 5685531"/>
                <a:gd name="connsiteY178" fmla="*/ 354526 h 470306"/>
                <a:gd name="connsiteX179" fmla="*/ 4033594 w 5685531"/>
                <a:gd name="connsiteY179" fmla="*/ 382598 h 470306"/>
                <a:gd name="connsiteX180" fmla="*/ 4089706 w 5685531"/>
                <a:gd name="connsiteY180" fmla="*/ 389650 h 470306"/>
                <a:gd name="connsiteX181" fmla="*/ 4138837 w 5685531"/>
                <a:gd name="connsiteY181" fmla="*/ 379106 h 470306"/>
                <a:gd name="connsiteX182" fmla="*/ 4156355 w 5685531"/>
                <a:gd name="connsiteY182" fmla="*/ 343982 h 470306"/>
                <a:gd name="connsiteX183" fmla="*/ 4149308 w 5685531"/>
                <a:gd name="connsiteY183" fmla="*/ 319403 h 470306"/>
                <a:gd name="connsiteX184" fmla="*/ 4128232 w 5685531"/>
                <a:gd name="connsiteY184" fmla="*/ 298315 h 470306"/>
                <a:gd name="connsiteX185" fmla="*/ 4068630 w 5685531"/>
                <a:gd name="connsiteY185" fmla="*/ 266751 h 470306"/>
                <a:gd name="connsiteX186" fmla="*/ 4005471 w 5685531"/>
                <a:gd name="connsiteY186" fmla="*/ 228135 h 470306"/>
                <a:gd name="connsiteX187" fmla="*/ 3973925 w 5685531"/>
                <a:gd name="connsiteY187" fmla="*/ 186027 h 470306"/>
                <a:gd name="connsiteX188" fmla="*/ 3959897 w 5685531"/>
                <a:gd name="connsiteY188" fmla="*/ 129883 h 470306"/>
                <a:gd name="connsiteX189" fmla="*/ 4001981 w 5685531"/>
                <a:gd name="connsiteY189" fmla="*/ 35124 h 470306"/>
                <a:gd name="connsiteX190" fmla="*/ 4114204 w 5685531"/>
                <a:gd name="connsiteY190" fmla="*/ 0 h 470306"/>
                <a:gd name="connsiteX191" fmla="*/ 4180853 w 5685531"/>
                <a:gd name="connsiteY191" fmla="*/ 7052 h 470306"/>
                <a:gd name="connsiteX192" fmla="*/ 4247503 w 5685531"/>
                <a:gd name="connsiteY192" fmla="*/ 31631 h 470306"/>
                <a:gd name="connsiteX193" fmla="*/ 4215957 w 5685531"/>
                <a:gd name="connsiteY193" fmla="*/ 105304 h 470306"/>
                <a:gd name="connsiteX194" fmla="*/ 4156355 w 5685531"/>
                <a:gd name="connsiteY194" fmla="*/ 84216 h 470306"/>
                <a:gd name="connsiteX195" fmla="*/ 4110781 w 5685531"/>
                <a:gd name="connsiteY195" fmla="*/ 77164 h 470306"/>
                <a:gd name="connsiteX196" fmla="*/ 4068697 w 5685531"/>
                <a:gd name="connsiteY196" fmla="*/ 91200 h 470306"/>
                <a:gd name="connsiteX197" fmla="*/ 4054669 w 5685531"/>
                <a:gd name="connsiteY197" fmla="*/ 122765 h 470306"/>
                <a:gd name="connsiteX198" fmla="*/ 4061717 w 5685531"/>
                <a:gd name="connsiteY198" fmla="*/ 143852 h 470306"/>
                <a:gd name="connsiteX199" fmla="*/ 4079235 w 5685531"/>
                <a:gd name="connsiteY199" fmla="*/ 161380 h 470306"/>
                <a:gd name="connsiteX200" fmla="*/ 4138837 w 5685531"/>
                <a:gd name="connsiteY200" fmla="*/ 192945 h 470306"/>
                <a:gd name="connsiteX201" fmla="*/ 4226495 w 5685531"/>
                <a:gd name="connsiteY201" fmla="*/ 252581 h 470306"/>
                <a:gd name="connsiteX202" fmla="*/ 4251060 w 5685531"/>
                <a:gd name="connsiteY202" fmla="*/ 340289 h 470306"/>
                <a:gd name="connsiteX203" fmla="*/ 4251060 w 5685531"/>
                <a:gd name="connsiteY203" fmla="*/ 340289 h 470306"/>
                <a:gd name="connsiteX204" fmla="*/ 4507053 w 5685531"/>
                <a:gd name="connsiteY204" fmla="*/ 466747 h 470306"/>
                <a:gd name="connsiteX205" fmla="*/ 4412347 w 5685531"/>
                <a:gd name="connsiteY205" fmla="*/ 466747 h 470306"/>
                <a:gd name="connsiteX206" fmla="*/ 4412347 w 5685531"/>
                <a:gd name="connsiteY206" fmla="*/ 94760 h 470306"/>
                <a:gd name="connsiteX207" fmla="*/ 4289587 w 5685531"/>
                <a:gd name="connsiteY207" fmla="*/ 94760 h 470306"/>
                <a:gd name="connsiteX208" fmla="*/ 4289587 w 5685531"/>
                <a:gd name="connsiteY208" fmla="*/ 14036 h 470306"/>
                <a:gd name="connsiteX209" fmla="*/ 4629814 w 5685531"/>
                <a:gd name="connsiteY209" fmla="*/ 14036 h 470306"/>
                <a:gd name="connsiteX210" fmla="*/ 4629814 w 5685531"/>
                <a:gd name="connsiteY210" fmla="*/ 94760 h 470306"/>
                <a:gd name="connsiteX211" fmla="*/ 4507053 w 5685531"/>
                <a:gd name="connsiteY211" fmla="*/ 94760 h 470306"/>
                <a:gd name="connsiteX212" fmla="*/ 4507053 w 5685531"/>
                <a:gd name="connsiteY212" fmla="*/ 466747 h 470306"/>
                <a:gd name="connsiteX213" fmla="*/ 4959503 w 5685531"/>
                <a:gd name="connsiteY213" fmla="*/ 466747 h 470306"/>
                <a:gd name="connsiteX214" fmla="*/ 4699953 w 5685531"/>
                <a:gd name="connsiteY214" fmla="*/ 466747 h 470306"/>
                <a:gd name="connsiteX215" fmla="*/ 4699953 w 5685531"/>
                <a:gd name="connsiteY215" fmla="*/ 17528 h 470306"/>
                <a:gd name="connsiteX216" fmla="*/ 4959503 w 5685531"/>
                <a:gd name="connsiteY216" fmla="*/ 17528 h 470306"/>
                <a:gd name="connsiteX217" fmla="*/ 4959503 w 5685531"/>
                <a:gd name="connsiteY217" fmla="*/ 94760 h 470306"/>
                <a:gd name="connsiteX218" fmla="*/ 4794658 w 5685531"/>
                <a:gd name="connsiteY218" fmla="*/ 94760 h 470306"/>
                <a:gd name="connsiteX219" fmla="*/ 4794658 w 5685531"/>
                <a:gd name="connsiteY219" fmla="*/ 193012 h 470306"/>
                <a:gd name="connsiteX220" fmla="*/ 4948966 w 5685531"/>
                <a:gd name="connsiteY220" fmla="*/ 193012 h 470306"/>
                <a:gd name="connsiteX221" fmla="*/ 4948966 w 5685531"/>
                <a:gd name="connsiteY221" fmla="*/ 270243 h 470306"/>
                <a:gd name="connsiteX222" fmla="*/ 4794658 w 5685531"/>
                <a:gd name="connsiteY222" fmla="*/ 270243 h 470306"/>
                <a:gd name="connsiteX223" fmla="*/ 4794658 w 5685531"/>
                <a:gd name="connsiteY223" fmla="*/ 386023 h 470306"/>
                <a:gd name="connsiteX224" fmla="*/ 4959503 w 5685531"/>
                <a:gd name="connsiteY224" fmla="*/ 386023 h 470306"/>
                <a:gd name="connsiteX225" fmla="*/ 4959503 w 5685531"/>
                <a:gd name="connsiteY225" fmla="*/ 466747 h 470306"/>
                <a:gd name="connsiteX226" fmla="*/ 5313758 w 5685531"/>
                <a:gd name="connsiteY226" fmla="*/ 466747 h 470306"/>
                <a:gd name="connsiteX227" fmla="*/ 5054208 w 5685531"/>
                <a:gd name="connsiteY227" fmla="*/ 466747 h 470306"/>
                <a:gd name="connsiteX228" fmla="*/ 5054208 w 5685531"/>
                <a:gd name="connsiteY228" fmla="*/ 17528 h 470306"/>
                <a:gd name="connsiteX229" fmla="*/ 5313758 w 5685531"/>
                <a:gd name="connsiteY229" fmla="*/ 17528 h 470306"/>
                <a:gd name="connsiteX230" fmla="*/ 5313758 w 5685531"/>
                <a:gd name="connsiteY230" fmla="*/ 94760 h 470306"/>
                <a:gd name="connsiteX231" fmla="*/ 5148913 w 5685531"/>
                <a:gd name="connsiteY231" fmla="*/ 94760 h 470306"/>
                <a:gd name="connsiteX232" fmla="*/ 5148913 w 5685531"/>
                <a:gd name="connsiteY232" fmla="*/ 193012 h 470306"/>
                <a:gd name="connsiteX233" fmla="*/ 5303220 w 5685531"/>
                <a:gd name="connsiteY233" fmla="*/ 193012 h 470306"/>
                <a:gd name="connsiteX234" fmla="*/ 5303220 w 5685531"/>
                <a:gd name="connsiteY234" fmla="*/ 270243 h 470306"/>
                <a:gd name="connsiteX235" fmla="*/ 5148913 w 5685531"/>
                <a:gd name="connsiteY235" fmla="*/ 270243 h 470306"/>
                <a:gd name="connsiteX236" fmla="*/ 5148913 w 5685531"/>
                <a:gd name="connsiteY236" fmla="*/ 386023 h 470306"/>
                <a:gd name="connsiteX237" fmla="*/ 5313758 w 5685531"/>
                <a:gd name="connsiteY237" fmla="*/ 386023 h 470306"/>
                <a:gd name="connsiteX238" fmla="*/ 5313758 w 5685531"/>
                <a:gd name="connsiteY238" fmla="*/ 466747 h 470306"/>
                <a:gd name="connsiteX239" fmla="*/ 5408463 w 5685531"/>
                <a:gd name="connsiteY239" fmla="*/ 466747 h 470306"/>
                <a:gd name="connsiteX240" fmla="*/ 5408463 w 5685531"/>
                <a:gd name="connsiteY240" fmla="*/ 17528 h 470306"/>
                <a:gd name="connsiteX241" fmla="*/ 5503168 w 5685531"/>
                <a:gd name="connsiteY241" fmla="*/ 17528 h 470306"/>
                <a:gd name="connsiteX242" fmla="*/ 5503168 w 5685531"/>
                <a:gd name="connsiteY242" fmla="*/ 389515 h 470306"/>
                <a:gd name="connsiteX243" fmla="*/ 5685531 w 5685531"/>
                <a:gd name="connsiteY243" fmla="*/ 389515 h 470306"/>
                <a:gd name="connsiteX244" fmla="*/ 5685531 w 5685531"/>
                <a:gd name="connsiteY244" fmla="*/ 466747 h 470306"/>
                <a:gd name="connsiteX245" fmla="*/ 5408463 w 5685531"/>
                <a:gd name="connsiteY245" fmla="*/ 466747 h 4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685531" h="470306">
                  <a:moveTo>
                    <a:pt x="94705" y="466747"/>
                  </a:moveTo>
                  <a:lnTo>
                    <a:pt x="0" y="466747"/>
                  </a:lnTo>
                  <a:lnTo>
                    <a:pt x="0" y="17528"/>
                  </a:lnTo>
                  <a:lnTo>
                    <a:pt x="259550" y="17528"/>
                  </a:lnTo>
                  <a:lnTo>
                    <a:pt x="259550" y="94760"/>
                  </a:lnTo>
                  <a:lnTo>
                    <a:pt x="94705" y="94760"/>
                  </a:lnTo>
                  <a:lnTo>
                    <a:pt x="94705" y="210540"/>
                  </a:lnTo>
                  <a:lnTo>
                    <a:pt x="249012" y="210540"/>
                  </a:lnTo>
                  <a:lnTo>
                    <a:pt x="249012" y="287771"/>
                  </a:lnTo>
                  <a:lnTo>
                    <a:pt x="94705" y="287771"/>
                  </a:lnTo>
                  <a:lnTo>
                    <a:pt x="94705" y="466747"/>
                  </a:lnTo>
                  <a:close/>
                  <a:moveTo>
                    <a:pt x="757641" y="238612"/>
                  </a:moveTo>
                  <a:cubicBezTo>
                    <a:pt x="757641" y="312284"/>
                    <a:pt x="740123" y="371987"/>
                    <a:pt x="701530" y="410603"/>
                  </a:cubicBezTo>
                  <a:cubicBezTo>
                    <a:pt x="662936" y="449219"/>
                    <a:pt x="610315" y="470239"/>
                    <a:pt x="543665" y="470239"/>
                  </a:cubicBezTo>
                  <a:cubicBezTo>
                    <a:pt x="477016" y="470239"/>
                    <a:pt x="420904" y="449152"/>
                    <a:pt x="385801" y="410603"/>
                  </a:cubicBezTo>
                  <a:cubicBezTo>
                    <a:pt x="350698" y="371987"/>
                    <a:pt x="329690" y="312351"/>
                    <a:pt x="329690" y="238612"/>
                  </a:cubicBezTo>
                  <a:cubicBezTo>
                    <a:pt x="329690" y="164873"/>
                    <a:pt x="347208" y="105236"/>
                    <a:pt x="385801" y="66621"/>
                  </a:cubicBezTo>
                  <a:cubicBezTo>
                    <a:pt x="424395" y="28005"/>
                    <a:pt x="477016" y="6984"/>
                    <a:pt x="543665" y="6984"/>
                  </a:cubicBezTo>
                  <a:cubicBezTo>
                    <a:pt x="610315" y="6984"/>
                    <a:pt x="666426" y="28072"/>
                    <a:pt x="701530" y="66621"/>
                  </a:cubicBezTo>
                  <a:cubicBezTo>
                    <a:pt x="736633" y="105236"/>
                    <a:pt x="757641" y="164873"/>
                    <a:pt x="757641" y="238612"/>
                  </a:cubicBezTo>
                  <a:close/>
                  <a:moveTo>
                    <a:pt x="427952" y="238612"/>
                  </a:moveTo>
                  <a:cubicBezTo>
                    <a:pt x="427952" y="287771"/>
                    <a:pt x="438490" y="326320"/>
                    <a:pt x="456008" y="350900"/>
                  </a:cubicBezTo>
                  <a:cubicBezTo>
                    <a:pt x="473526" y="375479"/>
                    <a:pt x="505139" y="389515"/>
                    <a:pt x="540175" y="389515"/>
                  </a:cubicBezTo>
                  <a:cubicBezTo>
                    <a:pt x="617362" y="389515"/>
                    <a:pt x="655889" y="340356"/>
                    <a:pt x="655889" y="238612"/>
                  </a:cubicBezTo>
                  <a:cubicBezTo>
                    <a:pt x="655889" y="136868"/>
                    <a:pt x="617295" y="87708"/>
                    <a:pt x="543665" y="87708"/>
                  </a:cubicBezTo>
                  <a:cubicBezTo>
                    <a:pt x="505072" y="87708"/>
                    <a:pt x="477016" y="101744"/>
                    <a:pt x="456008" y="126324"/>
                  </a:cubicBezTo>
                  <a:cubicBezTo>
                    <a:pt x="438490" y="150904"/>
                    <a:pt x="427952" y="189519"/>
                    <a:pt x="427952" y="238612"/>
                  </a:cubicBezTo>
                  <a:close/>
                  <a:moveTo>
                    <a:pt x="1115387" y="340423"/>
                  </a:moveTo>
                  <a:cubicBezTo>
                    <a:pt x="1115387" y="382531"/>
                    <a:pt x="1101359" y="414095"/>
                    <a:pt x="1069813" y="435183"/>
                  </a:cubicBezTo>
                  <a:cubicBezTo>
                    <a:pt x="1038267" y="456270"/>
                    <a:pt x="999673" y="470306"/>
                    <a:pt x="947052" y="470306"/>
                  </a:cubicBezTo>
                  <a:cubicBezTo>
                    <a:pt x="897920" y="470306"/>
                    <a:pt x="855837" y="459763"/>
                    <a:pt x="820800" y="442234"/>
                  </a:cubicBezTo>
                  <a:lnTo>
                    <a:pt x="820800" y="354526"/>
                  </a:lnTo>
                  <a:cubicBezTo>
                    <a:pt x="852347" y="368562"/>
                    <a:pt x="876912" y="379106"/>
                    <a:pt x="897987" y="382598"/>
                  </a:cubicBezTo>
                  <a:cubicBezTo>
                    <a:pt x="919063" y="386091"/>
                    <a:pt x="936581" y="389650"/>
                    <a:pt x="954099" y="389650"/>
                  </a:cubicBezTo>
                  <a:cubicBezTo>
                    <a:pt x="975175" y="389650"/>
                    <a:pt x="992693" y="386158"/>
                    <a:pt x="1003230" y="379106"/>
                  </a:cubicBezTo>
                  <a:cubicBezTo>
                    <a:pt x="1013768" y="372055"/>
                    <a:pt x="1020748" y="358018"/>
                    <a:pt x="1020748" y="343982"/>
                  </a:cubicBezTo>
                  <a:cubicBezTo>
                    <a:pt x="1020748" y="333439"/>
                    <a:pt x="1017258" y="326454"/>
                    <a:pt x="1013701" y="319403"/>
                  </a:cubicBezTo>
                  <a:cubicBezTo>
                    <a:pt x="1010144" y="312351"/>
                    <a:pt x="1003163" y="305367"/>
                    <a:pt x="992626" y="298315"/>
                  </a:cubicBezTo>
                  <a:cubicBezTo>
                    <a:pt x="982088" y="291264"/>
                    <a:pt x="964570" y="280787"/>
                    <a:pt x="933024" y="266751"/>
                  </a:cubicBezTo>
                  <a:cubicBezTo>
                    <a:pt x="904968" y="252715"/>
                    <a:pt x="883892" y="242171"/>
                    <a:pt x="869865" y="228135"/>
                  </a:cubicBezTo>
                  <a:cubicBezTo>
                    <a:pt x="855837" y="214099"/>
                    <a:pt x="845299" y="203555"/>
                    <a:pt x="838319" y="186027"/>
                  </a:cubicBezTo>
                  <a:cubicBezTo>
                    <a:pt x="831271" y="168499"/>
                    <a:pt x="824291" y="150904"/>
                    <a:pt x="824291" y="129883"/>
                  </a:cubicBezTo>
                  <a:cubicBezTo>
                    <a:pt x="824291" y="91268"/>
                    <a:pt x="838319" y="59703"/>
                    <a:pt x="866374" y="35124"/>
                  </a:cubicBezTo>
                  <a:cubicBezTo>
                    <a:pt x="894430" y="10544"/>
                    <a:pt x="929534" y="0"/>
                    <a:pt x="978598" y="0"/>
                  </a:cubicBezTo>
                  <a:cubicBezTo>
                    <a:pt x="1003163" y="0"/>
                    <a:pt x="1024172" y="3492"/>
                    <a:pt x="1045247" y="7052"/>
                  </a:cubicBezTo>
                  <a:cubicBezTo>
                    <a:pt x="1066323" y="10544"/>
                    <a:pt x="1087331" y="21088"/>
                    <a:pt x="1111896" y="31631"/>
                  </a:cubicBezTo>
                  <a:lnTo>
                    <a:pt x="1080350" y="105304"/>
                  </a:lnTo>
                  <a:cubicBezTo>
                    <a:pt x="1055785" y="94760"/>
                    <a:pt x="1034776" y="87775"/>
                    <a:pt x="1020748" y="84216"/>
                  </a:cubicBezTo>
                  <a:cubicBezTo>
                    <a:pt x="1006721" y="80724"/>
                    <a:pt x="989202" y="77164"/>
                    <a:pt x="975175" y="77164"/>
                  </a:cubicBezTo>
                  <a:cubicBezTo>
                    <a:pt x="957657" y="77164"/>
                    <a:pt x="943629" y="80657"/>
                    <a:pt x="933091" y="91200"/>
                  </a:cubicBezTo>
                  <a:cubicBezTo>
                    <a:pt x="922553" y="101744"/>
                    <a:pt x="919063" y="112288"/>
                    <a:pt x="919063" y="122765"/>
                  </a:cubicBezTo>
                  <a:cubicBezTo>
                    <a:pt x="919063" y="129816"/>
                    <a:pt x="922553" y="140293"/>
                    <a:pt x="926110" y="143852"/>
                  </a:cubicBezTo>
                  <a:cubicBezTo>
                    <a:pt x="929601" y="150904"/>
                    <a:pt x="936648" y="157888"/>
                    <a:pt x="943629" y="161380"/>
                  </a:cubicBezTo>
                  <a:cubicBezTo>
                    <a:pt x="950676" y="168432"/>
                    <a:pt x="971684" y="178909"/>
                    <a:pt x="1003230" y="192945"/>
                  </a:cubicBezTo>
                  <a:cubicBezTo>
                    <a:pt x="1045314" y="214032"/>
                    <a:pt x="1073370" y="235052"/>
                    <a:pt x="1090888" y="252581"/>
                  </a:cubicBezTo>
                  <a:cubicBezTo>
                    <a:pt x="1108406" y="287704"/>
                    <a:pt x="1115454" y="312217"/>
                    <a:pt x="1115454" y="340289"/>
                  </a:cubicBezTo>
                  <a:lnTo>
                    <a:pt x="1115454" y="340289"/>
                  </a:lnTo>
                  <a:close/>
                  <a:moveTo>
                    <a:pt x="1466151" y="340423"/>
                  </a:moveTo>
                  <a:cubicBezTo>
                    <a:pt x="1466151" y="382531"/>
                    <a:pt x="1452123" y="414095"/>
                    <a:pt x="1420577" y="435183"/>
                  </a:cubicBezTo>
                  <a:cubicBezTo>
                    <a:pt x="1389032" y="456270"/>
                    <a:pt x="1350438" y="470306"/>
                    <a:pt x="1297816" y="470306"/>
                  </a:cubicBezTo>
                  <a:cubicBezTo>
                    <a:pt x="1248685" y="470306"/>
                    <a:pt x="1206602" y="459763"/>
                    <a:pt x="1171565" y="442234"/>
                  </a:cubicBezTo>
                  <a:lnTo>
                    <a:pt x="1171565" y="354526"/>
                  </a:lnTo>
                  <a:cubicBezTo>
                    <a:pt x="1203111" y="368562"/>
                    <a:pt x="1227677" y="379106"/>
                    <a:pt x="1248752" y="382598"/>
                  </a:cubicBezTo>
                  <a:cubicBezTo>
                    <a:pt x="1269828" y="386091"/>
                    <a:pt x="1287346" y="389650"/>
                    <a:pt x="1304864" y="389650"/>
                  </a:cubicBezTo>
                  <a:cubicBezTo>
                    <a:pt x="1325939" y="389650"/>
                    <a:pt x="1343457" y="386158"/>
                    <a:pt x="1353995" y="379106"/>
                  </a:cubicBezTo>
                  <a:cubicBezTo>
                    <a:pt x="1364533" y="372055"/>
                    <a:pt x="1371513" y="358018"/>
                    <a:pt x="1371513" y="343982"/>
                  </a:cubicBezTo>
                  <a:cubicBezTo>
                    <a:pt x="1371513" y="333439"/>
                    <a:pt x="1368023" y="326454"/>
                    <a:pt x="1364466" y="319403"/>
                  </a:cubicBezTo>
                  <a:cubicBezTo>
                    <a:pt x="1360908" y="312351"/>
                    <a:pt x="1353928" y="305367"/>
                    <a:pt x="1343390" y="298315"/>
                  </a:cubicBezTo>
                  <a:cubicBezTo>
                    <a:pt x="1332853" y="291264"/>
                    <a:pt x="1315334" y="280787"/>
                    <a:pt x="1283789" y="266751"/>
                  </a:cubicBezTo>
                  <a:cubicBezTo>
                    <a:pt x="1255733" y="252715"/>
                    <a:pt x="1234657" y="242171"/>
                    <a:pt x="1220629" y="228135"/>
                  </a:cubicBezTo>
                  <a:cubicBezTo>
                    <a:pt x="1206602" y="214099"/>
                    <a:pt x="1196064" y="203555"/>
                    <a:pt x="1189083" y="186027"/>
                  </a:cubicBezTo>
                  <a:cubicBezTo>
                    <a:pt x="1182036" y="168499"/>
                    <a:pt x="1175055" y="150904"/>
                    <a:pt x="1175055" y="129883"/>
                  </a:cubicBezTo>
                  <a:cubicBezTo>
                    <a:pt x="1175055" y="91268"/>
                    <a:pt x="1189083" y="59703"/>
                    <a:pt x="1217139" y="35124"/>
                  </a:cubicBezTo>
                  <a:cubicBezTo>
                    <a:pt x="1245195" y="10544"/>
                    <a:pt x="1280298" y="0"/>
                    <a:pt x="1329363" y="0"/>
                  </a:cubicBezTo>
                  <a:cubicBezTo>
                    <a:pt x="1353928" y="0"/>
                    <a:pt x="1374936" y="3492"/>
                    <a:pt x="1396012" y="7052"/>
                  </a:cubicBezTo>
                  <a:cubicBezTo>
                    <a:pt x="1417087" y="10544"/>
                    <a:pt x="1438096" y="21088"/>
                    <a:pt x="1462661" y="31631"/>
                  </a:cubicBezTo>
                  <a:lnTo>
                    <a:pt x="1431115" y="105304"/>
                  </a:lnTo>
                  <a:cubicBezTo>
                    <a:pt x="1406550" y="94760"/>
                    <a:pt x="1385541" y="87775"/>
                    <a:pt x="1371513" y="84216"/>
                  </a:cubicBezTo>
                  <a:cubicBezTo>
                    <a:pt x="1357485" y="80724"/>
                    <a:pt x="1339967" y="77164"/>
                    <a:pt x="1325939" y="77164"/>
                  </a:cubicBezTo>
                  <a:cubicBezTo>
                    <a:pt x="1308421" y="77164"/>
                    <a:pt x="1294393" y="80657"/>
                    <a:pt x="1283856" y="91200"/>
                  </a:cubicBezTo>
                  <a:cubicBezTo>
                    <a:pt x="1273318" y="101744"/>
                    <a:pt x="1269828" y="112288"/>
                    <a:pt x="1269828" y="122765"/>
                  </a:cubicBezTo>
                  <a:cubicBezTo>
                    <a:pt x="1269828" y="129816"/>
                    <a:pt x="1273318" y="140293"/>
                    <a:pt x="1276875" y="143852"/>
                  </a:cubicBezTo>
                  <a:cubicBezTo>
                    <a:pt x="1280365" y="150904"/>
                    <a:pt x="1287413" y="157888"/>
                    <a:pt x="1294393" y="161380"/>
                  </a:cubicBezTo>
                  <a:cubicBezTo>
                    <a:pt x="1301441" y="168432"/>
                    <a:pt x="1322449" y="178909"/>
                    <a:pt x="1353995" y="192945"/>
                  </a:cubicBezTo>
                  <a:cubicBezTo>
                    <a:pt x="1396079" y="214032"/>
                    <a:pt x="1424135" y="235052"/>
                    <a:pt x="1441653" y="252581"/>
                  </a:cubicBezTo>
                  <a:cubicBezTo>
                    <a:pt x="1455681" y="287704"/>
                    <a:pt x="1466219" y="312217"/>
                    <a:pt x="1466219" y="340289"/>
                  </a:cubicBezTo>
                  <a:lnTo>
                    <a:pt x="1466219" y="340289"/>
                  </a:lnTo>
                  <a:close/>
                  <a:moveTo>
                    <a:pt x="1715163" y="466747"/>
                  </a:moveTo>
                  <a:lnTo>
                    <a:pt x="1511725" y="466747"/>
                  </a:lnTo>
                  <a:lnTo>
                    <a:pt x="1511725" y="414095"/>
                  </a:lnTo>
                  <a:lnTo>
                    <a:pt x="1567837" y="389515"/>
                  </a:lnTo>
                  <a:lnTo>
                    <a:pt x="1567837" y="98252"/>
                  </a:lnTo>
                  <a:lnTo>
                    <a:pt x="1511725" y="73672"/>
                  </a:lnTo>
                  <a:lnTo>
                    <a:pt x="1511725" y="21020"/>
                  </a:lnTo>
                  <a:lnTo>
                    <a:pt x="1715163" y="21020"/>
                  </a:lnTo>
                  <a:lnTo>
                    <a:pt x="1715163" y="73672"/>
                  </a:lnTo>
                  <a:lnTo>
                    <a:pt x="1659052" y="98252"/>
                  </a:lnTo>
                  <a:lnTo>
                    <a:pt x="1659052" y="389515"/>
                  </a:lnTo>
                  <a:lnTo>
                    <a:pt x="1715163" y="414095"/>
                  </a:lnTo>
                  <a:lnTo>
                    <a:pt x="1715163" y="466747"/>
                  </a:lnTo>
                  <a:close/>
                  <a:moveTo>
                    <a:pt x="1792283" y="466747"/>
                  </a:moveTo>
                  <a:lnTo>
                    <a:pt x="1792283" y="17528"/>
                  </a:lnTo>
                  <a:lnTo>
                    <a:pt x="1886988" y="17528"/>
                  </a:lnTo>
                  <a:lnTo>
                    <a:pt x="1886988" y="389515"/>
                  </a:lnTo>
                  <a:lnTo>
                    <a:pt x="2069351" y="389515"/>
                  </a:lnTo>
                  <a:lnTo>
                    <a:pt x="2069351" y="466747"/>
                  </a:lnTo>
                  <a:lnTo>
                    <a:pt x="1792283" y="466747"/>
                  </a:lnTo>
                  <a:close/>
                  <a:moveTo>
                    <a:pt x="2111502" y="333372"/>
                  </a:moveTo>
                  <a:lnTo>
                    <a:pt x="2111502" y="256140"/>
                  </a:lnTo>
                  <a:lnTo>
                    <a:pt x="2276347" y="256140"/>
                  </a:lnTo>
                  <a:lnTo>
                    <a:pt x="2276347" y="333372"/>
                  </a:lnTo>
                  <a:lnTo>
                    <a:pt x="2111502" y="333372"/>
                  </a:lnTo>
                  <a:close/>
                  <a:moveTo>
                    <a:pt x="2444682" y="466747"/>
                  </a:moveTo>
                  <a:lnTo>
                    <a:pt x="2349977" y="466747"/>
                  </a:lnTo>
                  <a:lnTo>
                    <a:pt x="2349977" y="17528"/>
                  </a:lnTo>
                  <a:lnTo>
                    <a:pt x="2609526" y="17528"/>
                  </a:lnTo>
                  <a:lnTo>
                    <a:pt x="2609526" y="94760"/>
                  </a:lnTo>
                  <a:lnTo>
                    <a:pt x="2444682" y="94760"/>
                  </a:lnTo>
                  <a:lnTo>
                    <a:pt x="2444682" y="210540"/>
                  </a:lnTo>
                  <a:lnTo>
                    <a:pt x="2598989" y="210540"/>
                  </a:lnTo>
                  <a:lnTo>
                    <a:pt x="2598989" y="287771"/>
                  </a:lnTo>
                  <a:lnTo>
                    <a:pt x="2444682" y="287771"/>
                  </a:lnTo>
                  <a:lnTo>
                    <a:pt x="2444682" y="466747"/>
                  </a:lnTo>
                  <a:close/>
                  <a:moveTo>
                    <a:pt x="2795447" y="291264"/>
                  </a:moveTo>
                  <a:lnTo>
                    <a:pt x="2795447" y="463255"/>
                  </a:lnTo>
                  <a:lnTo>
                    <a:pt x="2700742" y="463255"/>
                  </a:lnTo>
                  <a:lnTo>
                    <a:pt x="2700742" y="14036"/>
                  </a:lnTo>
                  <a:lnTo>
                    <a:pt x="2830483" y="14036"/>
                  </a:lnTo>
                  <a:cubicBezTo>
                    <a:pt x="2890084" y="14036"/>
                    <a:pt x="2935725" y="24580"/>
                    <a:pt x="2967272" y="49160"/>
                  </a:cubicBezTo>
                  <a:cubicBezTo>
                    <a:pt x="2995327" y="70247"/>
                    <a:pt x="3012846" y="105304"/>
                    <a:pt x="3012846" y="150904"/>
                  </a:cubicBezTo>
                  <a:cubicBezTo>
                    <a:pt x="3012846" y="178976"/>
                    <a:pt x="3005798" y="200063"/>
                    <a:pt x="2991770" y="221084"/>
                  </a:cubicBezTo>
                  <a:cubicBezTo>
                    <a:pt x="2977742" y="242171"/>
                    <a:pt x="2956667" y="256207"/>
                    <a:pt x="2928611" y="270243"/>
                  </a:cubicBezTo>
                  <a:lnTo>
                    <a:pt x="3061910" y="466747"/>
                  </a:lnTo>
                  <a:lnTo>
                    <a:pt x="2956667" y="466747"/>
                  </a:lnTo>
                  <a:lnTo>
                    <a:pt x="2847934" y="294756"/>
                  </a:lnTo>
                  <a:lnTo>
                    <a:pt x="2795312" y="294756"/>
                  </a:lnTo>
                  <a:lnTo>
                    <a:pt x="2795312" y="291264"/>
                  </a:lnTo>
                  <a:lnTo>
                    <a:pt x="2795312" y="291264"/>
                  </a:lnTo>
                  <a:close/>
                  <a:moveTo>
                    <a:pt x="2795447" y="214032"/>
                  </a:moveTo>
                  <a:lnTo>
                    <a:pt x="2826993" y="214032"/>
                  </a:lnTo>
                  <a:cubicBezTo>
                    <a:pt x="2858538" y="214032"/>
                    <a:pt x="2879614" y="210540"/>
                    <a:pt x="2893642" y="199996"/>
                  </a:cubicBezTo>
                  <a:cubicBezTo>
                    <a:pt x="2907670" y="189452"/>
                    <a:pt x="2914718" y="175416"/>
                    <a:pt x="2914718" y="150837"/>
                  </a:cubicBezTo>
                  <a:cubicBezTo>
                    <a:pt x="2914718" y="129749"/>
                    <a:pt x="2907670" y="115713"/>
                    <a:pt x="2893642" y="105236"/>
                  </a:cubicBezTo>
                  <a:cubicBezTo>
                    <a:pt x="2879614" y="94693"/>
                    <a:pt x="2855048" y="91200"/>
                    <a:pt x="2826993" y="91200"/>
                  </a:cubicBezTo>
                  <a:lnTo>
                    <a:pt x="2798937" y="91200"/>
                  </a:lnTo>
                  <a:lnTo>
                    <a:pt x="2798937" y="214032"/>
                  </a:lnTo>
                  <a:lnTo>
                    <a:pt x="2795447" y="214032"/>
                  </a:lnTo>
                  <a:lnTo>
                    <a:pt x="2795447" y="214032"/>
                  </a:lnTo>
                  <a:close/>
                  <a:moveTo>
                    <a:pt x="3374148" y="466747"/>
                  </a:moveTo>
                  <a:lnTo>
                    <a:pt x="3114598" y="466747"/>
                  </a:lnTo>
                  <a:lnTo>
                    <a:pt x="3114598" y="17528"/>
                  </a:lnTo>
                  <a:lnTo>
                    <a:pt x="3374148" y="17528"/>
                  </a:lnTo>
                  <a:lnTo>
                    <a:pt x="3374148" y="94760"/>
                  </a:lnTo>
                  <a:lnTo>
                    <a:pt x="3209303" y="94760"/>
                  </a:lnTo>
                  <a:lnTo>
                    <a:pt x="3209303" y="193012"/>
                  </a:lnTo>
                  <a:lnTo>
                    <a:pt x="3363610" y="193012"/>
                  </a:lnTo>
                  <a:lnTo>
                    <a:pt x="3363610" y="270243"/>
                  </a:lnTo>
                  <a:lnTo>
                    <a:pt x="3209303" y="270243"/>
                  </a:lnTo>
                  <a:lnTo>
                    <a:pt x="3209303" y="386023"/>
                  </a:lnTo>
                  <a:lnTo>
                    <a:pt x="3374148" y="386023"/>
                  </a:lnTo>
                  <a:lnTo>
                    <a:pt x="3374148" y="466747"/>
                  </a:lnTo>
                  <a:close/>
                  <a:moveTo>
                    <a:pt x="3728403" y="466747"/>
                  </a:moveTo>
                  <a:lnTo>
                    <a:pt x="3468853" y="466747"/>
                  </a:lnTo>
                  <a:lnTo>
                    <a:pt x="3468853" y="17528"/>
                  </a:lnTo>
                  <a:lnTo>
                    <a:pt x="3728403" y="17528"/>
                  </a:lnTo>
                  <a:lnTo>
                    <a:pt x="3728403" y="94760"/>
                  </a:lnTo>
                  <a:lnTo>
                    <a:pt x="3563558" y="94760"/>
                  </a:lnTo>
                  <a:lnTo>
                    <a:pt x="3563558" y="193012"/>
                  </a:lnTo>
                  <a:lnTo>
                    <a:pt x="3717865" y="193012"/>
                  </a:lnTo>
                  <a:lnTo>
                    <a:pt x="3717865" y="270243"/>
                  </a:lnTo>
                  <a:lnTo>
                    <a:pt x="3563558" y="270243"/>
                  </a:lnTo>
                  <a:lnTo>
                    <a:pt x="3563558" y="386023"/>
                  </a:lnTo>
                  <a:lnTo>
                    <a:pt x="3728403" y="386023"/>
                  </a:lnTo>
                  <a:lnTo>
                    <a:pt x="3728403" y="466747"/>
                  </a:lnTo>
                  <a:close/>
                  <a:moveTo>
                    <a:pt x="4250993" y="340423"/>
                  </a:moveTo>
                  <a:cubicBezTo>
                    <a:pt x="4250993" y="382531"/>
                    <a:pt x="4236965" y="414095"/>
                    <a:pt x="4205419" y="435183"/>
                  </a:cubicBezTo>
                  <a:cubicBezTo>
                    <a:pt x="4173873" y="456270"/>
                    <a:pt x="4135279" y="470306"/>
                    <a:pt x="4082658" y="470306"/>
                  </a:cubicBezTo>
                  <a:cubicBezTo>
                    <a:pt x="4033527" y="470306"/>
                    <a:pt x="3991443" y="459763"/>
                    <a:pt x="3956407" y="442234"/>
                  </a:cubicBezTo>
                  <a:lnTo>
                    <a:pt x="3956407" y="354526"/>
                  </a:lnTo>
                  <a:cubicBezTo>
                    <a:pt x="3987953" y="368562"/>
                    <a:pt x="4012519" y="379106"/>
                    <a:pt x="4033594" y="382598"/>
                  </a:cubicBezTo>
                  <a:cubicBezTo>
                    <a:pt x="4054669" y="386091"/>
                    <a:pt x="4072187" y="389650"/>
                    <a:pt x="4089706" y="389650"/>
                  </a:cubicBezTo>
                  <a:cubicBezTo>
                    <a:pt x="4110781" y="389650"/>
                    <a:pt x="4128299" y="386158"/>
                    <a:pt x="4138837" y="379106"/>
                  </a:cubicBezTo>
                  <a:cubicBezTo>
                    <a:pt x="4149374" y="372055"/>
                    <a:pt x="4156355" y="358018"/>
                    <a:pt x="4156355" y="343982"/>
                  </a:cubicBezTo>
                  <a:cubicBezTo>
                    <a:pt x="4156355" y="333439"/>
                    <a:pt x="4152865" y="326454"/>
                    <a:pt x="4149308" y="319403"/>
                  </a:cubicBezTo>
                  <a:cubicBezTo>
                    <a:pt x="4145817" y="312351"/>
                    <a:pt x="4138770" y="305367"/>
                    <a:pt x="4128232" y="298315"/>
                  </a:cubicBezTo>
                  <a:cubicBezTo>
                    <a:pt x="4117694" y="291264"/>
                    <a:pt x="4100176" y="280787"/>
                    <a:pt x="4068630" y="266751"/>
                  </a:cubicBezTo>
                  <a:cubicBezTo>
                    <a:pt x="4040574" y="252715"/>
                    <a:pt x="4019499" y="242171"/>
                    <a:pt x="4005471" y="228135"/>
                  </a:cubicBezTo>
                  <a:cubicBezTo>
                    <a:pt x="3991443" y="214099"/>
                    <a:pt x="3980905" y="203555"/>
                    <a:pt x="3973925" y="186027"/>
                  </a:cubicBezTo>
                  <a:cubicBezTo>
                    <a:pt x="3966944" y="168499"/>
                    <a:pt x="3959897" y="150904"/>
                    <a:pt x="3959897" y="129883"/>
                  </a:cubicBezTo>
                  <a:cubicBezTo>
                    <a:pt x="3959897" y="91268"/>
                    <a:pt x="3973925" y="59703"/>
                    <a:pt x="4001981" y="35124"/>
                  </a:cubicBezTo>
                  <a:cubicBezTo>
                    <a:pt x="4030037" y="10544"/>
                    <a:pt x="4065140" y="0"/>
                    <a:pt x="4114204" y="0"/>
                  </a:cubicBezTo>
                  <a:cubicBezTo>
                    <a:pt x="4138770" y="0"/>
                    <a:pt x="4159778" y="3492"/>
                    <a:pt x="4180853" y="7052"/>
                  </a:cubicBezTo>
                  <a:cubicBezTo>
                    <a:pt x="4201929" y="10544"/>
                    <a:pt x="4222937" y="21088"/>
                    <a:pt x="4247503" y="31631"/>
                  </a:cubicBezTo>
                  <a:lnTo>
                    <a:pt x="4215957" y="105304"/>
                  </a:lnTo>
                  <a:cubicBezTo>
                    <a:pt x="4191391" y="94760"/>
                    <a:pt x="4170383" y="87775"/>
                    <a:pt x="4156355" y="84216"/>
                  </a:cubicBezTo>
                  <a:cubicBezTo>
                    <a:pt x="4142327" y="80657"/>
                    <a:pt x="4124809" y="77164"/>
                    <a:pt x="4110781" y="77164"/>
                  </a:cubicBezTo>
                  <a:cubicBezTo>
                    <a:pt x="4093263" y="77164"/>
                    <a:pt x="4079235" y="80657"/>
                    <a:pt x="4068697" y="91200"/>
                  </a:cubicBezTo>
                  <a:cubicBezTo>
                    <a:pt x="4058160" y="101744"/>
                    <a:pt x="4054669" y="112288"/>
                    <a:pt x="4054669" y="122765"/>
                  </a:cubicBezTo>
                  <a:cubicBezTo>
                    <a:pt x="4054669" y="129816"/>
                    <a:pt x="4058160" y="140293"/>
                    <a:pt x="4061717" y="143852"/>
                  </a:cubicBezTo>
                  <a:cubicBezTo>
                    <a:pt x="4065207" y="150904"/>
                    <a:pt x="4072254" y="157888"/>
                    <a:pt x="4079235" y="161380"/>
                  </a:cubicBezTo>
                  <a:cubicBezTo>
                    <a:pt x="4086283" y="168432"/>
                    <a:pt x="4107291" y="178909"/>
                    <a:pt x="4138837" y="192945"/>
                  </a:cubicBezTo>
                  <a:cubicBezTo>
                    <a:pt x="4180920" y="214032"/>
                    <a:pt x="4208976" y="235052"/>
                    <a:pt x="4226495" y="252581"/>
                  </a:cubicBezTo>
                  <a:cubicBezTo>
                    <a:pt x="4244013" y="287704"/>
                    <a:pt x="4251060" y="312217"/>
                    <a:pt x="4251060" y="340289"/>
                  </a:cubicBezTo>
                  <a:lnTo>
                    <a:pt x="4251060" y="340289"/>
                  </a:lnTo>
                  <a:close/>
                  <a:moveTo>
                    <a:pt x="4507053" y="466747"/>
                  </a:moveTo>
                  <a:lnTo>
                    <a:pt x="4412347" y="466747"/>
                  </a:lnTo>
                  <a:lnTo>
                    <a:pt x="4412347" y="94760"/>
                  </a:lnTo>
                  <a:lnTo>
                    <a:pt x="4289587" y="94760"/>
                  </a:lnTo>
                  <a:lnTo>
                    <a:pt x="4289587" y="14036"/>
                  </a:lnTo>
                  <a:lnTo>
                    <a:pt x="4629814" y="14036"/>
                  </a:lnTo>
                  <a:lnTo>
                    <a:pt x="4629814" y="94760"/>
                  </a:lnTo>
                  <a:lnTo>
                    <a:pt x="4507053" y="94760"/>
                  </a:lnTo>
                  <a:lnTo>
                    <a:pt x="4507053" y="466747"/>
                  </a:lnTo>
                  <a:close/>
                  <a:moveTo>
                    <a:pt x="4959503" y="466747"/>
                  </a:moveTo>
                  <a:lnTo>
                    <a:pt x="4699953" y="466747"/>
                  </a:lnTo>
                  <a:lnTo>
                    <a:pt x="4699953" y="17528"/>
                  </a:lnTo>
                  <a:lnTo>
                    <a:pt x="4959503" y="17528"/>
                  </a:lnTo>
                  <a:lnTo>
                    <a:pt x="4959503" y="94760"/>
                  </a:lnTo>
                  <a:lnTo>
                    <a:pt x="4794658" y="94760"/>
                  </a:lnTo>
                  <a:lnTo>
                    <a:pt x="4794658" y="193012"/>
                  </a:lnTo>
                  <a:lnTo>
                    <a:pt x="4948966" y="193012"/>
                  </a:lnTo>
                  <a:lnTo>
                    <a:pt x="4948966" y="270243"/>
                  </a:lnTo>
                  <a:lnTo>
                    <a:pt x="4794658" y="270243"/>
                  </a:lnTo>
                  <a:lnTo>
                    <a:pt x="4794658" y="386023"/>
                  </a:lnTo>
                  <a:lnTo>
                    <a:pt x="4959503" y="386023"/>
                  </a:lnTo>
                  <a:lnTo>
                    <a:pt x="4959503" y="466747"/>
                  </a:lnTo>
                  <a:close/>
                  <a:moveTo>
                    <a:pt x="5313758" y="466747"/>
                  </a:moveTo>
                  <a:lnTo>
                    <a:pt x="5054208" y="466747"/>
                  </a:lnTo>
                  <a:lnTo>
                    <a:pt x="5054208" y="17528"/>
                  </a:lnTo>
                  <a:lnTo>
                    <a:pt x="5313758" y="17528"/>
                  </a:lnTo>
                  <a:lnTo>
                    <a:pt x="5313758" y="94760"/>
                  </a:lnTo>
                  <a:lnTo>
                    <a:pt x="5148913" y="94760"/>
                  </a:lnTo>
                  <a:lnTo>
                    <a:pt x="5148913" y="193012"/>
                  </a:lnTo>
                  <a:lnTo>
                    <a:pt x="5303220" y="193012"/>
                  </a:lnTo>
                  <a:lnTo>
                    <a:pt x="5303220" y="270243"/>
                  </a:lnTo>
                  <a:lnTo>
                    <a:pt x="5148913" y="270243"/>
                  </a:lnTo>
                  <a:lnTo>
                    <a:pt x="5148913" y="386023"/>
                  </a:lnTo>
                  <a:lnTo>
                    <a:pt x="5313758" y="386023"/>
                  </a:lnTo>
                  <a:lnTo>
                    <a:pt x="5313758" y="466747"/>
                  </a:lnTo>
                  <a:close/>
                  <a:moveTo>
                    <a:pt x="5408463" y="466747"/>
                  </a:moveTo>
                  <a:lnTo>
                    <a:pt x="5408463" y="17528"/>
                  </a:lnTo>
                  <a:lnTo>
                    <a:pt x="5503168" y="17528"/>
                  </a:lnTo>
                  <a:lnTo>
                    <a:pt x="5503168" y="389515"/>
                  </a:lnTo>
                  <a:lnTo>
                    <a:pt x="5685531" y="389515"/>
                  </a:lnTo>
                  <a:lnTo>
                    <a:pt x="5685531" y="466747"/>
                  </a:lnTo>
                  <a:lnTo>
                    <a:pt x="5408463" y="466747"/>
                  </a:lnTo>
                  <a:close/>
                </a:path>
              </a:pathLst>
            </a:custGeom>
            <a:grpFill/>
            <a:ln w="0" cap="flat">
              <a:noFill/>
              <a:prstDash val="solid"/>
              <a:miter/>
            </a:ln>
          </p:spPr>
          <p:txBody>
            <a:bodyPr rtlCol="0" anchor="ctr"/>
            <a:lstStyle/>
            <a:p>
              <a:endParaRPr lang="sv-SE"/>
            </a:p>
          </p:txBody>
        </p:sp>
      </p:grpSp>
      <p:sp>
        <p:nvSpPr>
          <p:cNvPr id="143" name="TextBox 142">
            <a:extLst>
              <a:ext uri="{FF2B5EF4-FFF2-40B4-BE49-F238E27FC236}">
                <a16:creationId xmlns:a16="http://schemas.microsoft.com/office/drawing/2014/main" id="{2ECA34BC-DA0B-8F66-9A2A-9FA770B3AB3C}"/>
              </a:ext>
            </a:extLst>
          </p:cNvPr>
          <p:cNvSpPr txBox="1"/>
          <p:nvPr/>
        </p:nvSpPr>
        <p:spPr>
          <a:xfrm>
            <a:off x="546101" y="1788239"/>
            <a:ext cx="3505031" cy="1179810"/>
          </a:xfrm>
          <a:prstGeom prst="rect">
            <a:avLst/>
          </a:prstGeom>
          <a:noFill/>
        </p:spPr>
        <p:txBody>
          <a:bodyPr wrap="square" lIns="0" tIns="0" rIns="0" bIns="0" rtlCol="0">
            <a:spAutoFit/>
          </a:bodyPr>
          <a:lstStyle/>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God tillgång till el</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Låga elpriser</a:t>
            </a:r>
          </a:p>
          <a:p>
            <a:pPr marL="285750" indent="-285750">
              <a:spcAft>
                <a:spcPts val="1600"/>
              </a:spcAft>
              <a:buBlip>
                <a:blip r:embed="rId4">
                  <a:extLst>
                    <a:ext uri="{96DAC541-7B7A-43D3-8B79-37D633B846F1}">
                      <asvg:svgBlip xmlns:asvg="http://schemas.microsoft.com/office/drawing/2016/SVG/main" r:embed="rId5"/>
                    </a:ext>
                  </a:extLst>
                </a:blip>
              </a:buBlip>
            </a:pPr>
            <a:r>
              <a:rPr lang="sv-SE" sz="1600" dirty="0">
                <a:solidFill>
                  <a:schemeClr val="bg1"/>
                </a:solidFill>
              </a:rPr>
              <a:t>Lagring av vätgas</a:t>
            </a:r>
          </a:p>
        </p:txBody>
      </p:sp>
      <p:cxnSp>
        <p:nvCxnSpPr>
          <p:cNvPr id="148" name="Straight Connector 147">
            <a:extLst>
              <a:ext uri="{FF2B5EF4-FFF2-40B4-BE49-F238E27FC236}">
                <a16:creationId xmlns:a16="http://schemas.microsoft.com/office/drawing/2014/main" id="{344F1116-94C4-9195-722C-BE1D4C507C23}"/>
              </a:ext>
            </a:extLst>
          </p:cNvPr>
          <p:cNvCxnSpPr>
            <a:cxnSpLocks/>
          </p:cNvCxnSpPr>
          <p:nvPr/>
        </p:nvCxnSpPr>
        <p:spPr>
          <a:xfrm>
            <a:off x="558800" y="3478167"/>
            <a:ext cx="138656" cy="0"/>
          </a:xfrm>
          <a:prstGeom prst="line">
            <a:avLst/>
          </a:prstGeom>
          <a:ln w="285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DA345D8-3670-DC3C-3035-FC2553CFC3E5}"/>
              </a:ext>
            </a:extLst>
          </p:cNvPr>
          <p:cNvCxnSpPr>
            <a:cxnSpLocks/>
          </p:cNvCxnSpPr>
          <p:nvPr/>
        </p:nvCxnSpPr>
        <p:spPr>
          <a:xfrm>
            <a:off x="558800" y="3740081"/>
            <a:ext cx="138656" cy="0"/>
          </a:xfrm>
          <a:prstGeom prst="line">
            <a:avLst/>
          </a:prstGeom>
          <a:ln w="28575" cap="rnd">
            <a:solidFill>
              <a:srgbClr val="FDAA48"/>
            </a:solidFill>
            <a:prstDash val="sysDot"/>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6070B994-D2D4-D4AF-0F49-B7ED4473610B}"/>
              </a:ext>
            </a:extLst>
          </p:cNvPr>
          <p:cNvSpPr txBox="1"/>
          <p:nvPr/>
        </p:nvSpPr>
        <p:spPr>
          <a:xfrm>
            <a:off x="840478" y="3358170"/>
            <a:ext cx="823660" cy="239993"/>
          </a:xfrm>
          <a:prstGeom prst="rect">
            <a:avLst/>
          </a:prstGeom>
          <a:noFill/>
        </p:spPr>
        <p:txBody>
          <a:bodyPr wrap="square" lIns="0" tIns="36000" rIns="0" bIns="36000" rtlCol="0" anchor="ctr">
            <a:spAutoFit/>
          </a:bodyPr>
          <a:lstStyle/>
          <a:p>
            <a:pPr>
              <a:lnSpc>
                <a:spcPct val="90000"/>
              </a:lnSpc>
            </a:pPr>
            <a:r>
              <a:rPr lang="sv-SE" sz="1200" dirty="0">
                <a:solidFill>
                  <a:schemeClr val="bg1"/>
                </a:solidFill>
              </a:rPr>
              <a:t>EL</a:t>
            </a:r>
            <a:endParaRPr lang="sv-SE" sz="1200" baseline="-25000" dirty="0">
              <a:solidFill>
                <a:schemeClr val="bg1"/>
              </a:solidFill>
            </a:endParaRPr>
          </a:p>
        </p:txBody>
      </p:sp>
      <p:sp>
        <p:nvSpPr>
          <p:cNvPr id="152" name="TextBox 151">
            <a:extLst>
              <a:ext uri="{FF2B5EF4-FFF2-40B4-BE49-F238E27FC236}">
                <a16:creationId xmlns:a16="http://schemas.microsoft.com/office/drawing/2014/main" id="{3390EE3F-D318-F490-19B0-440C0FE5AEAA}"/>
              </a:ext>
            </a:extLst>
          </p:cNvPr>
          <p:cNvSpPr txBox="1"/>
          <p:nvPr/>
        </p:nvSpPr>
        <p:spPr>
          <a:xfrm>
            <a:off x="840478" y="3620084"/>
            <a:ext cx="823660" cy="239993"/>
          </a:xfrm>
          <a:prstGeom prst="rect">
            <a:avLst/>
          </a:prstGeom>
          <a:noFill/>
        </p:spPr>
        <p:txBody>
          <a:bodyPr wrap="square" lIns="0" tIns="36000" rIns="0" bIns="36000" rtlCol="0" anchor="ctr">
            <a:spAutoFit/>
          </a:bodyPr>
          <a:lstStyle/>
          <a:p>
            <a:pPr>
              <a:lnSpc>
                <a:spcPct val="90000"/>
              </a:lnSpc>
            </a:pPr>
            <a:r>
              <a:rPr lang="sv-SE" sz="1200" spc="50" dirty="0">
                <a:solidFill>
                  <a:schemeClr val="bg1"/>
                </a:solidFill>
              </a:rPr>
              <a:t>VÄTGAS</a:t>
            </a:r>
          </a:p>
        </p:txBody>
      </p:sp>
      <p:grpSp>
        <p:nvGrpSpPr>
          <p:cNvPr id="366" name="Group 365">
            <a:extLst>
              <a:ext uri="{FF2B5EF4-FFF2-40B4-BE49-F238E27FC236}">
                <a16:creationId xmlns:a16="http://schemas.microsoft.com/office/drawing/2014/main" id="{451B710F-B310-CAA6-468E-9830420D4EF2}"/>
              </a:ext>
            </a:extLst>
          </p:cNvPr>
          <p:cNvGrpSpPr/>
          <p:nvPr/>
        </p:nvGrpSpPr>
        <p:grpSpPr>
          <a:xfrm>
            <a:off x="10570368" y="2329112"/>
            <a:ext cx="102628" cy="317215"/>
            <a:chOff x="10561371" y="2761582"/>
            <a:chExt cx="102628" cy="317215"/>
          </a:xfrm>
        </p:grpSpPr>
        <p:sp>
          <p:nvSpPr>
            <p:cNvPr id="15" name="Freeform 14">
              <a:extLst>
                <a:ext uri="{FF2B5EF4-FFF2-40B4-BE49-F238E27FC236}">
                  <a16:creationId xmlns:a16="http://schemas.microsoft.com/office/drawing/2014/main" id="{E06CEF92-56DC-2868-8DDF-A6218B4CCB8D}"/>
                </a:ext>
              </a:extLst>
            </p:cNvPr>
            <p:cNvSpPr/>
            <p:nvPr/>
          </p:nvSpPr>
          <p:spPr>
            <a:xfrm>
              <a:off x="10612685" y="2761582"/>
              <a:ext cx="0" cy="317215"/>
            </a:xfrm>
            <a:custGeom>
              <a:avLst/>
              <a:gdLst>
                <a:gd name="connsiteX0" fmla="*/ 0 w 5520"/>
                <a:gd name="connsiteY0" fmla="*/ 0 h 317215"/>
                <a:gd name="connsiteX1" fmla="*/ 0 w 5520"/>
                <a:gd name="connsiteY1" fmla="*/ 317215 h 317215"/>
              </a:gdLst>
              <a:ahLst/>
              <a:cxnLst>
                <a:cxn ang="0">
                  <a:pos x="connsiteX0" y="connsiteY0"/>
                </a:cxn>
                <a:cxn ang="0">
                  <a:pos x="connsiteX1" y="connsiteY1"/>
                </a:cxn>
              </a:cxnLst>
              <a:rect l="l" t="t" r="r" b="b"/>
              <a:pathLst>
                <a:path w="5520" h="317215">
                  <a:moveTo>
                    <a:pt x="0" y="0"/>
                  </a:moveTo>
                  <a:lnTo>
                    <a:pt x="0" y="317215"/>
                  </a:lnTo>
                </a:path>
              </a:pathLst>
            </a:custGeom>
            <a:ln w="15875" cap="flat">
              <a:solidFill>
                <a:srgbClr val="FFFFFF"/>
              </a:solidFill>
              <a:prstDash val="solid"/>
              <a:miter/>
            </a:ln>
          </p:spPr>
          <p:txBody>
            <a:bodyPr rtlCol="0" anchor="ctr"/>
            <a:lstStyle/>
            <a:p>
              <a:endParaRPr lang="sv-SE"/>
            </a:p>
          </p:txBody>
        </p:sp>
        <p:sp>
          <p:nvSpPr>
            <p:cNvPr id="84" name="Freeform 83">
              <a:extLst>
                <a:ext uri="{FF2B5EF4-FFF2-40B4-BE49-F238E27FC236}">
                  <a16:creationId xmlns:a16="http://schemas.microsoft.com/office/drawing/2014/main" id="{AAE42C4F-4813-E6CF-2F0B-37059D598F73}"/>
                </a:ext>
              </a:extLst>
            </p:cNvPr>
            <p:cNvSpPr/>
            <p:nvPr/>
          </p:nvSpPr>
          <p:spPr>
            <a:xfrm>
              <a:off x="10561371" y="2761582"/>
              <a:ext cx="102628" cy="55206"/>
            </a:xfrm>
            <a:custGeom>
              <a:avLst/>
              <a:gdLst>
                <a:gd name="connsiteX0" fmla="*/ 0 w 102628"/>
                <a:gd name="connsiteY0" fmla="*/ 55206 h 55206"/>
                <a:gd name="connsiteX1" fmla="*/ 51287 w 102628"/>
                <a:gd name="connsiteY1" fmla="*/ 0 h 55206"/>
                <a:gd name="connsiteX2" fmla="*/ 102628 w 102628"/>
                <a:gd name="connsiteY2" fmla="*/ 55206 h 55206"/>
              </a:gdLst>
              <a:ahLst/>
              <a:cxnLst>
                <a:cxn ang="0">
                  <a:pos x="connsiteX0" y="connsiteY0"/>
                </a:cxn>
                <a:cxn ang="0">
                  <a:pos x="connsiteX1" y="connsiteY1"/>
                </a:cxn>
                <a:cxn ang="0">
                  <a:pos x="connsiteX2" y="connsiteY2"/>
                </a:cxn>
              </a:cxnLst>
              <a:rect l="l" t="t" r="r" b="b"/>
              <a:pathLst>
                <a:path w="102628" h="55206">
                  <a:moveTo>
                    <a:pt x="0" y="55206"/>
                  </a:moveTo>
                  <a:lnTo>
                    <a:pt x="51287" y="0"/>
                  </a:lnTo>
                  <a:lnTo>
                    <a:pt x="102628" y="55206"/>
                  </a:lnTo>
                </a:path>
              </a:pathLst>
            </a:custGeom>
            <a:noFill/>
            <a:ln w="15875" cap="flat">
              <a:solidFill>
                <a:srgbClr val="FFFFFF"/>
              </a:solidFill>
              <a:prstDash val="solid"/>
              <a:miter/>
            </a:ln>
          </p:spPr>
          <p:txBody>
            <a:bodyPr rtlCol="0" anchor="ctr"/>
            <a:lstStyle/>
            <a:p>
              <a:endParaRPr lang="sv-SE"/>
            </a:p>
          </p:txBody>
        </p:sp>
      </p:grpSp>
      <p:grpSp>
        <p:nvGrpSpPr>
          <p:cNvPr id="370" name="Group 369">
            <a:extLst>
              <a:ext uri="{FF2B5EF4-FFF2-40B4-BE49-F238E27FC236}">
                <a16:creationId xmlns:a16="http://schemas.microsoft.com/office/drawing/2014/main" id="{C1FA55BD-6D9E-8813-4BF6-506B66F09511}"/>
              </a:ext>
            </a:extLst>
          </p:cNvPr>
          <p:cNvGrpSpPr/>
          <p:nvPr/>
        </p:nvGrpSpPr>
        <p:grpSpPr>
          <a:xfrm>
            <a:off x="7032406" y="2952419"/>
            <a:ext cx="172629" cy="244508"/>
            <a:chOff x="6958031" y="3096794"/>
            <a:chExt cx="172629" cy="244508"/>
          </a:xfrm>
        </p:grpSpPr>
        <p:sp>
          <p:nvSpPr>
            <p:cNvPr id="308" name="Freeform 307">
              <a:extLst>
                <a:ext uri="{FF2B5EF4-FFF2-40B4-BE49-F238E27FC236}">
                  <a16:creationId xmlns:a16="http://schemas.microsoft.com/office/drawing/2014/main" id="{1C24D673-A9EF-5BAC-1387-9CAD681FFCF7}"/>
                </a:ext>
              </a:extLst>
            </p:cNvPr>
            <p:cNvSpPr/>
            <p:nvPr/>
          </p:nvSpPr>
          <p:spPr>
            <a:xfrm>
              <a:off x="6961895" y="3096794"/>
              <a:ext cx="168765" cy="240091"/>
            </a:xfrm>
            <a:custGeom>
              <a:avLst/>
              <a:gdLst>
                <a:gd name="connsiteX0" fmla="*/ 168766 w 168765"/>
                <a:gd name="connsiteY0" fmla="*/ 0 h 240091"/>
                <a:gd name="connsiteX1" fmla="*/ 168766 w 168765"/>
                <a:gd name="connsiteY1" fmla="*/ 71326 h 240091"/>
                <a:gd name="connsiteX2" fmla="*/ 0 w 168765"/>
                <a:gd name="connsiteY2" fmla="*/ 240092 h 240091"/>
              </a:gdLst>
              <a:ahLst/>
              <a:cxnLst>
                <a:cxn ang="0">
                  <a:pos x="connsiteX0" y="connsiteY0"/>
                </a:cxn>
                <a:cxn ang="0">
                  <a:pos x="connsiteX1" y="connsiteY1"/>
                </a:cxn>
                <a:cxn ang="0">
                  <a:pos x="connsiteX2" y="connsiteY2"/>
                </a:cxn>
              </a:cxnLst>
              <a:rect l="l" t="t" r="r" b="b"/>
              <a:pathLst>
                <a:path w="168765" h="240091">
                  <a:moveTo>
                    <a:pt x="168766" y="0"/>
                  </a:moveTo>
                  <a:lnTo>
                    <a:pt x="168766" y="71326"/>
                  </a:lnTo>
                  <a:lnTo>
                    <a:pt x="0" y="240092"/>
                  </a:lnTo>
                </a:path>
              </a:pathLst>
            </a:custGeom>
            <a:noFill/>
            <a:ln w="15875" cap="flat">
              <a:solidFill>
                <a:srgbClr val="FFFFFF"/>
              </a:solidFill>
              <a:prstDash val="solid"/>
              <a:miter/>
            </a:ln>
          </p:spPr>
          <p:txBody>
            <a:bodyPr rtlCol="0" anchor="ctr"/>
            <a:lstStyle/>
            <a:p>
              <a:endParaRPr lang="sv-SE"/>
            </a:p>
          </p:txBody>
        </p:sp>
        <p:sp>
          <p:nvSpPr>
            <p:cNvPr id="309" name="Freeform 308">
              <a:extLst>
                <a:ext uri="{FF2B5EF4-FFF2-40B4-BE49-F238E27FC236}">
                  <a16:creationId xmlns:a16="http://schemas.microsoft.com/office/drawing/2014/main" id="{0890CB2B-5512-B5EB-FDCC-0281104E96B1}"/>
                </a:ext>
              </a:extLst>
            </p:cNvPr>
            <p:cNvSpPr/>
            <p:nvPr/>
          </p:nvSpPr>
          <p:spPr>
            <a:xfrm>
              <a:off x="6958031" y="3272460"/>
              <a:ext cx="68842" cy="68842"/>
            </a:xfrm>
            <a:custGeom>
              <a:avLst/>
              <a:gdLst>
                <a:gd name="connsiteX0" fmla="*/ 68842 w 68842"/>
                <a:gd name="connsiteY0" fmla="*/ 68842 h 68842"/>
                <a:gd name="connsiteX1" fmla="*/ 0 w 68842"/>
                <a:gd name="connsiteY1" fmla="*/ 68842 h 68842"/>
                <a:gd name="connsiteX2" fmla="*/ 0 w 68842"/>
                <a:gd name="connsiteY2" fmla="*/ 0 h 68842"/>
              </a:gdLst>
              <a:ahLst/>
              <a:cxnLst>
                <a:cxn ang="0">
                  <a:pos x="connsiteX0" y="connsiteY0"/>
                </a:cxn>
                <a:cxn ang="0">
                  <a:pos x="connsiteX1" y="connsiteY1"/>
                </a:cxn>
                <a:cxn ang="0">
                  <a:pos x="connsiteX2" y="connsiteY2"/>
                </a:cxn>
              </a:cxnLst>
              <a:rect l="l" t="t" r="r" b="b"/>
              <a:pathLst>
                <a:path w="68842" h="68842">
                  <a:moveTo>
                    <a:pt x="68842" y="68842"/>
                  </a:moveTo>
                  <a:lnTo>
                    <a:pt x="0" y="68842"/>
                  </a:lnTo>
                  <a:lnTo>
                    <a:pt x="0" y="0"/>
                  </a:lnTo>
                </a:path>
              </a:pathLst>
            </a:custGeom>
            <a:noFill/>
            <a:ln w="15875" cap="flat">
              <a:solidFill>
                <a:srgbClr val="FFFFFF"/>
              </a:solidFill>
              <a:prstDash val="solid"/>
              <a:miter/>
            </a:ln>
          </p:spPr>
          <p:txBody>
            <a:bodyPr rtlCol="0" anchor="ctr"/>
            <a:lstStyle/>
            <a:p>
              <a:endParaRPr lang="sv-SE"/>
            </a:p>
          </p:txBody>
        </p:sp>
      </p:grpSp>
      <p:grpSp>
        <p:nvGrpSpPr>
          <p:cNvPr id="371" name="Group 370">
            <a:extLst>
              <a:ext uri="{FF2B5EF4-FFF2-40B4-BE49-F238E27FC236}">
                <a16:creationId xmlns:a16="http://schemas.microsoft.com/office/drawing/2014/main" id="{ABF390D2-C658-9D7E-EB31-362352615EBF}"/>
              </a:ext>
            </a:extLst>
          </p:cNvPr>
          <p:cNvGrpSpPr/>
          <p:nvPr/>
        </p:nvGrpSpPr>
        <p:grpSpPr>
          <a:xfrm>
            <a:off x="2439988" y="4409599"/>
            <a:ext cx="80711" cy="346198"/>
            <a:chOff x="2649182" y="4409599"/>
            <a:chExt cx="80711" cy="346198"/>
          </a:xfrm>
        </p:grpSpPr>
        <p:sp>
          <p:nvSpPr>
            <p:cNvPr id="310" name="Freeform 309">
              <a:extLst>
                <a:ext uri="{FF2B5EF4-FFF2-40B4-BE49-F238E27FC236}">
                  <a16:creationId xmlns:a16="http://schemas.microsoft.com/office/drawing/2014/main" id="{2F1BB631-1FF8-10D7-05A1-5BA3587A24F5}"/>
                </a:ext>
              </a:extLst>
            </p:cNvPr>
            <p:cNvSpPr/>
            <p:nvPr/>
          </p:nvSpPr>
          <p:spPr>
            <a:xfrm>
              <a:off x="2689538" y="4409599"/>
              <a:ext cx="0" cy="345425"/>
            </a:xfrm>
            <a:custGeom>
              <a:avLst/>
              <a:gdLst>
                <a:gd name="connsiteX0" fmla="*/ 0 w 5520"/>
                <a:gd name="connsiteY0" fmla="*/ 345425 h 345425"/>
                <a:gd name="connsiteX1" fmla="*/ 0 w 5520"/>
                <a:gd name="connsiteY1" fmla="*/ 0 h 345425"/>
              </a:gdLst>
              <a:ahLst/>
              <a:cxnLst>
                <a:cxn ang="0">
                  <a:pos x="connsiteX0" y="connsiteY0"/>
                </a:cxn>
                <a:cxn ang="0">
                  <a:pos x="connsiteX1" y="connsiteY1"/>
                </a:cxn>
              </a:cxnLst>
              <a:rect l="l" t="t" r="r" b="b"/>
              <a:pathLst>
                <a:path w="5520" h="345425">
                  <a:moveTo>
                    <a:pt x="0" y="345425"/>
                  </a:moveTo>
                  <a:lnTo>
                    <a:pt x="0" y="0"/>
                  </a:lnTo>
                </a:path>
              </a:pathLst>
            </a:custGeom>
            <a:ln w="15875" cap="flat">
              <a:solidFill>
                <a:srgbClr val="FDAA48"/>
              </a:solidFill>
              <a:prstDash val="solid"/>
              <a:miter/>
            </a:ln>
          </p:spPr>
          <p:txBody>
            <a:bodyPr rtlCol="0" anchor="ctr"/>
            <a:lstStyle/>
            <a:p>
              <a:endParaRPr lang="sv-SE"/>
            </a:p>
          </p:txBody>
        </p:sp>
        <p:sp>
          <p:nvSpPr>
            <p:cNvPr id="311" name="Freeform 310">
              <a:extLst>
                <a:ext uri="{FF2B5EF4-FFF2-40B4-BE49-F238E27FC236}">
                  <a16:creationId xmlns:a16="http://schemas.microsoft.com/office/drawing/2014/main" id="{3B90EE64-C23B-4018-C4CB-1F16392DA528}"/>
                </a:ext>
              </a:extLst>
            </p:cNvPr>
            <p:cNvSpPr/>
            <p:nvPr/>
          </p:nvSpPr>
          <p:spPr>
            <a:xfrm>
              <a:off x="2649182" y="4712405"/>
              <a:ext cx="80711" cy="43392"/>
            </a:xfrm>
            <a:custGeom>
              <a:avLst/>
              <a:gdLst>
                <a:gd name="connsiteX0" fmla="*/ 80712 w 80711"/>
                <a:gd name="connsiteY0" fmla="*/ 0 h 43392"/>
                <a:gd name="connsiteX1" fmla="*/ 40356 w 80711"/>
                <a:gd name="connsiteY1" fmla="*/ 43392 h 43392"/>
                <a:gd name="connsiteX2" fmla="*/ 0 w 80711"/>
                <a:gd name="connsiteY2" fmla="*/ 0 h 43392"/>
              </a:gdLst>
              <a:ahLst/>
              <a:cxnLst>
                <a:cxn ang="0">
                  <a:pos x="connsiteX0" y="connsiteY0"/>
                </a:cxn>
                <a:cxn ang="0">
                  <a:pos x="connsiteX1" y="connsiteY1"/>
                </a:cxn>
                <a:cxn ang="0">
                  <a:pos x="connsiteX2" y="connsiteY2"/>
                </a:cxn>
              </a:cxnLst>
              <a:rect l="l" t="t" r="r" b="b"/>
              <a:pathLst>
                <a:path w="80711" h="43392">
                  <a:moveTo>
                    <a:pt x="80712" y="0"/>
                  </a:moveTo>
                  <a:lnTo>
                    <a:pt x="40356" y="43392"/>
                  </a:lnTo>
                  <a:lnTo>
                    <a:pt x="0" y="0"/>
                  </a:lnTo>
                </a:path>
              </a:pathLst>
            </a:custGeom>
            <a:noFill/>
            <a:ln w="15875" cap="flat">
              <a:solidFill>
                <a:srgbClr val="FDAA48"/>
              </a:solidFill>
              <a:prstDash val="solid"/>
              <a:miter/>
            </a:ln>
          </p:spPr>
          <p:txBody>
            <a:bodyPr rtlCol="0" anchor="ctr"/>
            <a:lstStyle/>
            <a:p>
              <a:endParaRPr lang="sv-SE"/>
            </a:p>
          </p:txBody>
        </p:sp>
      </p:grpSp>
      <p:grpSp>
        <p:nvGrpSpPr>
          <p:cNvPr id="369" name="Group 368">
            <a:extLst>
              <a:ext uri="{FF2B5EF4-FFF2-40B4-BE49-F238E27FC236}">
                <a16:creationId xmlns:a16="http://schemas.microsoft.com/office/drawing/2014/main" id="{E15E75C8-27DE-D1BD-014C-1D395EBA95D2}"/>
              </a:ext>
            </a:extLst>
          </p:cNvPr>
          <p:cNvGrpSpPr/>
          <p:nvPr/>
        </p:nvGrpSpPr>
        <p:grpSpPr>
          <a:xfrm>
            <a:off x="5903304" y="2725782"/>
            <a:ext cx="80711" cy="346199"/>
            <a:chOff x="5812501" y="2808617"/>
            <a:chExt cx="80711" cy="346199"/>
          </a:xfrm>
        </p:grpSpPr>
        <p:sp>
          <p:nvSpPr>
            <p:cNvPr id="312" name="Freeform 311">
              <a:extLst>
                <a:ext uri="{FF2B5EF4-FFF2-40B4-BE49-F238E27FC236}">
                  <a16:creationId xmlns:a16="http://schemas.microsoft.com/office/drawing/2014/main" id="{1192916E-8906-7DC4-1B4A-DFAC5211DC4C}"/>
                </a:ext>
              </a:extLst>
            </p:cNvPr>
            <p:cNvSpPr/>
            <p:nvPr/>
          </p:nvSpPr>
          <p:spPr>
            <a:xfrm>
              <a:off x="5852857" y="2808617"/>
              <a:ext cx="0" cy="345425"/>
            </a:xfrm>
            <a:custGeom>
              <a:avLst/>
              <a:gdLst>
                <a:gd name="connsiteX0" fmla="*/ 0 w 5520"/>
                <a:gd name="connsiteY0" fmla="*/ 345426 h 345425"/>
                <a:gd name="connsiteX1" fmla="*/ 0 w 5520"/>
                <a:gd name="connsiteY1" fmla="*/ 0 h 345425"/>
              </a:gdLst>
              <a:ahLst/>
              <a:cxnLst>
                <a:cxn ang="0">
                  <a:pos x="connsiteX0" y="connsiteY0"/>
                </a:cxn>
                <a:cxn ang="0">
                  <a:pos x="connsiteX1" y="connsiteY1"/>
                </a:cxn>
              </a:cxnLst>
              <a:rect l="l" t="t" r="r" b="b"/>
              <a:pathLst>
                <a:path w="5520" h="345425">
                  <a:moveTo>
                    <a:pt x="0" y="345426"/>
                  </a:moveTo>
                  <a:lnTo>
                    <a:pt x="0" y="0"/>
                  </a:lnTo>
                </a:path>
              </a:pathLst>
            </a:custGeom>
            <a:ln w="15875" cap="flat">
              <a:solidFill>
                <a:srgbClr val="FFFFFF"/>
              </a:solidFill>
              <a:prstDash val="solid"/>
              <a:miter/>
            </a:ln>
          </p:spPr>
          <p:txBody>
            <a:bodyPr rtlCol="0" anchor="ctr"/>
            <a:lstStyle/>
            <a:p>
              <a:endParaRPr lang="sv-SE"/>
            </a:p>
          </p:txBody>
        </p:sp>
        <p:sp>
          <p:nvSpPr>
            <p:cNvPr id="313" name="Freeform 312">
              <a:extLst>
                <a:ext uri="{FF2B5EF4-FFF2-40B4-BE49-F238E27FC236}">
                  <a16:creationId xmlns:a16="http://schemas.microsoft.com/office/drawing/2014/main" id="{1AF448D7-07EF-9CEA-C36B-481A99F8A60A}"/>
                </a:ext>
              </a:extLst>
            </p:cNvPr>
            <p:cNvSpPr/>
            <p:nvPr/>
          </p:nvSpPr>
          <p:spPr>
            <a:xfrm>
              <a:off x="5812501" y="3111424"/>
              <a:ext cx="80711" cy="43392"/>
            </a:xfrm>
            <a:custGeom>
              <a:avLst/>
              <a:gdLst>
                <a:gd name="connsiteX0" fmla="*/ 80712 w 80711"/>
                <a:gd name="connsiteY0" fmla="*/ 0 h 43392"/>
                <a:gd name="connsiteX1" fmla="*/ 40356 w 80711"/>
                <a:gd name="connsiteY1" fmla="*/ 43392 h 43392"/>
                <a:gd name="connsiteX2" fmla="*/ 0 w 80711"/>
                <a:gd name="connsiteY2" fmla="*/ 0 h 43392"/>
              </a:gdLst>
              <a:ahLst/>
              <a:cxnLst>
                <a:cxn ang="0">
                  <a:pos x="connsiteX0" y="connsiteY0"/>
                </a:cxn>
                <a:cxn ang="0">
                  <a:pos x="connsiteX1" y="connsiteY1"/>
                </a:cxn>
                <a:cxn ang="0">
                  <a:pos x="connsiteX2" y="connsiteY2"/>
                </a:cxn>
              </a:cxnLst>
              <a:rect l="l" t="t" r="r" b="b"/>
              <a:pathLst>
                <a:path w="80711" h="43392">
                  <a:moveTo>
                    <a:pt x="80712" y="0"/>
                  </a:moveTo>
                  <a:lnTo>
                    <a:pt x="40356" y="43392"/>
                  </a:lnTo>
                  <a:lnTo>
                    <a:pt x="0" y="0"/>
                  </a:lnTo>
                </a:path>
              </a:pathLst>
            </a:custGeom>
            <a:noFill/>
            <a:ln w="15875" cap="flat">
              <a:solidFill>
                <a:srgbClr val="FFFFFF"/>
              </a:solidFill>
              <a:prstDash val="solid"/>
              <a:miter/>
            </a:ln>
          </p:spPr>
          <p:txBody>
            <a:bodyPr rtlCol="0" anchor="ctr"/>
            <a:lstStyle/>
            <a:p>
              <a:endParaRPr lang="sv-SE"/>
            </a:p>
          </p:txBody>
        </p:sp>
      </p:grpSp>
      <p:grpSp>
        <p:nvGrpSpPr>
          <p:cNvPr id="368" name="Group 367">
            <a:extLst>
              <a:ext uri="{FF2B5EF4-FFF2-40B4-BE49-F238E27FC236}">
                <a16:creationId xmlns:a16="http://schemas.microsoft.com/office/drawing/2014/main" id="{8DD2471F-638E-5FCB-7E05-D66AA267F65B}"/>
              </a:ext>
            </a:extLst>
          </p:cNvPr>
          <p:cNvGrpSpPr/>
          <p:nvPr/>
        </p:nvGrpSpPr>
        <p:grpSpPr>
          <a:xfrm>
            <a:off x="4571685" y="3680821"/>
            <a:ext cx="346253" cy="80711"/>
            <a:chOff x="4571685" y="3680821"/>
            <a:chExt cx="346253" cy="80711"/>
          </a:xfrm>
        </p:grpSpPr>
        <p:sp>
          <p:nvSpPr>
            <p:cNvPr id="314" name="Freeform 313">
              <a:extLst>
                <a:ext uri="{FF2B5EF4-FFF2-40B4-BE49-F238E27FC236}">
                  <a16:creationId xmlns:a16="http://schemas.microsoft.com/office/drawing/2014/main" id="{D967B736-687A-298F-7F45-3B1A6B9871A3}"/>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DAA48"/>
              </a:solidFill>
              <a:prstDash val="solid"/>
              <a:miter/>
            </a:ln>
          </p:spPr>
          <p:txBody>
            <a:bodyPr rtlCol="0" anchor="ctr"/>
            <a:lstStyle/>
            <a:p>
              <a:endParaRPr lang="sv-SE"/>
            </a:p>
          </p:txBody>
        </p:sp>
        <p:sp>
          <p:nvSpPr>
            <p:cNvPr id="315" name="Freeform 314">
              <a:extLst>
                <a:ext uri="{FF2B5EF4-FFF2-40B4-BE49-F238E27FC236}">
                  <a16:creationId xmlns:a16="http://schemas.microsoft.com/office/drawing/2014/main" id="{31B314D0-F24A-639E-0EA3-A6E5A80FE2EB}"/>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DAA48"/>
              </a:solidFill>
              <a:prstDash val="solid"/>
              <a:miter/>
            </a:ln>
          </p:spPr>
          <p:txBody>
            <a:bodyPr rtlCol="0" anchor="ctr"/>
            <a:lstStyle/>
            <a:p>
              <a:endParaRPr lang="sv-SE"/>
            </a:p>
          </p:txBody>
        </p:sp>
      </p:grpSp>
      <p:sp>
        <p:nvSpPr>
          <p:cNvPr id="318" name="!!Line2" hidden="1">
            <a:extLst>
              <a:ext uri="{FF2B5EF4-FFF2-40B4-BE49-F238E27FC236}">
                <a16:creationId xmlns:a16="http://schemas.microsoft.com/office/drawing/2014/main" id="{91F1E24E-4E8A-4E63-9C53-28EAD5DD0877}"/>
              </a:ext>
            </a:extLst>
          </p:cNvPr>
          <p:cNvSpPr/>
          <p:nvPr/>
        </p:nvSpPr>
        <p:spPr>
          <a:xfrm>
            <a:off x="2883588" y="3919809"/>
            <a:ext cx="4312989" cy="1465229"/>
          </a:xfrm>
          <a:custGeom>
            <a:avLst/>
            <a:gdLst>
              <a:gd name="connsiteX0" fmla="*/ 4312989 w 4312989"/>
              <a:gd name="connsiteY0" fmla="*/ 0 h 1465229"/>
              <a:gd name="connsiteX1" fmla="*/ 102849 w 4312989"/>
              <a:gd name="connsiteY1" fmla="*/ 0 h 1465229"/>
              <a:gd name="connsiteX2" fmla="*/ 0 w 4312989"/>
              <a:gd name="connsiteY2" fmla="*/ 102794 h 1465229"/>
              <a:gd name="connsiteX3" fmla="*/ 0 w 4312989"/>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4312989" h="1465229">
                <a:moveTo>
                  <a:pt x="4312989" y="0"/>
                </a:moveTo>
                <a:lnTo>
                  <a:pt x="102849" y="0"/>
                </a:lnTo>
                <a:lnTo>
                  <a:pt x="0" y="102794"/>
                </a:lnTo>
                <a:lnTo>
                  <a:pt x="0" y="1465229"/>
                </a:lnTo>
              </a:path>
            </a:pathLst>
          </a:custGeom>
          <a:noFill/>
          <a:ln w="22066" cap="rnd">
            <a:solidFill>
              <a:srgbClr val="ED1C24"/>
            </a:solidFill>
            <a:prstDash val="solid"/>
            <a:miter/>
          </a:ln>
        </p:spPr>
        <p:txBody>
          <a:bodyPr rtlCol="0" anchor="ctr"/>
          <a:lstStyle/>
          <a:p>
            <a:endParaRPr lang="sv-SE"/>
          </a:p>
        </p:txBody>
      </p:sp>
      <p:sp>
        <p:nvSpPr>
          <p:cNvPr id="319" name="!!Line3" hidden="1">
            <a:extLst>
              <a:ext uri="{FF2B5EF4-FFF2-40B4-BE49-F238E27FC236}">
                <a16:creationId xmlns:a16="http://schemas.microsoft.com/office/drawing/2014/main" id="{890AA718-85BB-7398-6496-5F6D99BE0159}"/>
              </a:ext>
            </a:extLst>
          </p:cNvPr>
          <p:cNvSpPr/>
          <p:nvPr/>
        </p:nvSpPr>
        <p:spPr>
          <a:xfrm>
            <a:off x="2883588" y="3919809"/>
            <a:ext cx="6201043" cy="1465229"/>
          </a:xfrm>
          <a:custGeom>
            <a:avLst/>
            <a:gdLst>
              <a:gd name="connsiteX0" fmla="*/ 6201043 w 6201043"/>
              <a:gd name="connsiteY0" fmla="*/ 0 h 1465229"/>
              <a:gd name="connsiteX1" fmla="*/ 102849 w 6201043"/>
              <a:gd name="connsiteY1" fmla="*/ 0 h 1465229"/>
              <a:gd name="connsiteX2" fmla="*/ 0 w 6201043"/>
              <a:gd name="connsiteY2" fmla="*/ 102794 h 1465229"/>
              <a:gd name="connsiteX3" fmla="*/ 0 w 6201043"/>
              <a:gd name="connsiteY3" fmla="*/ 1465229 h 1465229"/>
            </a:gdLst>
            <a:ahLst/>
            <a:cxnLst>
              <a:cxn ang="0">
                <a:pos x="connsiteX0" y="connsiteY0"/>
              </a:cxn>
              <a:cxn ang="0">
                <a:pos x="connsiteX1" y="connsiteY1"/>
              </a:cxn>
              <a:cxn ang="0">
                <a:pos x="connsiteX2" y="connsiteY2"/>
              </a:cxn>
              <a:cxn ang="0">
                <a:pos x="connsiteX3" y="connsiteY3"/>
              </a:cxn>
            </a:cxnLst>
            <a:rect l="l" t="t" r="r" b="b"/>
            <a:pathLst>
              <a:path w="6201043" h="1465229">
                <a:moveTo>
                  <a:pt x="6201043" y="0"/>
                </a:moveTo>
                <a:lnTo>
                  <a:pt x="102849" y="0"/>
                </a:lnTo>
                <a:lnTo>
                  <a:pt x="0" y="102794"/>
                </a:lnTo>
                <a:lnTo>
                  <a:pt x="0" y="1465229"/>
                </a:lnTo>
              </a:path>
            </a:pathLst>
          </a:custGeom>
          <a:noFill/>
          <a:ln w="22066" cap="rnd">
            <a:solidFill>
              <a:srgbClr val="3DEA1F"/>
            </a:solidFill>
            <a:prstDash val="solid"/>
            <a:miter/>
          </a:ln>
        </p:spPr>
        <p:txBody>
          <a:bodyPr rtlCol="0" anchor="ctr"/>
          <a:lstStyle/>
          <a:p>
            <a:endParaRPr lang="sv-SE"/>
          </a:p>
        </p:txBody>
      </p:sp>
      <p:grpSp>
        <p:nvGrpSpPr>
          <p:cNvPr id="323" name="!!Grid">
            <a:extLst>
              <a:ext uri="{FF2B5EF4-FFF2-40B4-BE49-F238E27FC236}">
                <a16:creationId xmlns:a16="http://schemas.microsoft.com/office/drawing/2014/main" id="{65AFF44F-287A-E3A1-4378-E41A80F3C59C}"/>
              </a:ext>
            </a:extLst>
          </p:cNvPr>
          <p:cNvGrpSpPr/>
          <p:nvPr/>
        </p:nvGrpSpPr>
        <p:grpSpPr>
          <a:xfrm>
            <a:off x="4727239" y="2098424"/>
            <a:ext cx="554314" cy="656022"/>
            <a:chOff x="3914104" y="2396347"/>
            <a:chExt cx="657114" cy="777685"/>
          </a:xfrm>
        </p:grpSpPr>
        <p:sp>
          <p:nvSpPr>
            <p:cNvPr id="324" name="Freeform 323">
              <a:extLst>
                <a:ext uri="{FF2B5EF4-FFF2-40B4-BE49-F238E27FC236}">
                  <a16:creationId xmlns:a16="http://schemas.microsoft.com/office/drawing/2014/main" id="{63B21786-2C57-7514-80E5-2D2762A4F067}"/>
                </a:ext>
              </a:extLst>
            </p:cNvPr>
            <p:cNvSpPr/>
            <p:nvPr/>
          </p:nvSpPr>
          <p:spPr>
            <a:xfrm>
              <a:off x="3914104" y="2474150"/>
              <a:ext cx="657114" cy="84466"/>
            </a:xfrm>
            <a:custGeom>
              <a:avLst/>
              <a:gdLst>
                <a:gd name="connsiteX0" fmla="*/ 360171 w 700395"/>
                <a:gd name="connsiteY0" fmla="*/ 90029 h 90029"/>
                <a:gd name="connsiteX1" fmla="*/ 700395 w 700395"/>
                <a:gd name="connsiteY1" fmla="*/ 90029 h 90029"/>
                <a:gd name="connsiteX2" fmla="*/ 533345 w 700395"/>
                <a:gd name="connsiteY2" fmla="*/ 0 h 90029"/>
                <a:gd name="connsiteX3" fmla="*/ 360171 w 700395"/>
                <a:gd name="connsiteY3" fmla="*/ 0 h 90029"/>
                <a:gd name="connsiteX4" fmla="*/ 340224 w 700395"/>
                <a:gd name="connsiteY4" fmla="*/ 0 h 90029"/>
                <a:gd name="connsiteX5" fmla="*/ 167050 w 700395"/>
                <a:gd name="connsiteY5" fmla="*/ 0 h 90029"/>
                <a:gd name="connsiteX6" fmla="*/ 0 w 700395"/>
                <a:gd name="connsiteY6" fmla="*/ 90029 h 90029"/>
                <a:gd name="connsiteX7" fmla="*/ 340224 w 700395"/>
                <a:gd name="connsiteY7" fmla="*/ 90029 h 90029"/>
                <a:gd name="connsiteX8" fmla="*/ 360171 w 700395"/>
                <a:gd name="connsiteY8" fmla="*/ 90029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395" h="90029">
                  <a:moveTo>
                    <a:pt x="360171" y="90029"/>
                  </a:moveTo>
                  <a:lnTo>
                    <a:pt x="700395" y="90029"/>
                  </a:lnTo>
                  <a:lnTo>
                    <a:pt x="533345" y="0"/>
                  </a:lnTo>
                  <a:lnTo>
                    <a:pt x="360171" y="0"/>
                  </a:lnTo>
                  <a:lnTo>
                    <a:pt x="340224" y="0"/>
                  </a:lnTo>
                  <a:lnTo>
                    <a:pt x="167050" y="0"/>
                  </a:lnTo>
                  <a:lnTo>
                    <a:pt x="0" y="90029"/>
                  </a:lnTo>
                  <a:lnTo>
                    <a:pt x="340224" y="90029"/>
                  </a:lnTo>
                  <a:lnTo>
                    <a:pt x="360171" y="90029"/>
                  </a:lnTo>
                  <a:close/>
                </a:path>
              </a:pathLst>
            </a:custGeom>
            <a:noFill/>
            <a:ln w="9525" cap="rnd">
              <a:solidFill>
                <a:srgbClr val="FFFFFF"/>
              </a:solidFill>
              <a:prstDash val="solid"/>
              <a:bevel/>
            </a:ln>
          </p:spPr>
          <p:txBody>
            <a:bodyPr rtlCol="0" anchor="ctr"/>
            <a:lstStyle/>
            <a:p>
              <a:endParaRPr lang="sv-SE"/>
            </a:p>
          </p:txBody>
        </p:sp>
        <p:sp>
          <p:nvSpPr>
            <p:cNvPr id="325" name="Freeform 324">
              <a:extLst>
                <a:ext uri="{FF2B5EF4-FFF2-40B4-BE49-F238E27FC236}">
                  <a16:creationId xmlns:a16="http://schemas.microsoft.com/office/drawing/2014/main" id="{9329C5B4-3AA8-2477-80AC-17D613510711}"/>
                </a:ext>
              </a:extLst>
            </p:cNvPr>
            <p:cNvSpPr/>
            <p:nvPr/>
          </p:nvSpPr>
          <p:spPr>
            <a:xfrm>
              <a:off x="4071085" y="2474151"/>
              <a:ext cx="162473" cy="84466"/>
            </a:xfrm>
            <a:custGeom>
              <a:avLst/>
              <a:gdLst>
                <a:gd name="connsiteX0" fmla="*/ 0 w 173174"/>
                <a:gd name="connsiteY0" fmla="*/ 0 h 90029"/>
                <a:gd name="connsiteX1" fmla="*/ 173175 w 173174"/>
                <a:gd name="connsiteY1" fmla="*/ 90029 h 90029"/>
              </a:gdLst>
              <a:ahLst/>
              <a:cxnLst>
                <a:cxn ang="0">
                  <a:pos x="connsiteX0" y="connsiteY0"/>
                </a:cxn>
                <a:cxn ang="0">
                  <a:pos x="connsiteX1" y="connsiteY1"/>
                </a:cxn>
              </a:cxnLst>
              <a:rect l="l" t="t" r="r" b="b"/>
              <a:pathLst>
                <a:path w="173174" h="90029">
                  <a:moveTo>
                    <a:pt x="0" y="0"/>
                  </a:moveTo>
                  <a:lnTo>
                    <a:pt x="173175" y="90029"/>
                  </a:lnTo>
                </a:path>
              </a:pathLst>
            </a:custGeom>
            <a:ln w="9525" cap="rnd">
              <a:solidFill>
                <a:srgbClr val="FFFFFF"/>
              </a:solidFill>
              <a:prstDash val="solid"/>
              <a:bevel/>
            </a:ln>
          </p:spPr>
          <p:txBody>
            <a:bodyPr rtlCol="0" anchor="ctr"/>
            <a:lstStyle/>
            <a:p>
              <a:endParaRPr lang="sv-SE"/>
            </a:p>
          </p:txBody>
        </p:sp>
        <p:sp>
          <p:nvSpPr>
            <p:cNvPr id="326" name="Freeform 325">
              <a:extLst>
                <a:ext uri="{FF2B5EF4-FFF2-40B4-BE49-F238E27FC236}">
                  <a16:creationId xmlns:a16="http://schemas.microsoft.com/office/drawing/2014/main" id="{982FC775-42D6-808B-4554-4C347A522FD1}"/>
                </a:ext>
              </a:extLst>
            </p:cNvPr>
            <p:cNvSpPr/>
            <p:nvPr/>
          </p:nvSpPr>
          <p:spPr>
            <a:xfrm>
              <a:off x="4251764" y="2474151"/>
              <a:ext cx="162473" cy="84466"/>
            </a:xfrm>
            <a:custGeom>
              <a:avLst/>
              <a:gdLst>
                <a:gd name="connsiteX0" fmla="*/ 173175 w 173174"/>
                <a:gd name="connsiteY0" fmla="*/ 0 h 90029"/>
                <a:gd name="connsiteX1" fmla="*/ 0 w 173174"/>
                <a:gd name="connsiteY1" fmla="*/ 90029 h 90029"/>
              </a:gdLst>
              <a:ahLst/>
              <a:cxnLst>
                <a:cxn ang="0">
                  <a:pos x="connsiteX0" y="connsiteY0"/>
                </a:cxn>
                <a:cxn ang="0">
                  <a:pos x="connsiteX1" y="connsiteY1"/>
                </a:cxn>
              </a:cxnLst>
              <a:rect l="l" t="t" r="r" b="b"/>
              <a:pathLst>
                <a:path w="173174" h="90029">
                  <a:moveTo>
                    <a:pt x="173175" y="0"/>
                  </a:moveTo>
                  <a:lnTo>
                    <a:pt x="0" y="90029"/>
                  </a:lnTo>
                </a:path>
              </a:pathLst>
            </a:custGeom>
            <a:ln w="9525" cap="rnd">
              <a:solidFill>
                <a:srgbClr val="FFFFFF"/>
              </a:solidFill>
              <a:prstDash val="solid"/>
              <a:bevel/>
            </a:ln>
          </p:spPr>
          <p:txBody>
            <a:bodyPr rtlCol="0" anchor="ctr"/>
            <a:lstStyle/>
            <a:p>
              <a:endParaRPr lang="sv-SE"/>
            </a:p>
          </p:txBody>
        </p:sp>
        <p:sp>
          <p:nvSpPr>
            <p:cNvPr id="327" name="Freeform 326">
              <a:extLst>
                <a:ext uri="{FF2B5EF4-FFF2-40B4-BE49-F238E27FC236}">
                  <a16:creationId xmlns:a16="http://schemas.microsoft.com/office/drawing/2014/main" id="{F45B1FA4-80E7-3407-E47A-EA9FBC403A86}"/>
                </a:ext>
              </a:extLst>
            </p:cNvPr>
            <p:cNvSpPr/>
            <p:nvPr/>
          </p:nvSpPr>
          <p:spPr>
            <a:xfrm>
              <a:off x="4071949"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rgbClr val="FFFFFF"/>
              </a:solidFill>
              <a:prstDash val="solid"/>
              <a:bevel/>
            </a:ln>
          </p:spPr>
          <p:txBody>
            <a:bodyPr rtlCol="0" anchor="ctr"/>
            <a:lstStyle/>
            <a:p>
              <a:endParaRPr lang="sv-SE"/>
            </a:p>
          </p:txBody>
        </p:sp>
        <p:sp>
          <p:nvSpPr>
            <p:cNvPr id="328" name="Freeform 327">
              <a:extLst>
                <a:ext uri="{FF2B5EF4-FFF2-40B4-BE49-F238E27FC236}">
                  <a16:creationId xmlns:a16="http://schemas.microsoft.com/office/drawing/2014/main" id="{177ED948-B28A-6952-0256-ABDA8392D10A}"/>
                </a:ext>
              </a:extLst>
            </p:cNvPr>
            <p:cNvSpPr/>
            <p:nvPr/>
          </p:nvSpPr>
          <p:spPr>
            <a:xfrm>
              <a:off x="4413372" y="2396347"/>
              <a:ext cx="0" cy="162269"/>
            </a:xfrm>
            <a:custGeom>
              <a:avLst/>
              <a:gdLst>
                <a:gd name="connsiteX0" fmla="*/ 0 w 5420"/>
                <a:gd name="connsiteY0" fmla="*/ 172958 h 172957"/>
                <a:gd name="connsiteX1" fmla="*/ 0 w 5420"/>
                <a:gd name="connsiteY1" fmla="*/ 0 h 172957"/>
              </a:gdLst>
              <a:ahLst/>
              <a:cxnLst>
                <a:cxn ang="0">
                  <a:pos x="connsiteX0" y="connsiteY0"/>
                </a:cxn>
                <a:cxn ang="0">
                  <a:pos x="connsiteX1" y="connsiteY1"/>
                </a:cxn>
              </a:cxnLst>
              <a:rect l="l" t="t" r="r" b="b"/>
              <a:pathLst>
                <a:path w="5420" h="172957">
                  <a:moveTo>
                    <a:pt x="0" y="172958"/>
                  </a:moveTo>
                  <a:lnTo>
                    <a:pt x="0" y="0"/>
                  </a:lnTo>
                </a:path>
              </a:pathLst>
            </a:custGeom>
            <a:ln w="9525" cap="rnd">
              <a:solidFill>
                <a:srgbClr val="FFFFFF"/>
              </a:solidFill>
              <a:prstDash val="solid"/>
              <a:bevel/>
            </a:ln>
          </p:spPr>
          <p:txBody>
            <a:bodyPr rtlCol="0" anchor="ctr"/>
            <a:lstStyle/>
            <a:p>
              <a:endParaRPr lang="sv-SE"/>
            </a:p>
          </p:txBody>
        </p:sp>
        <p:sp>
          <p:nvSpPr>
            <p:cNvPr id="329" name="Freeform 328">
              <a:extLst>
                <a:ext uri="{FF2B5EF4-FFF2-40B4-BE49-F238E27FC236}">
                  <a16:creationId xmlns:a16="http://schemas.microsoft.com/office/drawing/2014/main" id="{93A59C69-ABB2-D133-BC17-9B588E745F43}"/>
                </a:ext>
              </a:extLst>
            </p:cNvPr>
            <p:cNvSpPr/>
            <p:nvPr/>
          </p:nvSpPr>
          <p:spPr>
            <a:xfrm>
              <a:off x="4158959"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rgbClr val="FFFFFF"/>
              </a:solidFill>
              <a:prstDash val="solid"/>
              <a:bevel/>
            </a:ln>
          </p:spPr>
          <p:txBody>
            <a:bodyPr rtlCol="0" anchor="ctr"/>
            <a:lstStyle/>
            <a:p>
              <a:endParaRPr lang="sv-SE"/>
            </a:p>
          </p:txBody>
        </p:sp>
        <p:sp>
          <p:nvSpPr>
            <p:cNvPr id="330" name="Freeform 329">
              <a:extLst>
                <a:ext uri="{FF2B5EF4-FFF2-40B4-BE49-F238E27FC236}">
                  <a16:creationId xmlns:a16="http://schemas.microsoft.com/office/drawing/2014/main" id="{11C5E7AC-CD0B-D6A0-5D59-3DC28366FEF2}"/>
                </a:ext>
              </a:extLst>
            </p:cNvPr>
            <p:cNvSpPr/>
            <p:nvPr/>
          </p:nvSpPr>
          <p:spPr>
            <a:xfrm>
              <a:off x="4326364" y="2474151"/>
              <a:ext cx="0" cy="84313"/>
            </a:xfrm>
            <a:custGeom>
              <a:avLst/>
              <a:gdLst>
                <a:gd name="connsiteX0" fmla="*/ 0 w 5420"/>
                <a:gd name="connsiteY0" fmla="*/ 0 h 89866"/>
                <a:gd name="connsiteX1" fmla="*/ 0 w 5420"/>
                <a:gd name="connsiteY1" fmla="*/ 89867 h 89866"/>
              </a:gdLst>
              <a:ahLst/>
              <a:cxnLst>
                <a:cxn ang="0">
                  <a:pos x="connsiteX0" y="connsiteY0"/>
                </a:cxn>
                <a:cxn ang="0">
                  <a:pos x="connsiteX1" y="connsiteY1"/>
                </a:cxn>
              </a:cxnLst>
              <a:rect l="l" t="t" r="r" b="b"/>
              <a:pathLst>
                <a:path w="5420" h="89866">
                  <a:moveTo>
                    <a:pt x="0" y="0"/>
                  </a:moveTo>
                  <a:lnTo>
                    <a:pt x="0" y="89867"/>
                  </a:lnTo>
                </a:path>
              </a:pathLst>
            </a:custGeom>
            <a:ln w="9525" cap="rnd">
              <a:solidFill>
                <a:srgbClr val="FFFFFF"/>
              </a:solidFill>
              <a:prstDash val="solid"/>
              <a:bevel/>
            </a:ln>
          </p:spPr>
          <p:txBody>
            <a:bodyPr rtlCol="0" anchor="ctr"/>
            <a:lstStyle/>
            <a:p>
              <a:endParaRPr lang="sv-SE"/>
            </a:p>
          </p:txBody>
        </p:sp>
        <p:sp>
          <p:nvSpPr>
            <p:cNvPr id="331" name="Freeform 330">
              <a:extLst>
                <a:ext uri="{FF2B5EF4-FFF2-40B4-BE49-F238E27FC236}">
                  <a16:creationId xmlns:a16="http://schemas.microsoft.com/office/drawing/2014/main" id="{6817B2E9-343A-3F96-0D56-305735221769}"/>
                </a:ext>
              </a:extLst>
            </p:cNvPr>
            <p:cNvSpPr/>
            <p:nvPr/>
          </p:nvSpPr>
          <p:spPr>
            <a:xfrm>
              <a:off x="424266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rgbClr val="FFFFFF"/>
              </a:solidFill>
              <a:prstDash val="solid"/>
              <a:bevel/>
            </a:ln>
          </p:spPr>
          <p:txBody>
            <a:bodyPr rtlCol="0" anchor="ctr"/>
            <a:lstStyle/>
            <a:p>
              <a:endParaRPr lang="sv-SE"/>
            </a:p>
          </p:txBody>
        </p:sp>
        <p:sp>
          <p:nvSpPr>
            <p:cNvPr id="332" name="Freeform 331">
              <a:extLst>
                <a:ext uri="{FF2B5EF4-FFF2-40B4-BE49-F238E27FC236}">
                  <a16:creationId xmlns:a16="http://schemas.microsoft.com/office/drawing/2014/main" id="{8505E35E-722D-97B1-32C4-B78E34982514}"/>
                </a:ext>
              </a:extLst>
            </p:cNvPr>
            <p:cNvSpPr/>
            <p:nvPr/>
          </p:nvSpPr>
          <p:spPr>
            <a:xfrm>
              <a:off x="4225066" y="2660100"/>
              <a:ext cx="35189" cy="0"/>
            </a:xfrm>
            <a:custGeom>
              <a:avLst/>
              <a:gdLst>
                <a:gd name="connsiteX0" fmla="*/ 0 w 37507"/>
                <a:gd name="connsiteY0" fmla="*/ 0 h 5420"/>
                <a:gd name="connsiteX1" fmla="*/ 37508 w 37507"/>
                <a:gd name="connsiteY1" fmla="*/ 0 h 5420"/>
              </a:gdLst>
              <a:ahLst/>
              <a:cxnLst>
                <a:cxn ang="0">
                  <a:pos x="connsiteX0" y="connsiteY0"/>
                </a:cxn>
                <a:cxn ang="0">
                  <a:pos x="connsiteX1" y="connsiteY1"/>
                </a:cxn>
              </a:cxnLst>
              <a:rect l="l" t="t" r="r" b="b"/>
              <a:pathLst>
                <a:path w="37507" h="5420">
                  <a:moveTo>
                    <a:pt x="0" y="0"/>
                  </a:moveTo>
                  <a:lnTo>
                    <a:pt x="37508" y="0"/>
                  </a:lnTo>
                </a:path>
              </a:pathLst>
            </a:custGeom>
            <a:ln w="9525" cap="rnd">
              <a:solidFill>
                <a:srgbClr val="FFFFFF"/>
              </a:solidFill>
              <a:prstDash val="solid"/>
              <a:bevel/>
            </a:ln>
          </p:spPr>
          <p:txBody>
            <a:bodyPr rtlCol="0" anchor="ctr"/>
            <a:lstStyle/>
            <a:p>
              <a:endParaRPr lang="sv-SE"/>
            </a:p>
          </p:txBody>
        </p:sp>
        <p:sp>
          <p:nvSpPr>
            <p:cNvPr id="333" name="Freeform 332">
              <a:extLst>
                <a:ext uri="{FF2B5EF4-FFF2-40B4-BE49-F238E27FC236}">
                  <a16:creationId xmlns:a16="http://schemas.microsoft.com/office/drawing/2014/main" id="{4990172F-7402-D3BA-AE54-60F51A3E01FE}"/>
                </a:ext>
              </a:extLst>
            </p:cNvPr>
            <p:cNvSpPr/>
            <p:nvPr/>
          </p:nvSpPr>
          <p:spPr>
            <a:xfrm>
              <a:off x="4234423" y="2640896"/>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4" name="Freeform 333">
              <a:extLst>
                <a:ext uri="{FF2B5EF4-FFF2-40B4-BE49-F238E27FC236}">
                  <a16:creationId xmlns:a16="http://schemas.microsoft.com/office/drawing/2014/main" id="{DECC1D67-ADCE-5C26-D210-E86AAF1CDAE3}"/>
                </a:ext>
              </a:extLst>
            </p:cNvPr>
            <p:cNvSpPr/>
            <p:nvPr/>
          </p:nvSpPr>
          <p:spPr>
            <a:xfrm>
              <a:off x="4234423" y="2624725"/>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5" name="Freeform 334">
              <a:extLst>
                <a:ext uri="{FF2B5EF4-FFF2-40B4-BE49-F238E27FC236}">
                  <a16:creationId xmlns:a16="http://schemas.microsoft.com/office/drawing/2014/main" id="{3DDD44D2-F953-3ED6-8061-2F58407E63C4}"/>
                </a:ext>
              </a:extLst>
            </p:cNvPr>
            <p:cNvSpPr/>
            <p:nvPr/>
          </p:nvSpPr>
          <p:spPr>
            <a:xfrm>
              <a:off x="4234423" y="2608554"/>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6" name="Freeform 335">
              <a:extLst>
                <a:ext uri="{FF2B5EF4-FFF2-40B4-BE49-F238E27FC236}">
                  <a16:creationId xmlns:a16="http://schemas.microsoft.com/office/drawing/2014/main" id="{5596C945-3621-664F-A074-B80E0D988F43}"/>
                </a:ext>
              </a:extLst>
            </p:cNvPr>
            <p:cNvSpPr/>
            <p:nvPr/>
          </p:nvSpPr>
          <p:spPr>
            <a:xfrm>
              <a:off x="4234423" y="2592383"/>
              <a:ext cx="16476" cy="0"/>
            </a:xfrm>
            <a:custGeom>
              <a:avLst/>
              <a:gdLst>
                <a:gd name="connsiteX0" fmla="*/ 0 w 17561"/>
                <a:gd name="connsiteY0" fmla="*/ 0 h 5420"/>
                <a:gd name="connsiteX1" fmla="*/ 17561 w 17561"/>
                <a:gd name="connsiteY1" fmla="*/ 0 h 5420"/>
              </a:gdLst>
              <a:ahLst/>
              <a:cxnLst>
                <a:cxn ang="0">
                  <a:pos x="connsiteX0" y="connsiteY0"/>
                </a:cxn>
                <a:cxn ang="0">
                  <a:pos x="connsiteX1" y="connsiteY1"/>
                </a:cxn>
              </a:cxnLst>
              <a:rect l="l" t="t" r="r" b="b"/>
              <a:pathLst>
                <a:path w="17561" h="5420">
                  <a:moveTo>
                    <a:pt x="0" y="0"/>
                  </a:moveTo>
                  <a:lnTo>
                    <a:pt x="17561" y="0"/>
                  </a:lnTo>
                </a:path>
              </a:pathLst>
            </a:custGeom>
            <a:ln w="9525" cap="rnd">
              <a:solidFill>
                <a:srgbClr val="FFFFFF"/>
              </a:solidFill>
              <a:prstDash val="solid"/>
              <a:bevel/>
            </a:ln>
          </p:spPr>
          <p:txBody>
            <a:bodyPr rtlCol="0" anchor="ctr"/>
            <a:lstStyle/>
            <a:p>
              <a:endParaRPr lang="sv-SE"/>
            </a:p>
          </p:txBody>
        </p:sp>
        <p:sp>
          <p:nvSpPr>
            <p:cNvPr id="337" name="Freeform 336">
              <a:extLst>
                <a:ext uri="{FF2B5EF4-FFF2-40B4-BE49-F238E27FC236}">
                  <a16:creationId xmlns:a16="http://schemas.microsoft.com/office/drawing/2014/main" id="{4975CD5C-09F6-37F6-4E68-BAC1AD27299F}"/>
                </a:ext>
              </a:extLst>
            </p:cNvPr>
            <p:cNvSpPr/>
            <p:nvPr/>
          </p:nvSpPr>
          <p:spPr>
            <a:xfrm>
              <a:off x="4551691" y="2560295"/>
              <a:ext cx="0" cy="97992"/>
            </a:xfrm>
            <a:custGeom>
              <a:avLst/>
              <a:gdLst>
                <a:gd name="connsiteX0" fmla="*/ 0 w 5420"/>
                <a:gd name="connsiteY0" fmla="*/ 0 h 104446"/>
                <a:gd name="connsiteX1" fmla="*/ 0 w 5420"/>
                <a:gd name="connsiteY1" fmla="*/ 104447 h 104446"/>
              </a:gdLst>
              <a:ahLst/>
              <a:cxnLst>
                <a:cxn ang="0">
                  <a:pos x="connsiteX0" y="connsiteY0"/>
                </a:cxn>
                <a:cxn ang="0">
                  <a:pos x="connsiteX1" y="connsiteY1"/>
                </a:cxn>
              </a:cxnLst>
              <a:rect l="l" t="t" r="r" b="b"/>
              <a:pathLst>
                <a:path w="5420" h="104446">
                  <a:moveTo>
                    <a:pt x="0" y="0"/>
                  </a:moveTo>
                  <a:lnTo>
                    <a:pt x="0" y="104447"/>
                  </a:lnTo>
                </a:path>
              </a:pathLst>
            </a:custGeom>
            <a:ln w="9525" cap="sq">
              <a:solidFill>
                <a:srgbClr val="FFFFFF"/>
              </a:solidFill>
              <a:prstDash val="solid"/>
              <a:bevel/>
            </a:ln>
          </p:spPr>
          <p:txBody>
            <a:bodyPr rtlCol="0" anchor="ctr"/>
            <a:lstStyle/>
            <a:p>
              <a:endParaRPr lang="sv-SE"/>
            </a:p>
          </p:txBody>
        </p:sp>
        <p:sp>
          <p:nvSpPr>
            <p:cNvPr id="338" name="Freeform 337">
              <a:extLst>
                <a:ext uri="{FF2B5EF4-FFF2-40B4-BE49-F238E27FC236}">
                  <a16:creationId xmlns:a16="http://schemas.microsoft.com/office/drawing/2014/main" id="{0A6A7AC9-E087-6B50-2527-B1DA2DC3B50F}"/>
                </a:ext>
              </a:extLst>
            </p:cNvPr>
            <p:cNvSpPr/>
            <p:nvPr/>
          </p:nvSpPr>
          <p:spPr>
            <a:xfrm>
              <a:off x="4534045"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rgbClr val="FFFFFF"/>
              </a:solidFill>
              <a:prstDash val="solid"/>
              <a:bevel/>
            </a:ln>
          </p:spPr>
          <p:txBody>
            <a:bodyPr rtlCol="0" anchor="ctr"/>
            <a:lstStyle/>
            <a:p>
              <a:endParaRPr lang="sv-SE"/>
            </a:p>
          </p:txBody>
        </p:sp>
        <p:sp>
          <p:nvSpPr>
            <p:cNvPr id="339" name="Freeform 338">
              <a:extLst>
                <a:ext uri="{FF2B5EF4-FFF2-40B4-BE49-F238E27FC236}">
                  <a16:creationId xmlns:a16="http://schemas.microsoft.com/office/drawing/2014/main" id="{317D60CE-B152-0E92-1A60-909AD69B0488}"/>
                </a:ext>
              </a:extLst>
            </p:cNvPr>
            <p:cNvSpPr/>
            <p:nvPr/>
          </p:nvSpPr>
          <p:spPr>
            <a:xfrm>
              <a:off x="4543402"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0" name="Freeform 339">
              <a:extLst>
                <a:ext uri="{FF2B5EF4-FFF2-40B4-BE49-F238E27FC236}">
                  <a16:creationId xmlns:a16="http://schemas.microsoft.com/office/drawing/2014/main" id="{0FA105AE-93F0-1F3D-3B2E-B5079D0C567B}"/>
                </a:ext>
              </a:extLst>
            </p:cNvPr>
            <p:cNvSpPr/>
            <p:nvPr/>
          </p:nvSpPr>
          <p:spPr>
            <a:xfrm>
              <a:off x="4543402"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1" name="Freeform 340">
              <a:extLst>
                <a:ext uri="{FF2B5EF4-FFF2-40B4-BE49-F238E27FC236}">
                  <a16:creationId xmlns:a16="http://schemas.microsoft.com/office/drawing/2014/main" id="{62FBD4F8-1BC8-7A51-3704-2063895C2412}"/>
                </a:ext>
              </a:extLst>
            </p:cNvPr>
            <p:cNvSpPr/>
            <p:nvPr/>
          </p:nvSpPr>
          <p:spPr>
            <a:xfrm>
              <a:off x="4543402"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2" name="Freeform 341">
              <a:extLst>
                <a:ext uri="{FF2B5EF4-FFF2-40B4-BE49-F238E27FC236}">
                  <a16:creationId xmlns:a16="http://schemas.microsoft.com/office/drawing/2014/main" id="{F2E9868F-C7F8-DEE1-D790-37954665D6E7}"/>
                </a:ext>
              </a:extLst>
            </p:cNvPr>
            <p:cNvSpPr/>
            <p:nvPr/>
          </p:nvSpPr>
          <p:spPr>
            <a:xfrm>
              <a:off x="4543402"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3" name="Freeform 342">
              <a:extLst>
                <a:ext uri="{FF2B5EF4-FFF2-40B4-BE49-F238E27FC236}">
                  <a16:creationId xmlns:a16="http://schemas.microsoft.com/office/drawing/2014/main" id="{3385EFE0-99D0-79C0-7E1C-70D2528781D6}"/>
                </a:ext>
              </a:extLst>
            </p:cNvPr>
            <p:cNvSpPr/>
            <p:nvPr/>
          </p:nvSpPr>
          <p:spPr>
            <a:xfrm>
              <a:off x="3933631" y="2559583"/>
              <a:ext cx="0" cy="98704"/>
            </a:xfrm>
            <a:custGeom>
              <a:avLst/>
              <a:gdLst>
                <a:gd name="connsiteX0" fmla="*/ 0 w 5420"/>
                <a:gd name="connsiteY0" fmla="*/ 0 h 105205"/>
                <a:gd name="connsiteX1" fmla="*/ 0 w 5420"/>
                <a:gd name="connsiteY1" fmla="*/ 105206 h 105205"/>
              </a:gdLst>
              <a:ahLst/>
              <a:cxnLst>
                <a:cxn ang="0">
                  <a:pos x="connsiteX0" y="connsiteY0"/>
                </a:cxn>
                <a:cxn ang="0">
                  <a:pos x="connsiteX1" y="connsiteY1"/>
                </a:cxn>
              </a:cxnLst>
              <a:rect l="l" t="t" r="r" b="b"/>
              <a:pathLst>
                <a:path w="5420" h="105205">
                  <a:moveTo>
                    <a:pt x="0" y="0"/>
                  </a:moveTo>
                  <a:lnTo>
                    <a:pt x="0" y="105206"/>
                  </a:lnTo>
                </a:path>
              </a:pathLst>
            </a:custGeom>
            <a:ln w="9525" cap="sq">
              <a:solidFill>
                <a:srgbClr val="FFFFFF"/>
              </a:solidFill>
              <a:prstDash val="solid"/>
              <a:bevel/>
            </a:ln>
          </p:spPr>
          <p:txBody>
            <a:bodyPr rtlCol="0" anchor="ctr"/>
            <a:lstStyle/>
            <a:p>
              <a:endParaRPr lang="sv-SE"/>
            </a:p>
          </p:txBody>
        </p:sp>
        <p:sp>
          <p:nvSpPr>
            <p:cNvPr id="344" name="Freeform 343">
              <a:extLst>
                <a:ext uri="{FF2B5EF4-FFF2-40B4-BE49-F238E27FC236}">
                  <a16:creationId xmlns:a16="http://schemas.microsoft.com/office/drawing/2014/main" id="{79DA6E26-D184-306C-2EB3-0D02A661D0C4}"/>
                </a:ext>
              </a:extLst>
            </p:cNvPr>
            <p:cNvSpPr/>
            <p:nvPr/>
          </p:nvSpPr>
          <p:spPr>
            <a:xfrm>
              <a:off x="3916037" y="2660100"/>
              <a:ext cx="35240" cy="0"/>
            </a:xfrm>
            <a:custGeom>
              <a:avLst/>
              <a:gdLst>
                <a:gd name="connsiteX0" fmla="*/ 0 w 37561"/>
                <a:gd name="connsiteY0" fmla="*/ 0 h 5420"/>
                <a:gd name="connsiteX1" fmla="*/ 37562 w 37561"/>
                <a:gd name="connsiteY1" fmla="*/ 0 h 5420"/>
              </a:gdLst>
              <a:ahLst/>
              <a:cxnLst>
                <a:cxn ang="0">
                  <a:pos x="connsiteX0" y="connsiteY0"/>
                </a:cxn>
                <a:cxn ang="0">
                  <a:pos x="connsiteX1" y="connsiteY1"/>
                </a:cxn>
              </a:cxnLst>
              <a:rect l="l" t="t" r="r" b="b"/>
              <a:pathLst>
                <a:path w="37561" h="5420">
                  <a:moveTo>
                    <a:pt x="0" y="0"/>
                  </a:moveTo>
                  <a:lnTo>
                    <a:pt x="37562" y="0"/>
                  </a:lnTo>
                </a:path>
              </a:pathLst>
            </a:custGeom>
            <a:ln w="9525" cap="rnd">
              <a:solidFill>
                <a:srgbClr val="FFFFFF"/>
              </a:solidFill>
              <a:prstDash val="solid"/>
              <a:bevel/>
            </a:ln>
          </p:spPr>
          <p:txBody>
            <a:bodyPr rtlCol="0" anchor="ctr"/>
            <a:lstStyle/>
            <a:p>
              <a:endParaRPr lang="sv-SE"/>
            </a:p>
          </p:txBody>
        </p:sp>
        <p:sp>
          <p:nvSpPr>
            <p:cNvPr id="345" name="Freeform 344">
              <a:extLst>
                <a:ext uri="{FF2B5EF4-FFF2-40B4-BE49-F238E27FC236}">
                  <a16:creationId xmlns:a16="http://schemas.microsoft.com/office/drawing/2014/main" id="{B6FB4EDE-2307-B033-CFA8-C04ECCB7970C}"/>
                </a:ext>
              </a:extLst>
            </p:cNvPr>
            <p:cNvSpPr/>
            <p:nvPr/>
          </p:nvSpPr>
          <p:spPr>
            <a:xfrm>
              <a:off x="3925393" y="2640896"/>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6" name="Freeform 345">
              <a:extLst>
                <a:ext uri="{FF2B5EF4-FFF2-40B4-BE49-F238E27FC236}">
                  <a16:creationId xmlns:a16="http://schemas.microsoft.com/office/drawing/2014/main" id="{E5499994-C5E8-9B0F-2E37-766BA4E0B9D6}"/>
                </a:ext>
              </a:extLst>
            </p:cNvPr>
            <p:cNvSpPr/>
            <p:nvPr/>
          </p:nvSpPr>
          <p:spPr>
            <a:xfrm>
              <a:off x="3925393" y="2624725"/>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7" name="Freeform 346">
              <a:extLst>
                <a:ext uri="{FF2B5EF4-FFF2-40B4-BE49-F238E27FC236}">
                  <a16:creationId xmlns:a16="http://schemas.microsoft.com/office/drawing/2014/main" id="{48861212-E104-8E41-B277-8C718AF97A9A}"/>
                </a:ext>
              </a:extLst>
            </p:cNvPr>
            <p:cNvSpPr/>
            <p:nvPr/>
          </p:nvSpPr>
          <p:spPr>
            <a:xfrm>
              <a:off x="3925393" y="2608554"/>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8" name="Freeform 347">
              <a:extLst>
                <a:ext uri="{FF2B5EF4-FFF2-40B4-BE49-F238E27FC236}">
                  <a16:creationId xmlns:a16="http://schemas.microsoft.com/office/drawing/2014/main" id="{5B2DFCA7-36C3-186A-D104-9D0A8AB0CB00}"/>
                </a:ext>
              </a:extLst>
            </p:cNvPr>
            <p:cNvSpPr/>
            <p:nvPr/>
          </p:nvSpPr>
          <p:spPr>
            <a:xfrm>
              <a:off x="3925393" y="2592383"/>
              <a:ext cx="16526" cy="0"/>
            </a:xfrm>
            <a:custGeom>
              <a:avLst/>
              <a:gdLst>
                <a:gd name="connsiteX0" fmla="*/ 0 w 17615"/>
                <a:gd name="connsiteY0" fmla="*/ 0 h 5420"/>
                <a:gd name="connsiteX1" fmla="*/ 17616 w 17615"/>
                <a:gd name="connsiteY1" fmla="*/ 0 h 5420"/>
              </a:gdLst>
              <a:ahLst/>
              <a:cxnLst>
                <a:cxn ang="0">
                  <a:pos x="connsiteX0" y="connsiteY0"/>
                </a:cxn>
                <a:cxn ang="0">
                  <a:pos x="connsiteX1" y="connsiteY1"/>
                </a:cxn>
              </a:cxnLst>
              <a:rect l="l" t="t" r="r" b="b"/>
              <a:pathLst>
                <a:path w="17615" h="5420">
                  <a:moveTo>
                    <a:pt x="0" y="0"/>
                  </a:moveTo>
                  <a:lnTo>
                    <a:pt x="17616" y="0"/>
                  </a:lnTo>
                </a:path>
              </a:pathLst>
            </a:custGeom>
            <a:ln w="9525" cap="rnd">
              <a:solidFill>
                <a:srgbClr val="FFFFFF"/>
              </a:solidFill>
              <a:prstDash val="solid"/>
              <a:bevel/>
            </a:ln>
          </p:spPr>
          <p:txBody>
            <a:bodyPr rtlCol="0" anchor="ctr"/>
            <a:lstStyle/>
            <a:p>
              <a:endParaRPr lang="sv-SE"/>
            </a:p>
          </p:txBody>
        </p:sp>
        <p:sp>
          <p:nvSpPr>
            <p:cNvPr id="349" name="Freeform 348">
              <a:extLst>
                <a:ext uri="{FF2B5EF4-FFF2-40B4-BE49-F238E27FC236}">
                  <a16:creationId xmlns:a16="http://schemas.microsoft.com/office/drawing/2014/main" id="{072E5406-2964-0BEB-70F3-F20578F83BAB}"/>
                </a:ext>
              </a:extLst>
            </p:cNvPr>
            <p:cNvSpPr/>
            <p:nvPr/>
          </p:nvSpPr>
          <p:spPr>
            <a:xfrm>
              <a:off x="3995874" y="2558463"/>
              <a:ext cx="151184" cy="610636"/>
            </a:xfrm>
            <a:custGeom>
              <a:avLst/>
              <a:gdLst>
                <a:gd name="connsiteX0" fmla="*/ 0 w 161142"/>
                <a:gd name="connsiteY0" fmla="*/ 652210 h 652210"/>
                <a:gd name="connsiteX1" fmla="*/ 29107 w 161142"/>
                <a:gd name="connsiteY1" fmla="*/ 0 h 652210"/>
                <a:gd name="connsiteX2" fmla="*/ 136860 w 161142"/>
                <a:gd name="connsiteY2" fmla="*/ 107699 h 652210"/>
                <a:gd name="connsiteX3" fmla="*/ 20434 w 161142"/>
                <a:gd name="connsiteY3" fmla="*/ 231550 h 652210"/>
                <a:gd name="connsiteX4" fmla="*/ 148567 w 161142"/>
                <a:gd name="connsiteY4" fmla="*/ 364344 h 652210"/>
                <a:gd name="connsiteX5" fmla="*/ 7426 w 161142"/>
                <a:gd name="connsiteY5" fmla="*/ 495675 h 652210"/>
                <a:gd name="connsiteX6" fmla="*/ 161142 w 161142"/>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142" h="652210">
                  <a:moveTo>
                    <a:pt x="0" y="652210"/>
                  </a:moveTo>
                  <a:lnTo>
                    <a:pt x="29107" y="0"/>
                  </a:lnTo>
                  <a:lnTo>
                    <a:pt x="136860" y="107699"/>
                  </a:lnTo>
                  <a:lnTo>
                    <a:pt x="20434" y="231550"/>
                  </a:lnTo>
                  <a:lnTo>
                    <a:pt x="148567" y="364344"/>
                  </a:lnTo>
                  <a:lnTo>
                    <a:pt x="7426" y="495675"/>
                  </a:lnTo>
                  <a:lnTo>
                    <a:pt x="161142" y="648958"/>
                  </a:lnTo>
                </a:path>
              </a:pathLst>
            </a:custGeom>
            <a:noFill/>
            <a:ln w="9525" cap="rnd">
              <a:solidFill>
                <a:srgbClr val="FFFFFF"/>
              </a:solidFill>
              <a:prstDash val="solid"/>
              <a:bevel/>
            </a:ln>
          </p:spPr>
          <p:txBody>
            <a:bodyPr rtlCol="0" anchor="ctr"/>
            <a:lstStyle/>
            <a:p>
              <a:endParaRPr lang="sv-SE"/>
            </a:p>
          </p:txBody>
        </p:sp>
        <p:sp>
          <p:nvSpPr>
            <p:cNvPr id="350" name="Freeform 349">
              <a:extLst>
                <a:ext uri="{FF2B5EF4-FFF2-40B4-BE49-F238E27FC236}">
                  <a16:creationId xmlns:a16="http://schemas.microsoft.com/office/drawing/2014/main" id="{8924BBD3-F840-E217-8031-0E700BDF9D81}"/>
                </a:ext>
              </a:extLst>
            </p:cNvPr>
            <p:cNvSpPr/>
            <p:nvPr/>
          </p:nvSpPr>
          <p:spPr>
            <a:xfrm>
              <a:off x="4120717" y="2558463"/>
              <a:ext cx="27307" cy="610636"/>
            </a:xfrm>
            <a:custGeom>
              <a:avLst/>
              <a:gdLst>
                <a:gd name="connsiteX0" fmla="*/ 0 w 29106"/>
                <a:gd name="connsiteY0" fmla="*/ 0 h 652210"/>
                <a:gd name="connsiteX1" fmla="*/ 29106 w 29106"/>
                <a:gd name="connsiteY1" fmla="*/ 652210 h 652210"/>
              </a:gdLst>
              <a:ahLst/>
              <a:cxnLst>
                <a:cxn ang="0">
                  <a:pos x="connsiteX0" y="connsiteY0"/>
                </a:cxn>
                <a:cxn ang="0">
                  <a:pos x="connsiteX1" y="connsiteY1"/>
                </a:cxn>
              </a:cxnLst>
              <a:rect l="l" t="t" r="r" b="b"/>
              <a:pathLst>
                <a:path w="29106" h="652210">
                  <a:moveTo>
                    <a:pt x="0" y="0"/>
                  </a:moveTo>
                  <a:lnTo>
                    <a:pt x="29106" y="652210"/>
                  </a:lnTo>
                </a:path>
              </a:pathLst>
            </a:custGeom>
            <a:ln w="9525" cap="sq">
              <a:solidFill>
                <a:srgbClr val="FFFFFF"/>
              </a:solidFill>
              <a:prstDash val="solid"/>
              <a:bevel/>
            </a:ln>
          </p:spPr>
          <p:txBody>
            <a:bodyPr rtlCol="0" anchor="ctr"/>
            <a:lstStyle/>
            <a:p>
              <a:endParaRPr lang="sv-SE"/>
            </a:p>
          </p:txBody>
        </p:sp>
        <p:sp>
          <p:nvSpPr>
            <p:cNvPr id="351" name="Freeform 350">
              <a:extLst>
                <a:ext uri="{FF2B5EF4-FFF2-40B4-BE49-F238E27FC236}">
                  <a16:creationId xmlns:a16="http://schemas.microsoft.com/office/drawing/2014/main" id="{EDF0A1F2-A876-54F5-5BFF-0A02393C3FAE}"/>
                </a:ext>
              </a:extLst>
            </p:cNvPr>
            <p:cNvSpPr/>
            <p:nvPr/>
          </p:nvSpPr>
          <p:spPr>
            <a:xfrm>
              <a:off x="4018610"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rgbClr val="FFFFFF"/>
              </a:solidFill>
              <a:prstDash val="solid"/>
              <a:bevel/>
            </a:ln>
          </p:spPr>
          <p:txBody>
            <a:bodyPr rtlCol="0" anchor="ctr"/>
            <a:lstStyle/>
            <a:p>
              <a:endParaRPr lang="sv-SE"/>
            </a:p>
          </p:txBody>
        </p:sp>
        <p:sp>
          <p:nvSpPr>
            <p:cNvPr id="352" name="Freeform 351">
              <a:extLst>
                <a:ext uri="{FF2B5EF4-FFF2-40B4-BE49-F238E27FC236}">
                  <a16:creationId xmlns:a16="http://schemas.microsoft.com/office/drawing/2014/main" id="{7F3B8E2F-CD47-2B03-BEB0-028FFE1D2C94}"/>
                </a:ext>
              </a:extLst>
            </p:cNvPr>
            <p:cNvSpPr/>
            <p:nvPr/>
          </p:nvSpPr>
          <p:spPr>
            <a:xfrm>
              <a:off x="4015045"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rgbClr val="FFFFFF"/>
              </a:solidFill>
              <a:prstDash val="solid"/>
              <a:bevel/>
            </a:ln>
          </p:spPr>
          <p:txBody>
            <a:bodyPr rtlCol="0" anchor="ctr"/>
            <a:lstStyle/>
            <a:p>
              <a:endParaRPr lang="sv-SE"/>
            </a:p>
          </p:txBody>
        </p:sp>
        <p:sp>
          <p:nvSpPr>
            <p:cNvPr id="353" name="Freeform 352">
              <a:extLst>
                <a:ext uri="{FF2B5EF4-FFF2-40B4-BE49-F238E27FC236}">
                  <a16:creationId xmlns:a16="http://schemas.microsoft.com/office/drawing/2014/main" id="{FD7E5B4E-7E0D-1D5C-D8B2-EEB07BE75779}"/>
                </a:ext>
              </a:extLst>
            </p:cNvPr>
            <p:cNvSpPr/>
            <p:nvPr/>
          </p:nvSpPr>
          <p:spPr>
            <a:xfrm>
              <a:off x="4008079"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rgbClr val="FFFFFF"/>
              </a:solidFill>
              <a:prstDash val="solid"/>
              <a:bevel/>
            </a:ln>
          </p:spPr>
          <p:txBody>
            <a:bodyPr rtlCol="0" anchor="ctr"/>
            <a:lstStyle/>
            <a:p>
              <a:endParaRPr lang="sv-SE"/>
            </a:p>
          </p:txBody>
        </p:sp>
        <p:sp>
          <p:nvSpPr>
            <p:cNvPr id="354" name="Freeform 353">
              <a:extLst>
                <a:ext uri="{FF2B5EF4-FFF2-40B4-BE49-F238E27FC236}">
                  <a16:creationId xmlns:a16="http://schemas.microsoft.com/office/drawing/2014/main" id="{2D31B323-EE3D-DA7D-92F3-92EDFB09E76C}"/>
                </a:ext>
              </a:extLst>
            </p:cNvPr>
            <p:cNvSpPr/>
            <p:nvPr/>
          </p:nvSpPr>
          <p:spPr>
            <a:xfrm>
              <a:off x="4002841"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rgbClr val="FFFFFF"/>
              </a:solidFill>
              <a:prstDash val="solid"/>
              <a:bevel/>
            </a:ln>
          </p:spPr>
          <p:txBody>
            <a:bodyPr rtlCol="0" anchor="ctr"/>
            <a:lstStyle/>
            <a:p>
              <a:endParaRPr lang="sv-SE"/>
            </a:p>
          </p:txBody>
        </p:sp>
        <p:sp>
          <p:nvSpPr>
            <p:cNvPr id="355" name="Freeform 354">
              <a:extLst>
                <a:ext uri="{FF2B5EF4-FFF2-40B4-BE49-F238E27FC236}">
                  <a16:creationId xmlns:a16="http://schemas.microsoft.com/office/drawing/2014/main" id="{D62621CF-2E79-C3C9-0468-351409A7576A}"/>
                </a:ext>
              </a:extLst>
            </p:cNvPr>
            <p:cNvSpPr/>
            <p:nvPr/>
          </p:nvSpPr>
          <p:spPr>
            <a:xfrm>
              <a:off x="4337297" y="2558463"/>
              <a:ext cx="151133" cy="610636"/>
            </a:xfrm>
            <a:custGeom>
              <a:avLst/>
              <a:gdLst>
                <a:gd name="connsiteX0" fmla="*/ 0 w 161087"/>
                <a:gd name="connsiteY0" fmla="*/ 652210 h 652210"/>
                <a:gd name="connsiteX1" fmla="*/ 29106 w 161087"/>
                <a:gd name="connsiteY1" fmla="*/ 0 h 652210"/>
                <a:gd name="connsiteX2" fmla="*/ 136805 w 161087"/>
                <a:gd name="connsiteY2" fmla="*/ 107699 h 652210"/>
                <a:gd name="connsiteX3" fmla="*/ 20434 w 161087"/>
                <a:gd name="connsiteY3" fmla="*/ 231550 h 652210"/>
                <a:gd name="connsiteX4" fmla="*/ 148513 w 161087"/>
                <a:gd name="connsiteY4" fmla="*/ 364344 h 652210"/>
                <a:gd name="connsiteX5" fmla="*/ 7371 w 161087"/>
                <a:gd name="connsiteY5" fmla="*/ 495675 h 652210"/>
                <a:gd name="connsiteX6" fmla="*/ 161088 w 161087"/>
                <a:gd name="connsiteY6" fmla="*/ 648958 h 65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087" h="652210">
                  <a:moveTo>
                    <a:pt x="0" y="652210"/>
                  </a:moveTo>
                  <a:lnTo>
                    <a:pt x="29106" y="0"/>
                  </a:lnTo>
                  <a:lnTo>
                    <a:pt x="136805" y="107699"/>
                  </a:lnTo>
                  <a:lnTo>
                    <a:pt x="20434" y="231550"/>
                  </a:lnTo>
                  <a:lnTo>
                    <a:pt x="148513" y="364344"/>
                  </a:lnTo>
                  <a:lnTo>
                    <a:pt x="7371" y="495675"/>
                  </a:lnTo>
                  <a:lnTo>
                    <a:pt x="161088" y="648958"/>
                  </a:lnTo>
                </a:path>
              </a:pathLst>
            </a:custGeom>
            <a:noFill/>
            <a:ln w="9525" cap="rnd">
              <a:solidFill>
                <a:srgbClr val="FFFFFF"/>
              </a:solidFill>
              <a:prstDash val="solid"/>
              <a:bevel/>
            </a:ln>
          </p:spPr>
          <p:txBody>
            <a:bodyPr rtlCol="0" anchor="ctr"/>
            <a:lstStyle/>
            <a:p>
              <a:endParaRPr lang="sv-SE"/>
            </a:p>
          </p:txBody>
        </p:sp>
        <p:sp>
          <p:nvSpPr>
            <p:cNvPr id="356" name="Freeform 355">
              <a:extLst>
                <a:ext uri="{FF2B5EF4-FFF2-40B4-BE49-F238E27FC236}">
                  <a16:creationId xmlns:a16="http://schemas.microsoft.com/office/drawing/2014/main" id="{0841E9F8-4681-3642-FAAC-6277826B7D41}"/>
                </a:ext>
              </a:extLst>
            </p:cNvPr>
            <p:cNvSpPr/>
            <p:nvPr/>
          </p:nvSpPr>
          <p:spPr>
            <a:xfrm>
              <a:off x="4462140" y="2558463"/>
              <a:ext cx="27307" cy="610636"/>
            </a:xfrm>
            <a:custGeom>
              <a:avLst/>
              <a:gdLst>
                <a:gd name="connsiteX0" fmla="*/ 0 w 29106"/>
                <a:gd name="connsiteY0" fmla="*/ 0 h 652210"/>
                <a:gd name="connsiteX1" fmla="*/ 29107 w 29106"/>
                <a:gd name="connsiteY1" fmla="*/ 652210 h 652210"/>
              </a:gdLst>
              <a:ahLst/>
              <a:cxnLst>
                <a:cxn ang="0">
                  <a:pos x="connsiteX0" y="connsiteY0"/>
                </a:cxn>
                <a:cxn ang="0">
                  <a:pos x="connsiteX1" y="connsiteY1"/>
                </a:cxn>
              </a:cxnLst>
              <a:rect l="l" t="t" r="r" b="b"/>
              <a:pathLst>
                <a:path w="29106" h="652210">
                  <a:moveTo>
                    <a:pt x="0" y="0"/>
                  </a:moveTo>
                  <a:lnTo>
                    <a:pt x="29107" y="652210"/>
                  </a:lnTo>
                </a:path>
              </a:pathLst>
            </a:custGeom>
            <a:ln w="9525" cap="sq">
              <a:solidFill>
                <a:srgbClr val="FFFFFF"/>
              </a:solidFill>
              <a:prstDash val="solid"/>
              <a:bevel/>
            </a:ln>
          </p:spPr>
          <p:txBody>
            <a:bodyPr rtlCol="0" anchor="ctr"/>
            <a:lstStyle/>
            <a:p>
              <a:endParaRPr lang="sv-SE" dirty="0"/>
            </a:p>
          </p:txBody>
        </p:sp>
        <p:sp>
          <p:nvSpPr>
            <p:cNvPr id="357" name="Freeform 356">
              <a:extLst>
                <a:ext uri="{FF2B5EF4-FFF2-40B4-BE49-F238E27FC236}">
                  <a16:creationId xmlns:a16="http://schemas.microsoft.com/office/drawing/2014/main" id="{F3BFB59F-5517-EC43-237B-9CFA6AE98DBF}"/>
                </a:ext>
              </a:extLst>
            </p:cNvPr>
            <p:cNvSpPr/>
            <p:nvPr/>
          </p:nvSpPr>
          <p:spPr>
            <a:xfrm>
              <a:off x="4359983" y="2658237"/>
              <a:ext cx="106586" cy="0"/>
            </a:xfrm>
            <a:custGeom>
              <a:avLst/>
              <a:gdLst>
                <a:gd name="connsiteX0" fmla="*/ 113607 w 113606"/>
                <a:gd name="connsiteY0" fmla="*/ 0 h 5420"/>
                <a:gd name="connsiteX1" fmla="*/ 0 w 113606"/>
                <a:gd name="connsiteY1" fmla="*/ 0 h 5420"/>
              </a:gdLst>
              <a:ahLst/>
              <a:cxnLst>
                <a:cxn ang="0">
                  <a:pos x="connsiteX0" y="connsiteY0"/>
                </a:cxn>
                <a:cxn ang="0">
                  <a:pos x="connsiteX1" y="connsiteY1"/>
                </a:cxn>
              </a:cxnLst>
              <a:rect l="l" t="t" r="r" b="b"/>
              <a:pathLst>
                <a:path w="113606" h="5420">
                  <a:moveTo>
                    <a:pt x="113607" y="0"/>
                  </a:moveTo>
                  <a:lnTo>
                    <a:pt x="0" y="0"/>
                  </a:lnTo>
                </a:path>
              </a:pathLst>
            </a:custGeom>
            <a:ln w="9525" cap="sq">
              <a:solidFill>
                <a:srgbClr val="FFFFFF"/>
              </a:solidFill>
              <a:prstDash val="solid"/>
              <a:bevel/>
            </a:ln>
          </p:spPr>
          <p:txBody>
            <a:bodyPr rtlCol="0" anchor="ctr"/>
            <a:lstStyle/>
            <a:p>
              <a:endParaRPr lang="sv-SE"/>
            </a:p>
          </p:txBody>
        </p:sp>
        <p:sp>
          <p:nvSpPr>
            <p:cNvPr id="358" name="Freeform 357">
              <a:extLst>
                <a:ext uri="{FF2B5EF4-FFF2-40B4-BE49-F238E27FC236}">
                  <a16:creationId xmlns:a16="http://schemas.microsoft.com/office/drawing/2014/main" id="{60C07FBA-D65B-000E-B275-33D3C1AD25E7}"/>
                </a:ext>
              </a:extLst>
            </p:cNvPr>
            <p:cNvSpPr/>
            <p:nvPr/>
          </p:nvSpPr>
          <p:spPr>
            <a:xfrm>
              <a:off x="4356468" y="2774434"/>
              <a:ext cx="115383" cy="0"/>
            </a:xfrm>
            <a:custGeom>
              <a:avLst/>
              <a:gdLst>
                <a:gd name="connsiteX0" fmla="*/ 0 w 122983"/>
                <a:gd name="connsiteY0" fmla="*/ 0 h 5420"/>
                <a:gd name="connsiteX1" fmla="*/ 122984 w 122983"/>
                <a:gd name="connsiteY1" fmla="*/ 0 h 5420"/>
              </a:gdLst>
              <a:ahLst/>
              <a:cxnLst>
                <a:cxn ang="0">
                  <a:pos x="connsiteX0" y="connsiteY0"/>
                </a:cxn>
                <a:cxn ang="0">
                  <a:pos x="connsiteX1" y="connsiteY1"/>
                </a:cxn>
              </a:cxnLst>
              <a:rect l="l" t="t" r="r" b="b"/>
              <a:pathLst>
                <a:path w="122983" h="5420">
                  <a:moveTo>
                    <a:pt x="0" y="0"/>
                  </a:moveTo>
                  <a:lnTo>
                    <a:pt x="122984" y="0"/>
                  </a:lnTo>
                </a:path>
              </a:pathLst>
            </a:custGeom>
            <a:ln w="9525" cap="rnd">
              <a:solidFill>
                <a:srgbClr val="FFFFFF"/>
              </a:solidFill>
              <a:prstDash val="solid"/>
              <a:bevel/>
            </a:ln>
          </p:spPr>
          <p:txBody>
            <a:bodyPr rtlCol="0" anchor="ctr"/>
            <a:lstStyle/>
            <a:p>
              <a:endParaRPr lang="sv-SE"/>
            </a:p>
          </p:txBody>
        </p:sp>
        <p:sp>
          <p:nvSpPr>
            <p:cNvPr id="359" name="Freeform 358">
              <a:extLst>
                <a:ext uri="{FF2B5EF4-FFF2-40B4-BE49-F238E27FC236}">
                  <a16:creationId xmlns:a16="http://schemas.microsoft.com/office/drawing/2014/main" id="{D6A2D803-475A-04F6-C1F8-A9E114C1628F}"/>
                </a:ext>
              </a:extLst>
            </p:cNvPr>
            <p:cNvSpPr/>
            <p:nvPr/>
          </p:nvSpPr>
          <p:spPr>
            <a:xfrm>
              <a:off x="4349451" y="2899022"/>
              <a:ext cx="127181" cy="0"/>
            </a:xfrm>
            <a:custGeom>
              <a:avLst/>
              <a:gdLst>
                <a:gd name="connsiteX0" fmla="*/ 135559 w 135558"/>
                <a:gd name="connsiteY0" fmla="*/ 0 h 5420"/>
                <a:gd name="connsiteX1" fmla="*/ 0 w 135558"/>
                <a:gd name="connsiteY1" fmla="*/ 0 h 5420"/>
              </a:gdLst>
              <a:ahLst/>
              <a:cxnLst>
                <a:cxn ang="0">
                  <a:pos x="connsiteX0" y="connsiteY0"/>
                </a:cxn>
                <a:cxn ang="0">
                  <a:pos x="connsiteX1" y="connsiteY1"/>
                </a:cxn>
              </a:cxnLst>
              <a:rect l="l" t="t" r="r" b="b"/>
              <a:pathLst>
                <a:path w="135558" h="5420">
                  <a:moveTo>
                    <a:pt x="135559" y="0"/>
                  </a:moveTo>
                  <a:lnTo>
                    <a:pt x="0" y="0"/>
                  </a:lnTo>
                </a:path>
              </a:pathLst>
            </a:custGeom>
            <a:ln w="9525" cap="rnd">
              <a:solidFill>
                <a:srgbClr val="FFFFFF"/>
              </a:solidFill>
              <a:prstDash val="solid"/>
              <a:bevel/>
            </a:ln>
          </p:spPr>
          <p:txBody>
            <a:bodyPr rtlCol="0" anchor="ctr"/>
            <a:lstStyle/>
            <a:p>
              <a:endParaRPr lang="sv-SE"/>
            </a:p>
          </p:txBody>
        </p:sp>
        <p:sp>
          <p:nvSpPr>
            <p:cNvPr id="360" name="Freeform 359">
              <a:extLst>
                <a:ext uri="{FF2B5EF4-FFF2-40B4-BE49-F238E27FC236}">
                  <a16:creationId xmlns:a16="http://schemas.microsoft.com/office/drawing/2014/main" id="{A76AF24A-CB40-6487-0DCD-495598AB20E3}"/>
                </a:ext>
              </a:extLst>
            </p:cNvPr>
            <p:cNvSpPr/>
            <p:nvPr/>
          </p:nvSpPr>
          <p:spPr>
            <a:xfrm>
              <a:off x="4344214" y="3022238"/>
              <a:ext cx="138115" cy="0"/>
            </a:xfrm>
            <a:custGeom>
              <a:avLst/>
              <a:gdLst>
                <a:gd name="connsiteX0" fmla="*/ 0 w 147212"/>
                <a:gd name="connsiteY0" fmla="*/ 0 h 5420"/>
                <a:gd name="connsiteX1" fmla="*/ 147212 w 147212"/>
                <a:gd name="connsiteY1" fmla="*/ 0 h 5420"/>
              </a:gdLst>
              <a:ahLst/>
              <a:cxnLst>
                <a:cxn ang="0">
                  <a:pos x="connsiteX0" y="connsiteY0"/>
                </a:cxn>
                <a:cxn ang="0">
                  <a:pos x="connsiteX1" y="connsiteY1"/>
                </a:cxn>
              </a:cxnLst>
              <a:rect l="l" t="t" r="r" b="b"/>
              <a:pathLst>
                <a:path w="147212" h="5420">
                  <a:moveTo>
                    <a:pt x="0" y="0"/>
                  </a:moveTo>
                  <a:lnTo>
                    <a:pt x="147212" y="0"/>
                  </a:lnTo>
                </a:path>
              </a:pathLst>
            </a:custGeom>
            <a:ln w="9525" cap="rnd">
              <a:solidFill>
                <a:srgbClr val="FFFFFF"/>
              </a:solidFill>
              <a:prstDash val="solid"/>
              <a:bevel/>
            </a:ln>
          </p:spPr>
          <p:txBody>
            <a:bodyPr rtlCol="0" anchor="ctr"/>
            <a:lstStyle/>
            <a:p>
              <a:endParaRPr lang="sv-SE"/>
            </a:p>
          </p:txBody>
        </p:sp>
        <p:sp>
          <p:nvSpPr>
            <p:cNvPr id="361" name="Freeform 360">
              <a:extLst>
                <a:ext uri="{FF2B5EF4-FFF2-40B4-BE49-F238E27FC236}">
                  <a16:creationId xmlns:a16="http://schemas.microsoft.com/office/drawing/2014/main" id="{7FF76521-1F0F-B982-530B-C99587F803C3}"/>
                </a:ext>
              </a:extLst>
            </p:cNvPr>
            <p:cNvSpPr/>
            <p:nvPr/>
          </p:nvSpPr>
          <p:spPr>
            <a:xfrm>
              <a:off x="3940598"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rgbClr val="FFFFFF"/>
              </a:solidFill>
              <a:prstDash val="solid"/>
              <a:bevel/>
            </a:ln>
          </p:spPr>
          <p:txBody>
            <a:bodyPr rtlCol="0" anchor="ctr"/>
            <a:lstStyle/>
            <a:p>
              <a:endParaRPr lang="sv-SE"/>
            </a:p>
          </p:txBody>
        </p:sp>
        <p:sp>
          <p:nvSpPr>
            <p:cNvPr id="362" name="Freeform 361">
              <a:extLst>
                <a:ext uri="{FF2B5EF4-FFF2-40B4-BE49-F238E27FC236}">
                  <a16:creationId xmlns:a16="http://schemas.microsoft.com/office/drawing/2014/main" id="{AC1F9182-132D-531F-C8C7-D58D7FA18318}"/>
                </a:ext>
              </a:extLst>
            </p:cNvPr>
            <p:cNvSpPr/>
            <p:nvPr/>
          </p:nvSpPr>
          <p:spPr>
            <a:xfrm>
              <a:off x="4281970" y="3168947"/>
              <a:ext cx="262754" cy="5085"/>
            </a:xfrm>
            <a:custGeom>
              <a:avLst/>
              <a:gdLst>
                <a:gd name="connsiteX0" fmla="*/ 0 w 280060"/>
                <a:gd name="connsiteY0" fmla="*/ 0 h 5420"/>
                <a:gd name="connsiteX1" fmla="*/ 280061 w 280060"/>
                <a:gd name="connsiteY1" fmla="*/ 0 h 5420"/>
              </a:gdLst>
              <a:ahLst/>
              <a:cxnLst>
                <a:cxn ang="0">
                  <a:pos x="connsiteX0" y="connsiteY0"/>
                </a:cxn>
                <a:cxn ang="0">
                  <a:pos x="connsiteX1" y="connsiteY1"/>
                </a:cxn>
              </a:cxnLst>
              <a:rect l="l" t="t" r="r" b="b"/>
              <a:pathLst>
                <a:path w="280060" h="5420">
                  <a:moveTo>
                    <a:pt x="0" y="0"/>
                  </a:moveTo>
                  <a:lnTo>
                    <a:pt x="280061" y="0"/>
                  </a:lnTo>
                </a:path>
              </a:pathLst>
            </a:custGeom>
            <a:ln w="9525" cap="rnd">
              <a:solidFill>
                <a:srgbClr val="FFFFFF"/>
              </a:solidFill>
              <a:prstDash val="solid"/>
              <a:bevel/>
            </a:ln>
          </p:spPr>
          <p:txBody>
            <a:bodyPr rtlCol="0" anchor="ctr"/>
            <a:lstStyle/>
            <a:p>
              <a:endParaRPr lang="sv-SE"/>
            </a:p>
          </p:txBody>
        </p:sp>
      </p:grpSp>
      <p:sp>
        <p:nvSpPr>
          <p:cNvPr id="379" name="TextBox 378">
            <a:extLst>
              <a:ext uri="{FF2B5EF4-FFF2-40B4-BE49-F238E27FC236}">
                <a16:creationId xmlns:a16="http://schemas.microsoft.com/office/drawing/2014/main" id="{F7A4B34F-9BA3-9FE4-0D4D-DE6AE859278C}"/>
              </a:ext>
            </a:extLst>
          </p:cNvPr>
          <p:cNvSpPr txBox="1"/>
          <p:nvPr/>
        </p:nvSpPr>
        <p:spPr>
          <a:xfrm>
            <a:off x="4592566" y="178894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FOSSILFRI EL</a:t>
            </a:r>
            <a:endParaRPr lang="sv-SE" sz="800" baseline="-25000" dirty="0">
              <a:solidFill>
                <a:schemeClr val="bg1"/>
              </a:solidFill>
            </a:endParaRPr>
          </a:p>
        </p:txBody>
      </p:sp>
      <p:sp>
        <p:nvSpPr>
          <p:cNvPr id="380" name="TextBox 379">
            <a:extLst>
              <a:ext uri="{FF2B5EF4-FFF2-40B4-BE49-F238E27FC236}">
                <a16:creationId xmlns:a16="http://schemas.microsoft.com/office/drawing/2014/main" id="{D4A2D24C-51D8-DE99-DF33-B07884B7EA3F}"/>
              </a:ext>
            </a:extLst>
          </p:cNvPr>
          <p:cNvSpPr txBox="1"/>
          <p:nvPr/>
        </p:nvSpPr>
        <p:spPr>
          <a:xfrm>
            <a:off x="3163298" y="4174826"/>
            <a:ext cx="823660" cy="295008"/>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KOMPRESSOR-</a:t>
            </a:r>
            <a:br>
              <a:rPr lang="sv-SE" sz="800" dirty="0">
                <a:solidFill>
                  <a:schemeClr val="bg1"/>
                </a:solidFill>
              </a:rPr>
            </a:br>
            <a:r>
              <a:rPr lang="sv-SE" sz="800" dirty="0">
                <a:solidFill>
                  <a:schemeClr val="bg1"/>
                </a:solidFill>
              </a:rPr>
              <a:t>STATION</a:t>
            </a:r>
            <a:endParaRPr lang="sv-SE" sz="800" baseline="-25000" dirty="0">
              <a:solidFill>
                <a:schemeClr val="bg1"/>
              </a:solidFill>
            </a:endParaRPr>
          </a:p>
        </p:txBody>
      </p:sp>
      <p:sp>
        <p:nvSpPr>
          <p:cNvPr id="381" name="TextBox 380">
            <a:extLst>
              <a:ext uri="{FF2B5EF4-FFF2-40B4-BE49-F238E27FC236}">
                <a16:creationId xmlns:a16="http://schemas.microsoft.com/office/drawing/2014/main" id="{530CFD3D-42D2-07B2-A90C-8376C9395D28}"/>
              </a:ext>
            </a:extLst>
          </p:cNvPr>
          <p:cNvSpPr txBox="1"/>
          <p:nvPr/>
        </p:nvSpPr>
        <p:spPr>
          <a:xfrm>
            <a:off x="6057132"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ELEKTROLYSÖR</a:t>
            </a:r>
            <a:endParaRPr lang="sv-SE" sz="800" baseline="-25000" dirty="0">
              <a:solidFill>
                <a:schemeClr val="bg1"/>
              </a:solidFill>
            </a:endParaRPr>
          </a:p>
        </p:txBody>
      </p:sp>
      <p:sp>
        <p:nvSpPr>
          <p:cNvPr id="382" name="TextBox 381">
            <a:extLst>
              <a:ext uri="{FF2B5EF4-FFF2-40B4-BE49-F238E27FC236}">
                <a16:creationId xmlns:a16="http://schemas.microsoft.com/office/drawing/2014/main" id="{83BF8A76-CF2B-200D-F3E2-C9BB3CE8CED3}"/>
              </a:ext>
            </a:extLst>
          </p:cNvPr>
          <p:cNvSpPr txBox="1"/>
          <p:nvPr/>
        </p:nvSpPr>
        <p:spPr>
          <a:xfrm>
            <a:off x="9659724" y="4174826"/>
            <a:ext cx="823660" cy="184209"/>
          </a:xfrm>
          <a:prstGeom prst="rect">
            <a:avLst/>
          </a:prstGeom>
          <a:noFill/>
        </p:spPr>
        <p:txBody>
          <a:bodyPr wrap="square" lIns="0" tIns="36000" rIns="0" bIns="36000" rtlCol="0" anchor="t">
            <a:spAutoFit/>
          </a:bodyPr>
          <a:lstStyle/>
          <a:p>
            <a:pPr algn="ctr">
              <a:lnSpc>
                <a:spcPct val="90000"/>
              </a:lnSpc>
            </a:pPr>
            <a:r>
              <a:rPr lang="sv-SE" sz="800" dirty="0">
                <a:solidFill>
                  <a:schemeClr val="bg1"/>
                </a:solidFill>
              </a:rPr>
              <a:t>INDUSTRI</a:t>
            </a:r>
            <a:endParaRPr lang="sv-SE" sz="800" baseline="-25000" dirty="0">
              <a:solidFill>
                <a:schemeClr val="bg1"/>
              </a:solidFill>
            </a:endParaRPr>
          </a:p>
        </p:txBody>
      </p:sp>
      <p:sp>
        <p:nvSpPr>
          <p:cNvPr id="383" name="TextBox 382">
            <a:extLst>
              <a:ext uri="{FF2B5EF4-FFF2-40B4-BE49-F238E27FC236}">
                <a16:creationId xmlns:a16="http://schemas.microsoft.com/office/drawing/2014/main" id="{DF2F66FE-70B4-17E2-644E-C00598B97A8D}"/>
              </a:ext>
            </a:extLst>
          </p:cNvPr>
          <p:cNvSpPr txBox="1"/>
          <p:nvPr/>
        </p:nvSpPr>
        <p:spPr>
          <a:xfrm>
            <a:off x="6799830" y="2705984"/>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VATTEN</a:t>
            </a:r>
            <a:endParaRPr lang="sv-SE" sz="800" baseline="-25000" dirty="0">
              <a:solidFill>
                <a:schemeClr val="bg1"/>
              </a:solidFill>
            </a:endParaRPr>
          </a:p>
        </p:txBody>
      </p:sp>
      <p:sp>
        <p:nvSpPr>
          <p:cNvPr id="384" name="TextBox 383">
            <a:extLst>
              <a:ext uri="{FF2B5EF4-FFF2-40B4-BE49-F238E27FC236}">
                <a16:creationId xmlns:a16="http://schemas.microsoft.com/office/drawing/2014/main" id="{FD017602-91E8-1AA9-5989-08200638C362}"/>
              </a:ext>
            </a:extLst>
          </p:cNvPr>
          <p:cNvSpPr txBox="1"/>
          <p:nvPr/>
        </p:nvSpPr>
        <p:spPr>
          <a:xfrm>
            <a:off x="10209852" y="2088779"/>
            <a:ext cx="823660" cy="184209"/>
          </a:xfrm>
          <a:prstGeom prst="rect">
            <a:avLst/>
          </a:prstGeom>
          <a:noFill/>
        </p:spPr>
        <p:txBody>
          <a:bodyPr wrap="square" lIns="0" tIns="36000" rIns="0" bIns="36000" rtlCol="0" anchor="ctr">
            <a:spAutoFit/>
          </a:bodyPr>
          <a:lstStyle/>
          <a:p>
            <a:pPr algn="ctr">
              <a:lnSpc>
                <a:spcPct val="90000"/>
              </a:lnSpc>
            </a:pPr>
            <a:r>
              <a:rPr lang="sv-SE" sz="800" dirty="0">
                <a:solidFill>
                  <a:schemeClr val="bg1"/>
                </a:solidFill>
              </a:rPr>
              <a:t>VATTEN</a:t>
            </a:r>
            <a:endParaRPr lang="sv-SE" sz="800" baseline="-25000" dirty="0">
              <a:solidFill>
                <a:schemeClr val="bg1"/>
              </a:solidFill>
            </a:endParaRPr>
          </a:p>
        </p:txBody>
      </p:sp>
      <p:sp>
        <p:nvSpPr>
          <p:cNvPr id="385" name="TextBox 384">
            <a:extLst>
              <a:ext uri="{FF2B5EF4-FFF2-40B4-BE49-F238E27FC236}">
                <a16:creationId xmlns:a16="http://schemas.microsoft.com/office/drawing/2014/main" id="{48A9FF18-DC88-5AAC-2CE6-81D85F235157}"/>
              </a:ext>
            </a:extLst>
          </p:cNvPr>
          <p:cNvSpPr txBox="1"/>
          <p:nvPr/>
        </p:nvSpPr>
        <p:spPr>
          <a:xfrm>
            <a:off x="3237201" y="5422869"/>
            <a:ext cx="1031329" cy="295008"/>
          </a:xfrm>
          <a:prstGeom prst="rect">
            <a:avLst/>
          </a:prstGeom>
          <a:noFill/>
        </p:spPr>
        <p:txBody>
          <a:bodyPr wrap="square" lIns="0" tIns="36000" rIns="0" bIns="36000" rtlCol="0" anchor="t">
            <a:spAutoFit/>
          </a:bodyPr>
          <a:lstStyle/>
          <a:p>
            <a:pPr>
              <a:lnSpc>
                <a:spcPct val="90000"/>
              </a:lnSpc>
            </a:pPr>
            <a:r>
              <a:rPr lang="sv-SE" sz="800" dirty="0">
                <a:solidFill>
                  <a:schemeClr val="bg1"/>
                </a:solidFill>
              </a:rPr>
              <a:t>VÄTGASLAGER</a:t>
            </a:r>
          </a:p>
          <a:p>
            <a:pPr>
              <a:lnSpc>
                <a:spcPct val="90000"/>
              </a:lnSpc>
            </a:pPr>
            <a:r>
              <a:rPr lang="sv-SE" sz="800" dirty="0">
                <a:solidFill>
                  <a:schemeClr val="bg1"/>
                </a:solidFill>
              </a:rPr>
              <a:t>LINED ROCK CAVERN</a:t>
            </a:r>
            <a:endParaRPr lang="sv-SE" sz="800" baseline="-25000" dirty="0">
              <a:solidFill>
                <a:schemeClr val="bg1"/>
              </a:solidFill>
            </a:endParaRPr>
          </a:p>
        </p:txBody>
      </p:sp>
      <p:sp>
        <p:nvSpPr>
          <p:cNvPr id="188" name="Freeform 187">
            <a:extLst>
              <a:ext uri="{FF2B5EF4-FFF2-40B4-BE49-F238E27FC236}">
                <a16:creationId xmlns:a16="http://schemas.microsoft.com/office/drawing/2014/main" id="{66D6CCCC-745A-35FF-87CD-56B96EBD703E}"/>
              </a:ext>
            </a:extLst>
          </p:cNvPr>
          <p:cNvSpPr/>
          <p:nvPr/>
        </p:nvSpPr>
        <p:spPr>
          <a:xfrm>
            <a:off x="9023407" y="2730535"/>
            <a:ext cx="2087829" cy="1356681"/>
          </a:xfrm>
          <a:custGeom>
            <a:avLst/>
            <a:gdLst>
              <a:gd name="connsiteX0" fmla="*/ 1980228 w 2087829"/>
              <a:gd name="connsiteY0" fmla="*/ 575106 h 1356681"/>
              <a:gd name="connsiteX1" fmla="*/ 1789925 w 2087829"/>
              <a:gd name="connsiteY1" fmla="*/ 575106 h 1356681"/>
              <a:gd name="connsiteX2" fmla="*/ 1789925 w 2087829"/>
              <a:gd name="connsiteY2" fmla="*/ 0 h 1356681"/>
              <a:gd name="connsiteX3" fmla="*/ 1665136 w 2087829"/>
              <a:gd name="connsiteY3" fmla="*/ 0 h 1356681"/>
              <a:gd name="connsiteX4" fmla="*/ 1665136 w 2087829"/>
              <a:gd name="connsiteY4" fmla="*/ 575106 h 1356681"/>
              <a:gd name="connsiteX5" fmla="*/ 1534675 w 2087829"/>
              <a:gd name="connsiteY5" fmla="*/ 575106 h 1356681"/>
              <a:gd name="connsiteX6" fmla="*/ 1534675 w 2087829"/>
              <a:gd name="connsiteY6" fmla="*/ 0 h 1356681"/>
              <a:gd name="connsiteX7" fmla="*/ 1409886 w 2087829"/>
              <a:gd name="connsiteY7" fmla="*/ 0 h 1356681"/>
              <a:gd name="connsiteX8" fmla="*/ 1409886 w 2087829"/>
              <a:gd name="connsiteY8" fmla="*/ 575106 h 1356681"/>
              <a:gd name="connsiteX9" fmla="*/ 754802 w 2087829"/>
              <a:gd name="connsiteY9" fmla="*/ 575106 h 1356681"/>
              <a:gd name="connsiteX10" fmla="*/ 754802 w 2087829"/>
              <a:gd name="connsiteY10" fmla="*/ 487811 h 1356681"/>
              <a:gd name="connsiteX11" fmla="*/ 754802 w 2087829"/>
              <a:gd name="connsiteY11" fmla="*/ 380209 h 1356681"/>
              <a:gd name="connsiteX12" fmla="*/ 107602 w 2087829"/>
              <a:gd name="connsiteY12" fmla="*/ 380209 h 1356681"/>
              <a:gd name="connsiteX13" fmla="*/ 0 w 2087829"/>
              <a:gd name="connsiteY13" fmla="*/ 487811 h 1356681"/>
              <a:gd name="connsiteX14" fmla="*/ 0 w 2087829"/>
              <a:gd name="connsiteY14" fmla="*/ 575106 h 1356681"/>
              <a:gd name="connsiteX15" fmla="*/ 0 w 2087829"/>
              <a:gd name="connsiteY15" fmla="*/ 682708 h 1356681"/>
              <a:gd name="connsiteX16" fmla="*/ 0 w 2087829"/>
              <a:gd name="connsiteY16" fmla="*/ 1338190 h 1356681"/>
              <a:gd name="connsiteX17" fmla="*/ 0 w 2087829"/>
              <a:gd name="connsiteY17" fmla="*/ 1356681 h 1356681"/>
              <a:gd name="connsiteX18" fmla="*/ 2087830 w 2087829"/>
              <a:gd name="connsiteY18" fmla="*/ 1356681 h 1356681"/>
              <a:gd name="connsiteX19" fmla="*/ 2087830 w 2087829"/>
              <a:gd name="connsiteY19" fmla="*/ 682708 h 1356681"/>
              <a:gd name="connsiteX20" fmla="*/ 1980228 w 2087829"/>
              <a:gd name="connsiteY20" fmla="*/ 575106 h 135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87829" h="1356681">
                <a:moveTo>
                  <a:pt x="1980228" y="575106"/>
                </a:moveTo>
                <a:lnTo>
                  <a:pt x="1789925" y="575106"/>
                </a:lnTo>
                <a:lnTo>
                  <a:pt x="1789925" y="0"/>
                </a:lnTo>
                <a:lnTo>
                  <a:pt x="1665136" y="0"/>
                </a:lnTo>
                <a:lnTo>
                  <a:pt x="1665136" y="575106"/>
                </a:lnTo>
                <a:lnTo>
                  <a:pt x="1534675" y="575106"/>
                </a:lnTo>
                <a:lnTo>
                  <a:pt x="1534675" y="0"/>
                </a:lnTo>
                <a:lnTo>
                  <a:pt x="1409886" y="0"/>
                </a:lnTo>
                <a:lnTo>
                  <a:pt x="1409886" y="575106"/>
                </a:lnTo>
                <a:lnTo>
                  <a:pt x="754802" y="575106"/>
                </a:lnTo>
                <a:lnTo>
                  <a:pt x="754802" y="487811"/>
                </a:lnTo>
                <a:lnTo>
                  <a:pt x="754802" y="380209"/>
                </a:lnTo>
                <a:lnTo>
                  <a:pt x="107602" y="380209"/>
                </a:lnTo>
                <a:lnTo>
                  <a:pt x="0" y="487811"/>
                </a:lnTo>
                <a:lnTo>
                  <a:pt x="0" y="575106"/>
                </a:lnTo>
                <a:lnTo>
                  <a:pt x="0" y="682708"/>
                </a:lnTo>
                <a:lnTo>
                  <a:pt x="0" y="1338190"/>
                </a:lnTo>
                <a:lnTo>
                  <a:pt x="0" y="1356681"/>
                </a:lnTo>
                <a:lnTo>
                  <a:pt x="2087830" y="1356681"/>
                </a:lnTo>
                <a:lnTo>
                  <a:pt x="2087830" y="682708"/>
                </a:lnTo>
                <a:lnTo>
                  <a:pt x="1980228" y="575106"/>
                </a:lnTo>
                <a:close/>
              </a:path>
            </a:pathLst>
          </a:custGeom>
          <a:solidFill>
            <a:srgbClr val="FFFFFF"/>
          </a:solidFill>
          <a:ln w="0" cap="flat">
            <a:noFill/>
            <a:prstDash val="solid"/>
            <a:miter/>
          </a:ln>
        </p:spPr>
        <p:txBody>
          <a:bodyPr rtlCol="0" anchor="ctr"/>
          <a:lstStyle/>
          <a:p>
            <a:endParaRPr lang="sv-SE"/>
          </a:p>
        </p:txBody>
      </p:sp>
      <p:sp>
        <p:nvSpPr>
          <p:cNvPr id="189" name="Freeform 188">
            <a:extLst>
              <a:ext uri="{FF2B5EF4-FFF2-40B4-BE49-F238E27FC236}">
                <a16:creationId xmlns:a16="http://schemas.microsoft.com/office/drawing/2014/main" id="{2D49BC57-FEA5-AC0D-A291-2F54E6AF4DE0}"/>
              </a:ext>
            </a:extLst>
          </p:cNvPr>
          <p:cNvSpPr/>
          <p:nvPr/>
        </p:nvSpPr>
        <p:spPr>
          <a:xfrm>
            <a:off x="2744206" y="4087216"/>
            <a:ext cx="9446850" cy="0"/>
          </a:xfrm>
          <a:custGeom>
            <a:avLst/>
            <a:gdLst>
              <a:gd name="connsiteX0" fmla="*/ 0 w 9446850"/>
              <a:gd name="connsiteY0" fmla="*/ 0 h 5672"/>
              <a:gd name="connsiteX1" fmla="*/ 9446851 w 9446850"/>
              <a:gd name="connsiteY1" fmla="*/ 0 h 5672"/>
            </a:gdLst>
            <a:ahLst/>
            <a:cxnLst>
              <a:cxn ang="0">
                <a:pos x="connsiteX0" y="connsiteY0"/>
              </a:cxn>
              <a:cxn ang="0">
                <a:pos x="connsiteX1" y="connsiteY1"/>
              </a:cxn>
            </a:cxnLst>
            <a:rect l="l" t="t" r="r" b="b"/>
            <a:pathLst>
              <a:path w="9446850" h="5672">
                <a:moveTo>
                  <a:pt x="0" y="0"/>
                </a:moveTo>
                <a:lnTo>
                  <a:pt x="9446851" y="0"/>
                </a:lnTo>
              </a:path>
            </a:pathLst>
          </a:custGeom>
          <a:ln w="9525" cap="flat">
            <a:solidFill>
              <a:srgbClr val="FFFFFF"/>
            </a:solidFill>
            <a:prstDash val="solid"/>
            <a:miter/>
          </a:ln>
        </p:spPr>
        <p:txBody>
          <a:bodyPr rtlCol="0" anchor="ctr"/>
          <a:lstStyle/>
          <a:p>
            <a:endParaRPr lang="sv-SE"/>
          </a:p>
        </p:txBody>
      </p:sp>
      <p:sp>
        <p:nvSpPr>
          <p:cNvPr id="190" name="Freeform 189">
            <a:extLst>
              <a:ext uri="{FF2B5EF4-FFF2-40B4-BE49-F238E27FC236}">
                <a16:creationId xmlns:a16="http://schemas.microsoft.com/office/drawing/2014/main" id="{BF94C538-71B5-F8AE-0298-D3C4FA0B49AB}"/>
              </a:ext>
            </a:extLst>
          </p:cNvPr>
          <p:cNvSpPr/>
          <p:nvPr/>
        </p:nvSpPr>
        <p:spPr>
          <a:xfrm>
            <a:off x="-5" y="4087216"/>
            <a:ext cx="2617200" cy="0"/>
          </a:xfrm>
          <a:custGeom>
            <a:avLst/>
            <a:gdLst>
              <a:gd name="connsiteX0" fmla="*/ 0 w 1318336"/>
              <a:gd name="connsiteY0" fmla="*/ 0 h 5672"/>
              <a:gd name="connsiteX1" fmla="*/ 1318337 w 1318336"/>
              <a:gd name="connsiteY1" fmla="*/ 0 h 5672"/>
            </a:gdLst>
            <a:ahLst/>
            <a:cxnLst>
              <a:cxn ang="0">
                <a:pos x="connsiteX0" y="connsiteY0"/>
              </a:cxn>
              <a:cxn ang="0">
                <a:pos x="connsiteX1" y="connsiteY1"/>
              </a:cxn>
            </a:cxnLst>
            <a:rect l="l" t="t" r="r" b="b"/>
            <a:pathLst>
              <a:path w="1318336" h="5672">
                <a:moveTo>
                  <a:pt x="0" y="0"/>
                </a:moveTo>
                <a:lnTo>
                  <a:pt x="1318337" y="0"/>
                </a:lnTo>
              </a:path>
            </a:pathLst>
          </a:custGeom>
          <a:ln w="9525" cap="flat">
            <a:solidFill>
              <a:srgbClr val="FFFFFF"/>
            </a:solidFill>
            <a:prstDash val="solid"/>
            <a:miter/>
          </a:ln>
        </p:spPr>
        <p:txBody>
          <a:bodyPr rtlCol="0" anchor="ctr"/>
          <a:lstStyle/>
          <a:p>
            <a:endParaRPr lang="sv-SE"/>
          </a:p>
        </p:txBody>
      </p:sp>
      <p:sp>
        <p:nvSpPr>
          <p:cNvPr id="256" name="Freeform 255">
            <a:extLst>
              <a:ext uri="{FF2B5EF4-FFF2-40B4-BE49-F238E27FC236}">
                <a16:creationId xmlns:a16="http://schemas.microsoft.com/office/drawing/2014/main" id="{E416F012-093D-A82B-E0E8-35EDC1B94BB8}"/>
              </a:ext>
            </a:extLst>
          </p:cNvPr>
          <p:cNvSpPr/>
          <p:nvPr/>
        </p:nvSpPr>
        <p:spPr>
          <a:xfrm>
            <a:off x="10388596"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3" name="Freeform 262">
            <a:extLst>
              <a:ext uri="{FF2B5EF4-FFF2-40B4-BE49-F238E27FC236}">
                <a16:creationId xmlns:a16="http://schemas.microsoft.com/office/drawing/2014/main" id="{A2C36793-C021-D1AB-119F-449CF7687D44}"/>
              </a:ext>
            </a:extLst>
          </p:cNvPr>
          <p:cNvSpPr/>
          <p:nvPr/>
        </p:nvSpPr>
        <p:spPr>
          <a:xfrm>
            <a:off x="10570107"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4" name="Freeform 263">
            <a:extLst>
              <a:ext uri="{FF2B5EF4-FFF2-40B4-BE49-F238E27FC236}">
                <a16:creationId xmlns:a16="http://schemas.microsoft.com/office/drawing/2014/main" id="{D35EA347-2732-6861-55C9-D24ACC766D1C}"/>
              </a:ext>
            </a:extLst>
          </p:cNvPr>
          <p:cNvSpPr/>
          <p:nvPr/>
        </p:nvSpPr>
        <p:spPr>
          <a:xfrm>
            <a:off x="10751618" y="3683014"/>
            <a:ext cx="106410" cy="347026"/>
          </a:xfrm>
          <a:custGeom>
            <a:avLst/>
            <a:gdLst>
              <a:gd name="connsiteX0" fmla="*/ 0 w 106410"/>
              <a:gd name="connsiteY0" fmla="*/ 0 h 347026"/>
              <a:gd name="connsiteX1" fmla="*/ 106411 w 106410"/>
              <a:gd name="connsiteY1" fmla="*/ 0 h 347026"/>
              <a:gd name="connsiteX2" fmla="*/ 106411 w 106410"/>
              <a:gd name="connsiteY2" fmla="*/ 347026 h 347026"/>
              <a:gd name="connsiteX3" fmla="*/ 0 w 106410"/>
              <a:gd name="connsiteY3" fmla="*/ 347026 h 347026"/>
            </a:gdLst>
            <a:ahLst/>
            <a:cxnLst>
              <a:cxn ang="0">
                <a:pos x="connsiteX0" y="connsiteY0"/>
              </a:cxn>
              <a:cxn ang="0">
                <a:pos x="connsiteX1" y="connsiteY1"/>
              </a:cxn>
              <a:cxn ang="0">
                <a:pos x="connsiteX2" y="connsiteY2"/>
              </a:cxn>
              <a:cxn ang="0">
                <a:pos x="connsiteX3" y="connsiteY3"/>
              </a:cxn>
            </a:cxnLst>
            <a:rect l="l" t="t" r="r" b="b"/>
            <a:pathLst>
              <a:path w="106410" h="347026">
                <a:moveTo>
                  <a:pt x="0" y="0"/>
                </a:moveTo>
                <a:lnTo>
                  <a:pt x="106411" y="0"/>
                </a:lnTo>
                <a:lnTo>
                  <a:pt x="106411" y="347026"/>
                </a:lnTo>
                <a:lnTo>
                  <a:pt x="0" y="347026"/>
                </a:lnTo>
                <a:close/>
              </a:path>
            </a:pathLst>
          </a:custGeom>
          <a:noFill/>
          <a:ln w="12700" cap="flat">
            <a:solidFill>
              <a:schemeClr val="tx2"/>
            </a:solidFill>
            <a:prstDash val="solid"/>
            <a:miter/>
          </a:ln>
        </p:spPr>
        <p:txBody>
          <a:bodyPr rtlCol="0" anchor="ctr"/>
          <a:lstStyle/>
          <a:p>
            <a:endParaRPr lang="sv-SE"/>
          </a:p>
        </p:txBody>
      </p:sp>
      <p:sp>
        <p:nvSpPr>
          <p:cNvPr id="265" name="Freeform 264">
            <a:extLst>
              <a:ext uri="{FF2B5EF4-FFF2-40B4-BE49-F238E27FC236}">
                <a16:creationId xmlns:a16="http://schemas.microsoft.com/office/drawing/2014/main" id="{B6407A9C-ACFB-CED0-3384-BE341C0CDEEB}"/>
              </a:ext>
            </a:extLst>
          </p:cNvPr>
          <p:cNvSpPr/>
          <p:nvPr/>
        </p:nvSpPr>
        <p:spPr>
          <a:xfrm>
            <a:off x="960271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6" name="Freeform 265">
            <a:extLst>
              <a:ext uri="{FF2B5EF4-FFF2-40B4-BE49-F238E27FC236}">
                <a16:creationId xmlns:a16="http://schemas.microsoft.com/office/drawing/2014/main" id="{12320DDE-1A53-9DB1-541B-0E320612F917}"/>
              </a:ext>
            </a:extLst>
          </p:cNvPr>
          <p:cNvSpPr/>
          <p:nvPr/>
        </p:nvSpPr>
        <p:spPr>
          <a:xfrm>
            <a:off x="955132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7" name="Freeform 266">
            <a:extLst>
              <a:ext uri="{FF2B5EF4-FFF2-40B4-BE49-F238E27FC236}">
                <a16:creationId xmlns:a16="http://schemas.microsoft.com/office/drawing/2014/main" id="{81395BD2-F613-EFC0-24B3-4DC1861C7040}"/>
              </a:ext>
            </a:extLst>
          </p:cNvPr>
          <p:cNvSpPr/>
          <p:nvPr/>
        </p:nvSpPr>
        <p:spPr>
          <a:xfrm>
            <a:off x="9499930"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68" name="Freeform 267">
            <a:extLst>
              <a:ext uri="{FF2B5EF4-FFF2-40B4-BE49-F238E27FC236}">
                <a16:creationId xmlns:a16="http://schemas.microsoft.com/office/drawing/2014/main" id="{1584D373-A8F2-5BE0-F090-06131D40CF86}"/>
              </a:ext>
            </a:extLst>
          </p:cNvPr>
          <p:cNvSpPr/>
          <p:nvPr/>
        </p:nvSpPr>
        <p:spPr>
          <a:xfrm>
            <a:off x="944853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457" name="Freeform 456">
            <a:extLst>
              <a:ext uri="{FF2B5EF4-FFF2-40B4-BE49-F238E27FC236}">
                <a16:creationId xmlns:a16="http://schemas.microsoft.com/office/drawing/2014/main" id="{93F3F65B-D64A-3D78-C1BB-E4AB277C95E8}"/>
              </a:ext>
            </a:extLst>
          </p:cNvPr>
          <p:cNvSpPr/>
          <p:nvPr/>
        </p:nvSpPr>
        <p:spPr>
          <a:xfrm>
            <a:off x="2667801" y="3680651"/>
            <a:ext cx="3815927" cy="1746228"/>
          </a:xfrm>
          <a:custGeom>
            <a:avLst/>
            <a:gdLst>
              <a:gd name="connsiteX0" fmla="*/ 16960 w 3815927"/>
              <a:gd name="connsiteY0" fmla="*/ 1718151 h 1746228"/>
              <a:gd name="connsiteX1" fmla="*/ 19626 w 3815927"/>
              <a:gd name="connsiteY1" fmla="*/ 1718945 h 1746228"/>
              <a:gd name="connsiteX2" fmla="*/ 22065 w 3815927"/>
              <a:gd name="connsiteY2" fmla="*/ 1720250 h 1746228"/>
              <a:gd name="connsiteX3" fmla="*/ 24220 w 3815927"/>
              <a:gd name="connsiteY3" fmla="*/ 1722065 h 1746228"/>
              <a:gd name="connsiteX4" fmla="*/ 25979 w 3815927"/>
              <a:gd name="connsiteY4" fmla="*/ 1724220 h 1746228"/>
              <a:gd name="connsiteX5" fmla="*/ 27283 w 3815927"/>
              <a:gd name="connsiteY5" fmla="*/ 1726659 h 1746228"/>
              <a:gd name="connsiteX6" fmla="*/ 28077 w 3815927"/>
              <a:gd name="connsiteY6" fmla="*/ 1729268 h 1746228"/>
              <a:gd name="connsiteX7" fmla="*/ 28361 w 3815927"/>
              <a:gd name="connsiteY7" fmla="*/ 1732048 h 1746228"/>
              <a:gd name="connsiteX8" fmla="*/ 24220 w 3815927"/>
              <a:gd name="connsiteY8" fmla="*/ 1742088 h 1746228"/>
              <a:gd name="connsiteX9" fmla="*/ 22065 w 3815927"/>
              <a:gd name="connsiteY9" fmla="*/ 1743846 h 1746228"/>
              <a:gd name="connsiteX10" fmla="*/ 19626 w 3815927"/>
              <a:gd name="connsiteY10" fmla="*/ 1745151 h 1746228"/>
              <a:gd name="connsiteX11" fmla="*/ 16960 w 3815927"/>
              <a:gd name="connsiteY11" fmla="*/ 1745945 h 1746228"/>
              <a:gd name="connsiteX12" fmla="*/ 14181 w 3815927"/>
              <a:gd name="connsiteY12" fmla="*/ 1746228 h 1746228"/>
              <a:gd name="connsiteX13" fmla="*/ 4141 w 3815927"/>
              <a:gd name="connsiteY13" fmla="*/ 1742088 h 1746228"/>
              <a:gd name="connsiteX14" fmla="*/ 0 w 3815927"/>
              <a:gd name="connsiteY14" fmla="*/ 1732048 h 1746228"/>
              <a:gd name="connsiteX15" fmla="*/ 284 w 3815927"/>
              <a:gd name="connsiteY15" fmla="*/ 1729268 h 1746228"/>
              <a:gd name="connsiteX16" fmla="*/ 1078 w 3815927"/>
              <a:gd name="connsiteY16" fmla="*/ 1726659 h 1746228"/>
              <a:gd name="connsiteX17" fmla="*/ 2382 w 3815927"/>
              <a:gd name="connsiteY17" fmla="*/ 1724220 h 1746228"/>
              <a:gd name="connsiteX18" fmla="*/ 4141 w 3815927"/>
              <a:gd name="connsiteY18" fmla="*/ 1722065 h 1746228"/>
              <a:gd name="connsiteX19" fmla="*/ 16960 w 3815927"/>
              <a:gd name="connsiteY19" fmla="*/ 1718151 h 1746228"/>
              <a:gd name="connsiteX20" fmla="*/ 14181 w 3815927"/>
              <a:gd name="connsiteY20" fmla="*/ 1660521 h 1746228"/>
              <a:gd name="connsiteX21" fmla="*/ 28361 w 3815927"/>
              <a:gd name="connsiteY21" fmla="*/ 1674702 h 1746228"/>
              <a:gd name="connsiteX22" fmla="*/ 14181 w 3815927"/>
              <a:gd name="connsiteY22" fmla="*/ 1688882 h 1746228"/>
              <a:gd name="connsiteX23" fmla="*/ 0 w 3815927"/>
              <a:gd name="connsiteY23" fmla="*/ 1674702 h 1746228"/>
              <a:gd name="connsiteX24" fmla="*/ 14181 w 3815927"/>
              <a:gd name="connsiteY24" fmla="*/ 1660521 h 1746228"/>
              <a:gd name="connsiteX25" fmla="*/ 14181 w 3815927"/>
              <a:gd name="connsiteY25" fmla="*/ 1603118 h 1746228"/>
              <a:gd name="connsiteX26" fmla="*/ 28361 w 3815927"/>
              <a:gd name="connsiteY26" fmla="*/ 1617299 h 1746228"/>
              <a:gd name="connsiteX27" fmla="*/ 14181 w 3815927"/>
              <a:gd name="connsiteY27" fmla="*/ 1631480 h 1746228"/>
              <a:gd name="connsiteX28" fmla="*/ 0 w 3815927"/>
              <a:gd name="connsiteY28" fmla="*/ 1617299 h 1746228"/>
              <a:gd name="connsiteX29" fmla="*/ 14181 w 3815927"/>
              <a:gd name="connsiteY29" fmla="*/ 1603118 h 1746228"/>
              <a:gd name="connsiteX30" fmla="*/ 14181 w 3815927"/>
              <a:gd name="connsiteY30" fmla="*/ 1545716 h 1746228"/>
              <a:gd name="connsiteX31" fmla="*/ 28361 w 3815927"/>
              <a:gd name="connsiteY31" fmla="*/ 1559953 h 1746228"/>
              <a:gd name="connsiteX32" fmla="*/ 14181 w 3815927"/>
              <a:gd name="connsiteY32" fmla="*/ 1574133 h 1746228"/>
              <a:gd name="connsiteX33" fmla="*/ 0 w 3815927"/>
              <a:gd name="connsiteY33" fmla="*/ 1559953 h 1746228"/>
              <a:gd name="connsiteX34" fmla="*/ 14181 w 3815927"/>
              <a:gd name="connsiteY34" fmla="*/ 1545716 h 1746228"/>
              <a:gd name="connsiteX35" fmla="*/ 14181 w 3815927"/>
              <a:gd name="connsiteY35" fmla="*/ 1488370 h 1746228"/>
              <a:gd name="connsiteX36" fmla="*/ 28361 w 3815927"/>
              <a:gd name="connsiteY36" fmla="*/ 1502550 h 1746228"/>
              <a:gd name="connsiteX37" fmla="*/ 14181 w 3815927"/>
              <a:gd name="connsiteY37" fmla="*/ 1516731 h 1746228"/>
              <a:gd name="connsiteX38" fmla="*/ 0 w 3815927"/>
              <a:gd name="connsiteY38" fmla="*/ 1502550 h 1746228"/>
              <a:gd name="connsiteX39" fmla="*/ 14181 w 3815927"/>
              <a:gd name="connsiteY39" fmla="*/ 1488370 h 1746228"/>
              <a:gd name="connsiteX40" fmla="*/ 14181 w 3815927"/>
              <a:gd name="connsiteY40" fmla="*/ 1430967 h 1746228"/>
              <a:gd name="connsiteX41" fmla="*/ 28361 w 3815927"/>
              <a:gd name="connsiteY41" fmla="*/ 1445204 h 1746228"/>
              <a:gd name="connsiteX42" fmla="*/ 14181 w 3815927"/>
              <a:gd name="connsiteY42" fmla="*/ 1459328 h 1746228"/>
              <a:gd name="connsiteX43" fmla="*/ 0 w 3815927"/>
              <a:gd name="connsiteY43" fmla="*/ 1445204 h 1746228"/>
              <a:gd name="connsiteX44" fmla="*/ 14181 w 3815927"/>
              <a:gd name="connsiteY44" fmla="*/ 1430967 h 1746228"/>
              <a:gd name="connsiteX45" fmla="*/ 14181 w 3815927"/>
              <a:gd name="connsiteY45" fmla="*/ 1373621 h 1746228"/>
              <a:gd name="connsiteX46" fmla="*/ 28361 w 3815927"/>
              <a:gd name="connsiteY46" fmla="*/ 1387801 h 1746228"/>
              <a:gd name="connsiteX47" fmla="*/ 14181 w 3815927"/>
              <a:gd name="connsiteY47" fmla="*/ 1401982 h 1746228"/>
              <a:gd name="connsiteX48" fmla="*/ 0 w 3815927"/>
              <a:gd name="connsiteY48" fmla="*/ 1387801 h 1746228"/>
              <a:gd name="connsiteX49" fmla="*/ 14181 w 3815927"/>
              <a:gd name="connsiteY49" fmla="*/ 1373621 h 1746228"/>
              <a:gd name="connsiteX50" fmla="*/ 14181 w 3815927"/>
              <a:gd name="connsiteY50" fmla="*/ 1316218 h 1746228"/>
              <a:gd name="connsiteX51" fmla="*/ 28361 w 3815927"/>
              <a:gd name="connsiteY51" fmla="*/ 1330398 h 1746228"/>
              <a:gd name="connsiteX52" fmla="*/ 14181 w 3815927"/>
              <a:gd name="connsiteY52" fmla="*/ 1344579 h 1746228"/>
              <a:gd name="connsiteX53" fmla="*/ 0 w 3815927"/>
              <a:gd name="connsiteY53" fmla="*/ 1330398 h 1746228"/>
              <a:gd name="connsiteX54" fmla="*/ 14181 w 3815927"/>
              <a:gd name="connsiteY54" fmla="*/ 1316218 h 1746228"/>
              <a:gd name="connsiteX55" fmla="*/ 14181 w 3815927"/>
              <a:gd name="connsiteY55" fmla="*/ 1258872 h 1746228"/>
              <a:gd name="connsiteX56" fmla="*/ 28361 w 3815927"/>
              <a:gd name="connsiteY56" fmla="*/ 1273052 h 1746228"/>
              <a:gd name="connsiteX57" fmla="*/ 14181 w 3815927"/>
              <a:gd name="connsiteY57" fmla="*/ 1287233 h 1746228"/>
              <a:gd name="connsiteX58" fmla="*/ 0 w 3815927"/>
              <a:gd name="connsiteY58" fmla="*/ 1273052 h 1746228"/>
              <a:gd name="connsiteX59" fmla="*/ 14181 w 3815927"/>
              <a:gd name="connsiteY59" fmla="*/ 1258872 h 1746228"/>
              <a:gd name="connsiteX60" fmla="*/ 14181 w 3815927"/>
              <a:gd name="connsiteY60" fmla="*/ 1201469 h 1746228"/>
              <a:gd name="connsiteX61" fmla="*/ 28361 w 3815927"/>
              <a:gd name="connsiteY61" fmla="*/ 1215649 h 1746228"/>
              <a:gd name="connsiteX62" fmla="*/ 14181 w 3815927"/>
              <a:gd name="connsiteY62" fmla="*/ 1229830 h 1746228"/>
              <a:gd name="connsiteX63" fmla="*/ 0 w 3815927"/>
              <a:gd name="connsiteY63" fmla="*/ 1215649 h 1746228"/>
              <a:gd name="connsiteX64" fmla="*/ 14181 w 3815927"/>
              <a:gd name="connsiteY64" fmla="*/ 1201469 h 1746228"/>
              <a:gd name="connsiteX65" fmla="*/ 14181 w 3815927"/>
              <a:gd name="connsiteY65" fmla="*/ 1144123 h 1746228"/>
              <a:gd name="connsiteX66" fmla="*/ 28361 w 3815927"/>
              <a:gd name="connsiteY66" fmla="*/ 1158303 h 1746228"/>
              <a:gd name="connsiteX67" fmla="*/ 14181 w 3815927"/>
              <a:gd name="connsiteY67" fmla="*/ 1172484 h 1746228"/>
              <a:gd name="connsiteX68" fmla="*/ 0 w 3815927"/>
              <a:gd name="connsiteY68" fmla="*/ 1158303 h 1746228"/>
              <a:gd name="connsiteX69" fmla="*/ 14181 w 3815927"/>
              <a:gd name="connsiteY69" fmla="*/ 1144123 h 1746228"/>
              <a:gd name="connsiteX70" fmla="*/ 14181 w 3815927"/>
              <a:gd name="connsiteY70" fmla="*/ 1086720 h 1746228"/>
              <a:gd name="connsiteX71" fmla="*/ 28361 w 3815927"/>
              <a:gd name="connsiteY71" fmla="*/ 1100900 h 1746228"/>
              <a:gd name="connsiteX72" fmla="*/ 14181 w 3815927"/>
              <a:gd name="connsiteY72" fmla="*/ 1115081 h 1746228"/>
              <a:gd name="connsiteX73" fmla="*/ 0 w 3815927"/>
              <a:gd name="connsiteY73" fmla="*/ 1100900 h 1746228"/>
              <a:gd name="connsiteX74" fmla="*/ 14181 w 3815927"/>
              <a:gd name="connsiteY74" fmla="*/ 1086720 h 1746228"/>
              <a:gd name="connsiteX75" fmla="*/ 14181 w 3815927"/>
              <a:gd name="connsiteY75" fmla="*/ 1029317 h 1746228"/>
              <a:gd name="connsiteX76" fmla="*/ 28361 w 3815927"/>
              <a:gd name="connsiteY76" fmla="*/ 1043498 h 1746228"/>
              <a:gd name="connsiteX77" fmla="*/ 14181 w 3815927"/>
              <a:gd name="connsiteY77" fmla="*/ 1057678 h 1746228"/>
              <a:gd name="connsiteX78" fmla="*/ 0 w 3815927"/>
              <a:gd name="connsiteY78" fmla="*/ 1043498 h 1746228"/>
              <a:gd name="connsiteX79" fmla="*/ 14181 w 3815927"/>
              <a:gd name="connsiteY79" fmla="*/ 1029317 h 1746228"/>
              <a:gd name="connsiteX80" fmla="*/ 14181 w 3815927"/>
              <a:gd name="connsiteY80" fmla="*/ 971971 h 1746228"/>
              <a:gd name="connsiteX81" fmla="*/ 28361 w 3815927"/>
              <a:gd name="connsiteY81" fmla="*/ 986152 h 1746228"/>
              <a:gd name="connsiteX82" fmla="*/ 14181 w 3815927"/>
              <a:gd name="connsiteY82" fmla="*/ 1000332 h 1746228"/>
              <a:gd name="connsiteX83" fmla="*/ 0 w 3815927"/>
              <a:gd name="connsiteY83" fmla="*/ 986152 h 1746228"/>
              <a:gd name="connsiteX84" fmla="*/ 14181 w 3815927"/>
              <a:gd name="connsiteY84" fmla="*/ 971971 h 1746228"/>
              <a:gd name="connsiteX85" fmla="*/ 14181 w 3815927"/>
              <a:gd name="connsiteY85" fmla="*/ 914568 h 1746228"/>
              <a:gd name="connsiteX86" fmla="*/ 28361 w 3815927"/>
              <a:gd name="connsiteY86" fmla="*/ 928749 h 1746228"/>
              <a:gd name="connsiteX87" fmla="*/ 14181 w 3815927"/>
              <a:gd name="connsiteY87" fmla="*/ 942929 h 1746228"/>
              <a:gd name="connsiteX88" fmla="*/ 0 w 3815927"/>
              <a:gd name="connsiteY88" fmla="*/ 928749 h 1746228"/>
              <a:gd name="connsiteX89" fmla="*/ 14181 w 3815927"/>
              <a:gd name="connsiteY89" fmla="*/ 914568 h 1746228"/>
              <a:gd name="connsiteX90" fmla="*/ 14181 w 3815927"/>
              <a:gd name="connsiteY90" fmla="*/ 857222 h 1746228"/>
              <a:gd name="connsiteX91" fmla="*/ 28361 w 3815927"/>
              <a:gd name="connsiteY91" fmla="*/ 871402 h 1746228"/>
              <a:gd name="connsiteX92" fmla="*/ 14181 w 3815927"/>
              <a:gd name="connsiteY92" fmla="*/ 885583 h 1746228"/>
              <a:gd name="connsiteX93" fmla="*/ 0 w 3815927"/>
              <a:gd name="connsiteY93" fmla="*/ 871402 h 1746228"/>
              <a:gd name="connsiteX94" fmla="*/ 14181 w 3815927"/>
              <a:gd name="connsiteY94" fmla="*/ 857222 h 1746228"/>
              <a:gd name="connsiteX95" fmla="*/ 14181 w 3815927"/>
              <a:gd name="connsiteY95" fmla="*/ 799819 h 1746228"/>
              <a:gd name="connsiteX96" fmla="*/ 28361 w 3815927"/>
              <a:gd name="connsiteY96" fmla="*/ 814000 h 1746228"/>
              <a:gd name="connsiteX97" fmla="*/ 14181 w 3815927"/>
              <a:gd name="connsiteY97" fmla="*/ 828180 h 1746228"/>
              <a:gd name="connsiteX98" fmla="*/ 0 w 3815927"/>
              <a:gd name="connsiteY98" fmla="*/ 814000 h 1746228"/>
              <a:gd name="connsiteX99" fmla="*/ 14181 w 3815927"/>
              <a:gd name="connsiteY99" fmla="*/ 799819 h 1746228"/>
              <a:gd name="connsiteX100" fmla="*/ 14181 w 3815927"/>
              <a:gd name="connsiteY100" fmla="*/ 742416 h 1746228"/>
              <a:gd name="connsiteX101" fmla="*/ 28361 w 3815927"/>
              <a:gd name="connsiteY101" fmla="*/ 756653 h 1746228"/>
              <a:gd name="connsiteX102" fmla="*/ 14181 w 3815927"/>
              <a:gd name="connsiteY102" fmla="*/ 770834 h 1746228"/>
              <a:gd name="connsiteX103" fmla="*/ 0 w 3815927"/>
              <a:gd name="connsiteY103" fmla="*/ 756653 h 1746228"/>
              <a:gd name="connsiteX104" fmla="*/ 14181 w 3815927"/>
              <a:gd name="connsiteY104" fmla="*/ 742416 h 1746228"/>
              <a:gd name="connsiteX105" fmla="*/ 14181 w 3815927"/>
              <a:gd name="connsiteY105" fmla="*/ 685070 h 1746228"/>
              <a:gd name="connsiteX106" fmla="*/ 28361 w 3815927"/>
              <a:gd name="connsiteY106" fmla="*/ 699251 h 1746228"/>
              <a:gd name="connsiteX107" fmla="*/ 14181 w 3815927"/>
              <a:gd name="connsiteY107" fmla="*/ 713431 h 1746228"/>
              <a:gd name="connsiteX108" fmla="*/ 0 w 3815927"/>
              <a:gd name="connsiteY108" fmla="*/ 699251 h 1746228"/>
              <a:gd name="connsiteX109" fmla="*/ 14181 w 3815927"/>
              <a:gd name="connsiteY109" fmla="*/ 685070 h 1746228"/>
              <a:gd name="connsiteX110" fmla="*/ 14181 w 3815927"/>
              <a:gd name="connsiteY110" fmla="*/ 627667 h 1746228"/>
              <a:gd name="connsiteX111" fmla="*/ 28361 w 3815927"/>
              <a:gd name="connsiteY111" fmla="*/ 641905 h 1746228"/>
              <a:gd name="connsiteX112" fmla="*/ 14181 w 3815927"/>
              <a:gd name="connsiteY112" fmla="*/ 656028 h 1746228"/>
              <a:gd name="connsiteX113" fmla="*/ 0 w 3815927"/>
              <a:gd name="connsiteY113" fmla="*/ 641905 h 1746228"/>
              <a:gd name="connsiteX114" fmla="*/ 14181 w 3815927"/>
              <a:gd name="connsiteY114" fmla="*/ 627667 h 1746228"/>
              <a:gd name="connsiteX115" fmla="*/ 14181 w 3815927"/>
              <a:gd name="connsiteY115" fmla="*/ 570321 h 1746228"/>
              <a:gd name="connsiteX116" fmla="*/ 28361 w 3815927"/>
              <a:gd name="connsiteY116" fmla="*/ 584502 h 1746228"/>
              <a:gd name="connsiteX117" fmla="*/ 14181 w 3815927"/>
              <a:gd name="connsiteY117" fmla="*/ 598682 h 1746228"/>
              <a:gd name="connsiteX118" fmla="*/ 0 w 3815927"/>
              <a:gd name="connsiteY118" fmla="*/ 584502 h 1746228"/>
              <a:gd name="connsiteX119" fmla="*/ 14181 w 3815927"/>
              <a:gd name="connsiteY119" fmla="*/ 570321 h 1746228"/>
              <a:gd name="connsiteX120" fmla="*/ 14181 w 3815927"/>
              <a:gd name="connsiteY120" fmla="*/ 512918 h 1746228"/>
              <a:gd name="connsiteX121" fmla="*/ 28361 w 3815927"/>
              <a:gd name="connsiteY121" fmla="*/ 527099 h 1746228"/>
              <a:gd name="connsiteX122" fmla="*/ 14181 w 3815927"/>
              <a:gd name="connsiteY122" fmla="*/ 541280 h 1746228"/>
              <a:gd name="connsiteX123" fmla="*/ 0 w 3815927"/>
              <a:gd name="connsiteY123" fmla="*/ 527099 h 1746228"/>
              <a:gd name="connsiteX124" fmla="*/ 14181 w 3815927"/>
              <a:gd name="connsiteY124" fmla="*/ 512918 h 1746228"/>
              <a:gd name="connsiteX125" fmla="*/ 14181 w 3815927"/>
              <a:gd name="connsiteY125" fmla="*/ 455572 h 1746228"/>
              <a:gd name="connsiteX126" fmla="*/ 28361 w 3815927"/>
              <a:gd name="connsiteY126" fmla="*/ 469753 h 1746228"/>
              <a:gd name="connsiteX127" fmla="*/ 14181 w 3815927"/>
              <a:gd name="connsiteY127" fmla="*/ 483933 h 1746228"/>
              <a:gd name="connsiteX128" fmla="*/ 0 w 3815927"/>
              <a:gd name="connsiteY128" fmla="*/ 469753 h 1746228"/>
              <a:gd name="connsiteX129" fmla="*/ 14181 w 3815927"/>
              <a:gd name="connsiteY129" fmla="*/ 455572 h 1746228"/>
              <a:gd name="connsiteX130" fmla="*/ 14181 w 3815927"/>
              <a:gd name="connsiteY130" fmla="*/ 398169 h 1746228"/>
              <a:gd name="connsiteX131" fmla="*/ 28361 w 3815927"/>
              <a:gd name="connsiteY131" fmla="*/ 412350 h 1746228"/>
              <a:gd name="connsiteX132" fmla="*/ 14181 w 3815927"/>
              <a:gd name="connsiteY132" fmla="*/ 426530 h 1746228"/>
              <a:gd name="connsiteX133" fmla="*/ 0 w 3815927"/>
              <a:gd name="connsiteY133" fmla="*/ 412350 h 1746228"/>
              <a:gd name="connsiteX134" fmla="*/ 14181 w 3815927"/>
              <a:gd name="connsiteY134" fmla="*/ 398169 h 1746228"/>
              <a:gd name="connsiteX135" fmla="*/ 14181 w 3815927"/>
              <a:gd name="connsiteY135" fmla="*/ 340766 h 1746228"/>
              <a:gd name="connsiteX136" fmla="*/ 28361 w 3815927"/>
              <a:gd name="connsiteY136" fmla="*/ 355004 h 1746228"/>
              <a:gd name="connsiteX137" fmla="*/ 14181 w 3815927"/>
              <a:gd name="connsiteY137" fmla="*/ 369128 h 1746228"/>
              <a:gd name="connsiteX138" fmla="*/ 0 w 3815927"/>
              <a:gd name="connsiteY138" fmla="*/ 355004 h 1746228"/>
              <a:gd name="connsiteX139" fmla="*/ 14181 w 3815927"/>
              <a:gd name="connsiteY139" fmla="*/ 340766 h 1746228"/>
              <a:gd name="connsiteX140" fmla="*/ 38684 w 3815927"/>
              <a:gd name="connsiteY140" fmla="*/ 293545 h 1746228"/>
              <a:gd name="connsiteX141" fmla="*/ 48724 w 3815927"/>
              <a:gd name="connsiteY141" fmla="*/ 297714 h 1746228"/>
              <a:gd name="connsiteX142" fmla="*/ 48724 w 3815927"/>
              <a:gd name="connsiteY142" fmla="*/ 317794 h 1746228"/>
              <a:gd name="connsiteX143" fmla="*/ 38684 w 3815927"/>
              <a:gd name="connsiteY143" fmla="*/ 321935 h 1746228"/>
              <a:gd name="connsiteX144" fmla="*/ 28645 w 3815927"/>
              <a:gd name="connsiteY144" fmla="*/ 317794 h 1746228"/>
              <a:gd name="connsiteX145" fmla="*/ 28645 w 3815927"/>
              <a:gd name="connsiteY145" fmla="*/ 297714 h 1746228"/>
              <a:gd name="connsiteX146" fmla="*/ 38684 w 3815927"/>
              <a:gd name="connsiteY146" fmla="*/ 293545 h 1746228"/>
              <a:gd name="connsiteX147" fmla="*/ 79270 w 3815927"/>
              <a:gd name="connsiteY147" fmla="*/ 252989 h 1746228"/>
              <a:gd name="connsiteX148" fmla="*/ 89281 w 3815927"/>
              <a:gd name="connsiteY148" fmla="*/ 257158 h 1746228"/>
              <a:gd name="connsiteX149" fmla="*/ 89281 w 3815927"/>
              <a:gd name="connsiteY149" fmla="*/ 277181 h 1746228"/>
              <a:gd name="connsiteX150" fmla="*/ 79298 w 3815927"/>
              <a:gd name="connsiteY150" fmla="*/ 281378 h 1746228"/>
              <a:gd name="connsiteX151" fmla="*/ 69258 w 3815927"/>
              <a:gd name="connsiteY151" fmla="*/ 277181 h 1746228"/>
              <a:gd name="connsiteX152" fmla="*/ 69258 w 3815927"/>
              <a:gd name="connsiteY152" fmla="*/ 257158 h 1746228"/>
              <a:gd name="connsiteX153" fmla="*/ 79270 w 3815927"/>
              <a:gd name="connsiteY153" fmla="*/ 252989 h 1746228"/>
              <a:gd name="connsiteX154" fmla="*/ 3743323 w 3815927"/>
              <a:gd name="connsiteY154" fmla="*/ 212688 h 1746228"/>
              <a:gd name="connsiteX155" fmla="*/ 3748882 w 3815927"/>
              <a:gd name="connsiteY155" fmla="*/ 212688 h 1746228"/>
              <a:gd name="connsiteX156" fmla="*/ 3751548 w 3815927"/>
              <a:gd name="connsiteY156" fmla="*/ 213482 h 1746228"/>
              <a:gd name="connsiteX157" fmla="*/ 3753987 w 3815927"/>
              <a:gd name="connsiteY157" fmla="*/ 214786 h 1746228"/>
              <a:gd name="connsiteX158" fmla="*/ 3756142 w 3815927"/>
              <a:gd name="connsiteY158" fmla="*/ 216601 h 1746228"/>
              <a:gd name="connsiteX159" fmla="*/ 3757901 w 3815927"/>
              <a:gd name="connsiteY159" fmla="*/ 218757 h 1746228"/>
              <a:gd name="connsiteX160" fmla="*/ 3759205 w 3815927"/>
              <a:gd name="connsiteY160" fmla="*/ 221196 h 1746228"/>
              <a:gd name="connsiteX161" fmla="*/ 3760000 w 3815927"/>
              <a:gd name="connsiteY161" fmla="*/ 223805 h 1746228"/>
              <a:gd name="connsiteX162" fmla="*/ 3760283 w 3815927"/>
              <a:gd name="connsiteY162" fmla="*/ 226585 h 1746228"/>
              <a:gd name="connsiteX163" fmla="*/ 3760000 w 3815927"/>
              <a:gd name="connsiteY163" fmla="*/ 229364 h 1746228"/>
              <a:gd name="connsiteX164" fmla="*/ 3759205 w 3815927"/>
              <a:gd name="connsiteY164" fmla="*/ 232030 h 1746228"/>
              <a:gd name="connsiteX165" fmla="*/ 3757901 w 3815927"/>
              <a:gd name="connsiteY165" fmla="*/ 234469 h 1746228"/>
              <a:gd name="connsiteX166" fmla="*/ 3756142 w 3815927"/>
              <a:gd name="connsiteY166" fmla="*/ 236625 h 1746228"/>
              <a:gd name="connsiteX167" fmla="*/ 3753987 w 3815927"/>
              <a:gd name="connsiteY167" fmla="*/ 238383 h 1746228"/>
              <a:gd name="connsiteX168" fmla="*/ 3751548 w 3815927"/>
              <a:gd name="connsiteY168" fmla="*/ 239687 h 1746228"/>
              <a:gd name="connsiteX169" fmla="*/ 3748882 w 3815927"/>
              <a:gd name="connsiteY169" fmla="*/ 240482 h 1746228"/>
              <a:gd name="connsiteX170" fmla="*/ 3746103 w 3815927"/>
              <a:gd name="connsiteY170" fmla="*/ 240765 h 1746228"/>
              <a:gd name="connsiteX171" fmla="*/ 3743323 w 3815927"/>
              <a:gd name="connsiteY171" fmla="*/ 240482 h 1746228"/>
              <a:gd name="connsiteX172" fmla="*/ 3740657 w 3815927"/>
              <a:gd name="connsiteY172" fmla="*/ 239687 h 1746228"/>
              <a:gd name="connsiteX173" fmla="*/ 3738218 w 3815927"/>
              <a:gd name="connsiteY173" fmla="*/ 238383 h 1746228"/>
              <a:gd name="connsiteX174" fmla="*/ 3736063 w 3815927"/>
              <a:gd name="connsiteY174" fmla="*/ 236625 h 1746228"/>
              <a:gd name="connsiteX175" fmla="*/ 3734304 w 3815927"/>
              <a:gd name="connsiteY175" fmla="*/ 234469 h 1746228"/>
              <a:gd name="connsiteX176" fmla="*/ 3733000 w 3815927"/>
              <a:gd name="connsiteY176" fmla="*/ 232030 h 1746228"/>
              <a:gd name="connsiteX177" fmla="*/ 3732206 w 3815927"/>
              <a:gd name="connsiteY177" fmla="*/ 229364 h 1746228"/>
              <a:gd name="connsiteX178" fmla="*/ 3731922 w 3815927"/>
              <a:gd name="connsiteY178" fmla="*/ 226585 h 1746228"/>
              <a:gd name="connsiteX179" fmla="*/ 3732206 w 3815927"/>
              <a:gd name="connsiteY179" fmla="*/ 223805 h 1746228"/>
              <a:gd name="connsiteX180" fmla="*/ 3733000 w 3815927"/>
              <a:gd name="connsiteY180" fmla="*/ 221196 h 1746228"/>
              <a:gd name="connsiteX181" fmla="*/ 3734304 w 3815927"/>
              <a:gd name="connsiteY181" fmla="*/ 218757 h 1746228"/>
              <a:gd name="connsiteX182" fmla="*/ 3736063 w 3815927"/>
              <a:gd name="connsiteY182" fmla="*/ 216601 h 1746228"/>
              <a:gd name="connsiteX183" fmla="*/ 3738218 w 3815927"/>
              <a:gd name="connsiteY183" fmla="*/ 214786 h 1746228"/>
              <a:gd name="connsiteX184" fmla="*/ 3740657 w 3815927"/>
              <a:gd name="connsiteY184" fmla="*/ 213482 h 1746228"/>
              <a:gd name="connsiteX185" fmla="*/ 3743323 w 3815927"/>
              <a:gd name="connsiteY185" fmla="*/ 212688 h 1746228"/>
              <a:gd name="connsiteX186" fmla="*/ 117074 w 3815927"/>
              <a:gd name="connsiteY186" fmla="*/ 212688 h 1746228"/>
              <a:gd name="connsiteX187" fmla="*/ 122633 w 3815927"/>
              <a:gd name="connsiteY187" fmla="*/ 212688 h 1746228"/>
              <a:gd name="connsiteX188" fmla="*/ 125242 w 3815927"/>
              <a:gd name="connsiteY188" fmla="*/ 213482 h 1746228"/>
              <a:gd name="connsiteX189" fmla="*/ 127738 w 3815927"/>
              <a:gd name="connsiteY189" fmla="*/ 214786 h 1746228"/>
              <a:gd name="connsiteX190" fmla="*/ 129893 w 3815927"/>
              <a:gd name="connsiteY190" fmla="*/ 216601 h 1746228"/>
              <a:gd name="connsiteX191" fmla="*/ 131652 w 3815927"/>
              <a:gd name="connsiteY191" fmla="*/ 218757 h 1746228"/>
              <a:gd name="connsiteX192" fmla="*/ 132956 w 3815927"/>
              <a:gd name="connsiteY192" fmla="*/ 221196 h 1746228"/>
              <a:gd name="connsiteX193" fmla="*/ 133750 w 3815927"/>
              <a:gd name="connsiteY193" fmla="*/ 223805 h 1746228"/>
              <a:gd name="connsiteX194" fmla="*/ 134034 w 3815927"/>
              <a:gd name="connsiteY194" fmla="*/ 226585 h 1746228"/>
              <a:gd name="connsiteX195" fmla="*/ 129893 w 3815927"/>
              <a:gd name="connsiteY195" fmla="*/ 236625 h 1746228"/>
              <a:gd name="connsiteX196" fmla="*/ 127738 w 3815927"/>
              <a:gd name="connsiteY196" fmla="*/ 238383 h 1746228"/>
              <a:gd name="connsiteX197" fmla="*/ 125242 w 3815927"/>
              <a:gd name="connsiteY197" fmla="*/ 239687 h 1746228"/>
              <a:gd name="connsiteX198" fmla="*/ 122633 w 3815927"/>
              <a:gd name="connsiteY198" fmla="*/ 240482 h 1746228"/>
              <a:gd name="connsiteX199" fmla="*/ 119854 w 3815927"/>
              <a:gd name="connsiteY199" fmla="*/ 240765 h 1746228"/>
              <a:gd name="connsiteX200" fmla="*/ 117074 w 3815927"/>
              <a:gd name="connsiteY200" fmla="*/ 240482 h 1746228"/>
              <a:gd name="connsiteX201" fmla="*/ 114408 w 3815927"/>
              <a:gd name="connsiteY201" fmla="*/ 239687 h 1746228"/>
              <a:gd name="connsiteX202" fmla="*/ 111969 w 3815927"/>
              <a:gd name="connsiteY202" fmla="*/ 238383 h 1746228"/>
              <a:gd name="connsiteX203" fmla="*/ 109814 w 3815927"/>
              <a:gd name="connsiteY203" fmla="*/ 236625 h 1746228"/>
              <a:gd name="connsiteX204" fmla="*/ 108055 w 3815927"/>
              <a:gd name="connsiteY204" fmla="*/ 234469 h 1746228"/>
              <a:gd name="connsiteX205" fmla="*/ 106751 w 3815927"/>
              <a:gd name="connsiteY205" fmla="*/ 232030 h 1746228"/>
              <a:gd name="connsiteX206" fmla="*/ 105957 w 3815927"/>
              <a:gd name="connsiteY206" fmla="*/ 229364 h 1746228"/>
              <a:gd name="connsiteX207" fmla="*/ 105673 w 3815927"/>
              <a:gd name="connsiteY207" fmla="*/ 226585 h 1746228"/>
              <a:gd name="connsiteX208" fmla="*/ 105957 w 3815927"/>
              <a:gd name="connsiteY208" fmla="*/ 223805 h 1746228"/>
              <a:gd name="connsiteX209" fmla="*/ 106751 w 3815927"/>
              <a:gd name="connsiteY209" fmla="*/ 221196 h 1746228"/>
              <a:gd name="connsiteX210" fmla="*/ 108055 w 3815927"/>
              <a:gd name="connsiteY210" fmla="*/ 218757 h 1746228"/>
              <a:gd name="connsiteX211" fmla="*/ 109814 w 3815927"/>
              <a:gd name="connsiteY211" fmla="*/ 216601 h 1746228"/>
              <a:gd name="connsiteX212" fmla="*/ 111969 w 3815927"/>
              <a:gd name="connsiteY212" fmla="*/ 214786 h 1746228"/>
              <a:gd name="connsiteX213" fmla="*/ 114408 w 3815927"/>
              <a:gd name="connsiteY213" fmla="*/ 213482 h 1746228"/>
              <a:gd name="connsiteX214" fmla="*/ 117074 w 3815927"/>
              <a:gd name="connsiteY214" fmla="*/ 212688 h 1746228"/>
              <a:gd name="connsiteX215" fmla="*/ 3801768 w 3815927"/>
              <a:gd name="connsiteY215" fmla="*/ 212602 h 1746228"/>
              <a:gd name="connsiteX216" fmla="*/ 3811786 w 3815927"/>
              <a:gd name="connsiteY216" fmla="*/ 216601 h 1746228"/>
              <a:gd name="connsiteX217" fmla="*/ 3813545 w 3815927"/>
              <a:gd name="connsiteY217" fmla="*/ 218756 h 1746228"/>
              <a:gd name="connsiteX218" fmla="*/ 3814849 w 3815927"/>
              <a:gd name="connsiteY218" fmla="*/ 221195 h 1746228"/>
              <a:gd name="connsiteX219" fmla="*/ 3815644 w 3815927"/>
              <a:gd name="connsiteY219" fmla="*/ 223805 h 1746228"/>
              <a:gd name="connsiteX220" fmla="*/ 3815927 w 3815927"/>
              <a:gd name="connsiteY220" fmla="*/ 226584 h 1746228"/>
              <a:gd name="connsiteX221" fmla="*/ 3815644 w 3815927"/>
              <a:gd name="connsiteY221" fmla="*/ 229363 h 1746228"/>
              <a:gd name="connsiteX222" fmla="*/ 3814849 w 3815927"/>
              <a:gd name="connsiteY222" fmla="*/ 232030 h 1746228"/>
              <a:gd name="connsiteX223" fmla="*/ 3813545 w 3815927"/>
              <a:gd name="connsiteY223" fmla="*/ 234469 h 1746228"/>
              <a:gd name="connsiteX224" fmla="*/ 3811786 w 3815927"/>
              <a:gd name="connsiteY224" fmla="*/ 236624 h 1746228"/>
              <a:gd name="connsiteX225" fmla="*/ 3801747 w 3815927"/>
              <a:gd name="connsiteY225" fmla="*/ 240765 h 1746228"/>
              <a:gd name="connsiteX226" fmla="*/ 3791707 w 3815927"/>
              <a:gd name="connsiteY226" fmla="*/ 236624 h 1746228"/>
              <a:gd name="connsiteX227" fmla="*/ 3787566 w 3815927"/>
              <a:gd name="connsiteY227" fmla="*/ 226584 h 1746228"/>
              <a:gd name="connsiteX228" fmla="*/ 3787850 w 3815927"/>
              <a:gd name="connsiteY228" fmla="*/ 223805 h 1746228"/>
              <a:gd name="connsiteX229" fmla="*/ 3788644 w 3815927"/>
              <a:gd name="connsiteY229" fmla="*/ 221195 h 1746228"/>
              <a:gd name="connsiteX230" fmla="*/ 3789948 w 3815927"/>
              <a:gd name="connsiteY230" fmla="*/ 218756 h 1746228"/>
              <a:gd name="connsiteX231" fmla="*/ 3791707 w 3815927"/>
              <a:gd name="connsiteY231" fmla="*/ 216601 h 1746228"/>
              <a:gd name="connsiteX232" fmla="*/ 3801768 w 3815927"/>
              <a:gd name="connsiteY232" fmla="*/ 212602 h 1746228"/>
              <a:gd name="connsiteX233" fmla="*/ 3689437 w 3815927"/>
              <a:gd name="connsiteY233" fmla="*/ 212404 h 1746228"/>
              <a:gd name="connsiteX234" fmla="*/ 3703618 w 3815927"/>
              <a:gd name="connsiteY234" fmla="*/ 226585 h 1746228"/>
              <a:gd name="connsiteX235" fmla="*/ 3689437 w 3815927"/>
              <a:gd name="connsiteY235" fmla="*/ 240765 h 1746228"/>
              <a:gd name="connsiteX236" fmla="*/ 3675257 w 3815927"/>
              <a:gd name="connsiteY236" fmla="*/ 226585 h 1746228"/>
              <a:gd name="connsiteX237" fmla="*/ 3689437 w 3815927"/>
              <a:gd name="connsiteY237" fmla="*/ 212404 h 1746228"/>
              <a:gd name="connsiteX238" fmla="*/ 3632772 w 3815927"/>
              <a:gd name="connsiteY238" fmla="*/ 212404 h 1746228"/>
              <a:gd name="connsiteX239" fmla="*/ 3646952 w 3815927"/>
              <a:gd name="connsiteY239" fmla="*/ 226585 h 1746228"/>
              <a:gd name="connsiteX240" fmla="*/ 3632772 w 3815927"/>
              <a:gd name="connsiteY240" fmla="*/ 240765 h 1746228"/>
              <a:gd name="connsiteX241" fmla="*/ 3618591 w 3815927"/>
              <a:gd name="connsiteY241" fmla="*/ 226585 h 1746228"/>
              <a:gd name="connsiteX242" fmla="*/ 3632772 w 3815927"/>
              <a:gd name="connsiteY242" fmla="*/ 212404 h 1746228"/>
              <a:gd name="connsiteX243" fmla="*/ 3576106 w 3815927"/>
              <a:gd name="connsiteY243" fmla="*/ 212404 h 1746228"/>
              <a:gd name="connsiteX244" fmla="*/ 3590287 w 3815927"/>
              <a:gd name="connsiteY244" fmla="*/ 226585 h 1746228"/>
              <a:gd name="connsiteX245" fmla="*/ 3576106 w 3815927"/>
              <a:gd name="connsiteY245" fmla="*/ 240765 h 1746228"/>
              <a:gd name="connsiteX246" fmla="*/ 3561926 w 3815927"/>
              <a:gd name="connsiteY246" fmla="*/ 226585 h 1746228"/>
              <a:gd name="connsiteX247" fmla="*/ 3576106 w 3815927"/>
              <a:gd name="connsiteY247" fmla="*/ 212404 h 1746228"/>
              <a:gd name="connsiteX248" fmla="*/ 3519441 w 3815927"/>
              <a:gd name="connsiteY248" fmla="*/ 212404 h 1746228"/>
              <a:gd name="connsiteX249" fmla="*/ 3533621 w 3815927"/>
              <a:gd name="connsiteY249" fmla="*/ 226585 h 1746228"/>
              <a:gd name="connsiteX250" fmla="*/ 3519441 w 3815927"/>
              <a:gd name="connsiteY250" fmla="*/ 240765 h 1746228"/>
              <a:gd name="connsiteX251" fmla="*/ 3505260 w 3815927"/>
              <a:gd name="connsiteY251" fmla="*/ 226585 h 1746228"/>
              <a:gd name="connsiteX252" fmla="*/ 3519441 w 3815927"/>
              <a:gd name="connsiteY252" fmla="*/ 212404 h 1746228"/>
              <a:gd name="connsiteX253" fmla="*/ 3462832 w 3815927"/>
              <a:gd name="connsiteY253" fmla="*/ 212404 h 1746228"/>
              <a:gd name="connsiteX254" fmla="*/ 3477013 w 3815927"/>
              <a:gd name="connsiteY254" fmla="*/ 226585 h 1746228"/>
              <a:gd name="connsiteX255" fmla="*/ 3462832 w 3815927"/>
              <a:gd name="connsiteY255" fmla="*/ 240765 h 1746228"/>
              <a:gd name="connsiteX256" fmla="*/ 3448652 w 3815927"/>
              <a:gd name="connsiteY256" fmla="*/ 226585 h 1746228"/>
              <a:gd name="connsiteX257" fmla="*/ 3462832 w 3815927"/>
              <a:gd name="connsiteY257" fmla="*/ 212404 h 1746228"/>
              <a:gd name="connsiteX258" fmla="*/ 3406167 w 3815927"/>
              <a:gd name="connsiteY258" fmla="*/ 212404 h 1746228"/>
              <a:gd name="connsiteX259" fmla="*/ 3420347 w 3815927"/>
              <a:gd name="connsiteY259" fmla="*/ 226585 h 1746228"/>
              <a:gd name="connsiteX260" fmla="*/ 3406167 w 3815927"/>
              <a:gd name="connsiteY260" fmla="*/ 240765 h 1746228"/>
              <a:gd name="connsiteX261" fmla="*/ 3391929 w 3815927"/>
              <a:gd name="connsiteY261" fmla="*/ 226585 h 1746228"/>
              <a:gd name="connsiteX262" fmla="*/ 3406167 w 3815927"/>
              <a:gd name="connsiteY262" fmla="*/ 212404 h 1746228"/>
              <a:gd name="connsiteX263" fmla="*/ 3349501 w 3815927"/>
              <a:gd name="connsiteY263" fmla="*/ 212404 h 1746228"/>
              <a:gd name="connsiteX264" fmla="*/ 3363682 w 3815927"/>
              <a:gd name="connsiteY264" fmla="*/ 226585 h 1746228"/>
              <a:gd name="connsiteX265" fmla="*/ 3349501 w 3815927"/>
              <a:gd name="connsiteY265" fmla="*/ 240765 h 1746228"/>
              <a:gd name="connsiteX266" fmla="*/ 3335321 w 3815927"/>
              <a:gd name="connsiteY266" fmla="*/ 226585 h 1746228"/>
              <a:gd name="connsiteX267" fmla="*/ 3349501 w 3815927"/>
              <a:gd name="connsiteY267" fmla="*/ 212404 h 1746228"/>
              <a:gd name="connsiteX268" fmla="*/ 3292836 w 3815927"/>
              <a:gd name="connsiteY268" fmla="*/ 212404 h 1746228"/>
              <a:gd name="connsiteX269" fmla="*/ 3307016 w 3815927"/>
              <a:gd name="connsiteY269" fmla="*/ 226585 h 1746228"/>
              <a:gd name="connsiteX270" fmla="*/ 3292836 w 3815927"/>
              <a:gd name="connsiteY270" fmla="*/ 240765 h 1746228"/>
              <a:gd name="connsiteX271" fmla="*/ 3278655 w 3815927"/>
              <a:gd name="connsiteY271" fmla="*/ 226585 h 1746228"/>
              <a:gd name="connsiteX272" fmla="*/ 3292836 w 3815927"/>
              <a:gd name="connsiteY272" fmla="*/ 212404 h 1746228"/>
              <a:gd name="connsiteX273" fmla="*/ 3236170 w 3815927"/>
              <a:gd name="connsiteY273" fmla="*/ 212404 h 1746228"/>
              <a:gd name="connsiteX274" fmla="*/ 3250351 w 3815927"/>
              <a:gd name="connsiteY274" fmla="*/ 226585 h 1746228"/>
              <a:gd name="connsiteX275" fmla="*/ 3236170 w 3815927"/>
              <a:gd name="connsiteY275" fmla="*/ 240765 h 1746228"/>
              <a:gd name="connsiteX276" fmla="*/ 3221990 w 3815927"/>
              <a:gd name="connsiteY276" fmla="*/ 226585 h 1746228"/>
              <a:gd name="connsiteX277" fmla="*/ 3236170 w 3815927"/>
              <a:gd name="connsiteY277" fmla="*/ 212404 h 1746228"/>
              <a:gd name="connsiteX278" fmla="*/ 3179505 w 3815927"/>
              <a:gd name="connsiteY278" fmla="*/ 212404 h 1746228"/>
              <a:gd name="connsiteX279" fmla="*/ 3193685 w 3815927"/>
              <a:gd name="connsiteY279" fmla="*/ 226585 h 1746228"/>
              <a:gd name="connsiteX280" fmla="*/ 3179505 w 3815927"/>
              <a:gd name="connsiteY280" fmla="*/ 240765 h 1746228"/>
              <a:gd name="connsiteX281" fmla="*/ 3165324 w 3815927"/>
              <a:gd name="connsiteY281" fmla="*/ 226585 h 1746228"/>
              <a:gd name="connsiteX282" fmla="*/ 3179505 w 3815927"/>
              <a:gd name="connsiteY282" fmla="*/ 212404 h 1746228"/>
              <a:gd name="connsiteX283" fmla="*/ 3122839 w 3815927"/>
              <a:gd name="connsiteY283" fmla="*/ 212404 h 1746228"/>
              <a:gd name="connsiteX284" fmla="*/ 3137020 w 3815927"/>
              <a:gd name="connsiteY284" fmla="*/ 226585 h 1746228"/>
              <a:gd name="connsiteX285" fmla="*/ 3122839 w 3815927"/>
              <a:gd name="connsiteY285" fmla="*/ 240765 h 1746228"/>
              <a:gd name="connsiteX286" fmla="*/ 3108659 w 3815927"/>
              <a:gd name="connsiteY286" fmla="*/ 226585 h 1746228"/>
              <a:gd name="connsiteX287" fmla="*/ 3122839 w 3815927"/>
              <a:gd name="connsiteY287" fmla="*/ 212404 h 1746228"/>
              <a:gd name="connsiteX288" fmla="*/ 3066174 w 3815927"/>
              <a:gd name="connsiteY288" fmla="*/ 212404 h 1746228"/>
              <a:gd name="connsiteX289" fmla="*/ 3080355 w 3815927"/>
              <a:gd name="connsiteY289" fmla="*/ 226585 h 1746228"/>
              <a:gd name="connsiteX290" fmla="*/ 3066174 w 3815927"/>
              <a:gd name="connsiteY290" fmla="*/ 240765 h 1746228"/>
              <a:gd name="connsiteX291" fmla="*/ 3051993 w 3815927"/>
              <a:gd name="connsiteY291" fmla="*/ 226585 h 1746228"/>
              <a:gd name="connsiteX292" fmla="*/ 3066174 w 3815927"/>
              <a:gd name="connsiteY292" fmla="*/ 212404 h 1746228"/>
              <a:gd name="connsiteX293" fmla="*/ 3009509 w 3815927"/>
              <a:gd name="connsiteY293" fmla="*/ 212404 h 1746228"/>
              <a:gd name="connsiteX294" fmla="*/ 3023689 w 3815927"/>
              <a:gd name="connsiteY294" fmla="*/ 226585 h 1746228"/>
              <a:gd name="connsiteX295" fmla="*/ 3009509 w 3815927"/>
              <a:gd name="connsiteY295" fmla="*/ 240765 h 1746228"/>
              <a:gd name="connsiteX296" fmla="*/ 2995328 w 3815927"/>
              <a:gd name="connsiteY296" fmla="*/ 226585 h 1746228"/>
              <a:gd name="connsiteX297" fmla="*/ 3009509 w 3815927"/>
              <a:gd name="connsiteY297" fmla="*/ 212404 h 1746228"/>
              <a:gd name="connsiteX298" fmla="*/ 2952843 w 3815927"/>
              <a:gd name="connsiteY298" fmla="*/ 212404 h 1746228"/>
              <a:gd name="connsiteX299" fmla="*/ 2967024 w 3815927"/>
              <a:gd name="connsiteY299" fmla="*/ 226585 h 1746228"/>
              <a:gd name="connsiteX300" fmla="*/ 2952843 w 3815927"/>
              <a:gd name="connsiteY300" fmla="*/ 240765 h 1746228"/>
              <a:gd name="connsiteX301" fmla="*/ 2938663 w 3815927"/>
              <a:gd name="connsiteY301" fmla="*/ 226585 h 1746228"/>
              <a:gd name="connsiteX302" fmla="*/ 2952843 w 3815927"/>
              <a:gd name="connsiteY302" fmla="*/ 212404 h 1746228"/>
              <a:gd name="connsiteX303" fmla="*/ 2896177 w 3815927"/>
              <a:gd name="connsiteY303" fmla="*/ 212404 h 1746228"/>
              <a:gd name="connsiteX304" fmla="*/ 2910358 w 3815927"/>
              <a:gd name="connsiteY304" fmla="*/ 226585 h 1746228"/>
              <a:gd name="connsiteX305" fmla="*/ 2896177 w 3815927"/>
              <a:gd name="connsiteY305" fmla="*/ 240765 h 1746228"/>
              <a:gd name="connsiteX306" fmla="*/ 2881997 w 3815927"/>
              <a:gd name="connsiteY306" fmla="*/ 226585 h 1746228"/>
              <a:gd name="connsiteX307" fmla="*/ 2896177 w 3815927"/>
              <a:gd name="connsiteY307" fmla="*/ 212404 h 1746228"/>
              <a:gd name="connsiteX308" fmla="*/ 2839569 w 3815927"/>
              <a:gd name="connsiteY308" fmla="*/ 212404 h 1746228"/>
              <a:gd name="connsiteX309" fmla="*/ 2853693 w 3815927"/>
              <a:gd name="connsiteY309" fmla="*/ 226585 h 1746228"/>
              <a:gd name="connsiteX310" fmla="*/ 2839569 w 3815927"/>
              <a:gd name="connsiteY310" fmla="*/ 240765 h 1746228"/>
              <a:gd name="connsiteX311" fmla="*/ 2825388 w 3815927"/>
              <a:gd name="connsiteY311" fmla="*/ 226585 h 1746228"/>
              <a:gd name="connsiteX312" fmla="*/ 2839569 w 3815927"/>
              <a:gd name="connsiteY312" fmla="*/ 212404 h 1746228"/>
              <a:gd name="connsiteX313" fmla="*/ 2782847 w 3815927"/>
              <a:gd name="connsiteY313" fmla="*/ 212404 h 1746228"/>
              <a:gd name="connsiteX314" fmla="*/ 2797084 w 3815927"/>
              <a:gd name="connsiteY314" fmla="*/ 226585 h 1746228"/>
              <a:gd name="connsiteX315" fmla="*/ 2782847 w 3815927"/>
              <a:gd name="connsiteY315" fmla="*/ 240765 h 1746228"/>
              <a:gd name="connsiteX316" fmla="*/ 2768723 w 3815927"/>
              <a:gd name="connsiteY316" fmla="*/ 226585 h 1746228"/>
              <a:gd name="connsiteX317" fmla="*/ 2782847 w 3815927"/>
              <a:gd name="connsiteY317" fmla="*/ 212404 h 1746228"/>
              <a:gd name="connsiteX318" fmla="*/ 2726238 w 3815927"/>
              <a:gd name="connsiteY318" fmla="*/ 212404 h 1746228"/>
              <a:gd name="connsiteX319" fmla="*/ 2740419 w 3815927"/>
              <a:gd name="connsiteY319" fmla="*/ 226585 h 1746228"/>
              <a:gd name="connsiteX320" fmla="*/ 2726238 w 3815927"/>
              <a:gd name="connsiteY320" fmla="*/ 240765 h 1746228"/>
              <a:gd name="connsiteX321" fmla="*/ 2712058 w 3815927"/>
              <a:gd name="connsiteY321" fmla="*/ 226585 h 1746228"/>
              <a:gd name="connsiteX322" fmla="*/ 2726238 w 3815927"/>
              <a:gd name="connsiteY322" fmla="*/ 212404 h 1746228"/>
              <a:gd name="connsiteX323" fmla="*/ 2669573 w 3815927"/>
              <a:gd name="connsiteY323" fmla="*/ 212404 h 1746228"/>
              <a:gd name="connsiteX324" fmla="*/ 2683753 w 3815927"/>
              <a:gd name="connsiteY324" fmla="*/ 226585 h 1746228"/>
              <a:gd name="connsiteX325" fmla="*/ 2669573 w 3815927"/>
              <a:gd name="connsiteY325" fmla="*/ 240765 h 1746228"/>
              <a:gd name="connsiteX326" fmla="*/ 2655392 w 3815927"/>
              <a:gd name="connsiteY326" fmla="*/ 226585 h 1746228"/>
              <a:gd name="connsiteX327" fmla="*/ 2669573 w 3815927"/>
              <a:gd name="connsiteY327" fmla="*/ 212404 h 1746228"/>
              <a:gd name="connsiteX328" fmla="*/ 2612907 w 3815927"/>
              <a:gd name="connsiteY328" fmla="*/ 212404 h 1746228"/>
              <a:gd name="connsiteX329" fmla="*/ 2627087 w 3815927"/>
              <a:gd name="connsiteY329" fmla="*/ 226585 h 1746228"/>
              <a:gd name="connsiteX330" fmla="*/ 2612907 w 3815927"/>
              <a:gd name="connsiteY330" fmla="*/ 240765 h 1746228"/>
              <a:gd name="connsiteX331" fmla="*/ 2598726 w 3815927"/>
              <a:gd name="connsiteY331" fmla="*/ 226585 h 1746228"/>
              <a:gd name="connsiteX332" fmla="*/ 2612907 w 3815927"/>
              <a:gd name="connsiteY332" fmla="*/ 212404 h 1746228"/>
              <a:gd name="connsiteX333" fmla="*/ 2556242 w 3815927"/>
              <a:gd name="connsiteY333" fmla="*/ 212404 h 1746228"/>
              <a:gd name="connsiteX334" fmla="*/ 2570422 w 3815927"/>
              <a:gd name="connsiteY334" fmla="*/ 226585 h 1746228"/>
              <a:gd name="connsiteX335" fmla="*/ 2556242 w 3815927"/>
              <a:gd name="connsiteY335" fmla="*/ 240765 h 1746228"/>
              <a:gd name="connsiteX336" fmla="*/ 2542061 w 3815927"/>
              <a:gd name="connsiteY336" fmla="*/ 226585 h 1746228"/>
              <a:gd name="connsiteX337" fmla="*/ 2556242 w 3815927"/>
              <a:gd name="connsiteY337" fmla="*/ 212404 h 1746228"/>
              <a:gd name="connsiteX338" fmla="*/ 2499576 w 3815927"/>
              <a:gd name="connsiteY338" fmla="*/ 212404 h 1746228"/>
              <a:gd name="connsiteX339" fmla="*/ 2513757 w 3815927"/>
              <a:gd name="connsiteY339" fmla="*/ 226585 h 1746228"/>
              <a:gd name="connsiteX340" fmla="*/ 2499576 w 3815927"/>
              <a:gd name="connsiteY340" fmla="*/ 240765 h 1746228"/>
              <a:gd name="connsiteX341" fmla="*/ 2485396 w 3815927"/>
              <a:gd name="connsiteY341" fmla="*/ 226585 h 1746228"/>
              <a:gd name="connsiteX342" fmla="*/ 2499576 w 3815927"/>
              <a:gd name="connsiteY342" fmla="*/ 212404 h 1746228"/>
              <a:gd name="connsiteX343" fmla="*/ 2442911 w 3815927"/>
              <a:gd name="connsiteY343" fmla="*/ 212404 h 1746228"/>
              <a:gd name="connsiteX344" fmla="*/ 2457091 w 3815927"/>
              <a:gd name="connsiteY344" fmla="*/ 226585 h 1746228"/>
              <a:gd name="connsiteX345" fmla="*/ 2442911 w 3815927"/>
              <a:gd name="connsiteY345" fmla="*/ 240765 h 1746228"/>
              <a:gd name="connsiteX346" fmla="*/ 2428730 w 3815927"/>
              <a:gd name="connsiteY346" fmla="*/ 226585 h 1746228"/>
              <a:gd name="connsiteX347" fmla="*/ 2442911 w 3815927"/>
              <a:gd name="connsiteY347" fmla="*/ 212404 h 1746228"/>
              <a:gd name="connsiteX348" fmla="*/ 2386245 w 3815927"/>
              <a:gd name="connsiteY348" fmla="*/ 212404 h 1746228"/>
              <a:gd name="connsiteX349" fmla="*/ 2400426 w 3815927"/>
              <a:gd name="connsiteY349" fmla="*/ 226585 h 1746228"/>
              <a:gd name="connsiteX350" fmla="*/ 2386245 w 3815927"/>
              <a:gd name="connsiteY350" fmla="*/ 240765 h 1746228"/>
              <a:gd name="connsiteX351" fmla="*/ 2372065 w 3815927"/>
              <a:gd name="connsiteY351" fmla="*/ 226585 h 1746228"/>
              <a:gd name="connsiteX352" fmla="*/ 2386245 w 3815927"/>
              <a:gd name="connsiteY352" fmla="*/ 212404 h 1746228"/>
              <a:gd name="connsiteX353" fmla="*/ 2329580 w 3815927"/>
              <a:gd name="connsiteY353" fmla="*/ 212404 h 1746228"/>
              <a:gd name="connsiteX354" fmla="*/ 2343761 w 3815927"/>
              <a:gd name="connsiteY354" fmla="*/ 226585 h 1746228"/>
              <a:gd name="connsiteX355" fmla="*/ 2329580 w 3815927"/>
              <a:gd name="connsiteY355" fmla="*/ 240765 h 1746228"/>
              <a:gd name="connsiteX356" fmla="*/ 2315399 w 3815927"/>
              <a:gd name="connsiteY356" fmla="*/ 226585 h 1746228"/>
              <a:gd name="connsiteX357" fmla="*/ 2329580 w 3815927"/>
              <a:gd name="connsiteY357" fmla="*/ 212404 h 1746228"/>
              <a:gd name="connsiteX358" fmla="*/ 2272915 w 3815927"/>
              <a:gd name="connsiteY358" fmla="*/ 212404 h 1746228"/>
              <a:gd name="connsiteX359" fmla="*/ 2287095 w 3815927"/>
              <a:gd name="connsiteY359" fmla="*/ 226585 h 1746228"/>
              <a:gd name="connsiteX360" fmla="*/ 2272915 w 3815927"/>
              <a:gd name="connsiteY360" fmla="*/ 240765 h 1746228"/>
              <a:gd name="connsiteX361" fmla="*/ 2258734 w 3815927"/>
              <a:gd name="connsiteY361" fmla="*/ 226585 h 1746228"/>
              <a:gd name="connsiteX362" fmla="*/ 2272915 w 3815927"/>
              <a:gd name="connsiteY362" fmla="*/ 212404 h 1746228"/>
              <a:gd name="connsiteX363" fmla="*/ 2216306 w 3815927"/>
              <a:gd name="connsiteY363" fmla="*/ 212404 h 1746228"/>
              <a:gd name="connsiteX364" fmla="*/ 2230429 w 3815927"/>
              <a:gd name="connsiteY364" fmla="*/ 226585 h 1746228"/>
              <a:gd name="connsiteX365" fmla="*/ 2216306 w 3815927"/>
              <a:gd name="connsiteY365" fmla="*/ 240765 h 1746228"/>
              <a:gd name="connsiteX366" fmla="*/ 2202125 w 3815927"/>
              <a:gd name="connsiteY366" fmla="*/ 226585 h 1746228"/>
              <a:gd name="connsiteX367" fmla="*/ 2216306 w 3815927"/>
              <a:gd name="connsiteY367" fmla="*/ 212404 h 1746228"/>
              <a:gd name="connsiteX368" fmla="*/ 2159640 w 3815927"/>
              <a:gd name="connsiteY368" fmla="*/ 212404 h 1746228"/>
              <a:gd name="connsiteX369" fmla="*/ 2173821 w 3815927"/>
              <a:gd name="connsiteY369" fmla="*/ 226585 h 1746228"/>
              <a:gd name="connsiteX370" fmla="*/ 2159640 w 3815927"/>
              <a:gd name="connsiteY370" fmla="*/ 240765 h 1746228"/>
              <a:gd name="connsiteX371" fmla="*/ 2145403 w 3815927"/>
              <a:gd name="connsiteY371" fmla="*/ 226585 h 1746228"/>
              <a:gd name="connsiteX372" fmla="*/ 2159640 w 3815927"/>
              <a:gd name="connsiteY372" fmla="*/ 212404 h 1746228"/>
              <a:gd name="connsiteX373" fmla="*/ 2102975 w 3815927"/>
              <a:gd name="connsiteY373" fmla="*/ 212404 h 1746228"/>
              <a:gd name="connsiteX374" fmla="*/ 2117155 w 3815927"/>
              <a:gd name="connsiteY374" fmla="*/ 226585 h 1746228"/>
              <a:gd name="connsiteX375" fmla="*/ 2102975 w 3815927"/>
              <a:gd name="connsiteY375" fmla="*/ 240765 h 1746228"/>
              <a:gd name="connsiteX376" fmla="*/ 2088794 w 3815927"/>
              <a:gd name="connsiteY376" fmla="*/ 226585 h 1746228"/>
              <a:gd name="connsiteX377" fmla="*/ 2102975 w 3815927"/>
              <a:gd name="connsiteY377" fmla="*/ 212404 h 1746228"/>
              <a:gd name="connsiteX378" fmla="*/ 2046309 w 3815927"/>
              <a:gd name="connsiteY378" fmla="*/ 212404 h 1746228"/>
              <a:gd name="connsiteX379" fmla="*/ 2060490 w 3815927"/>
              <a:gd name="connsiteY379" fmla="*/ 226585 h 1746228"/>
              <a:gd name="connsiteX380" fmla="*/ 2046309 w 3815927"/>
              <a:gd name="connsiteY380" fmla="*/ 240765 h 1746228"/>
              <a:gd name="connsiteX381" fmla="*/ 2032129 w 3815927"/>
              <a:gd name="connsiteY381" fmla="*/ 226585 h 1746228"/>
              <a:gd name="connsiteX382" fmla="*/ 2046309 w 3815927"/>
              <a:gd name="connsiteY382" fmla="*/ 212404 h 1746228"/>
              <a:gd name="connsiteX383" fmla="*/ 1989644 w 3815927"/>
              <a:gd name="connsiteY383" fmla="*/ 212404 h 1746228"/>
              <a:gd name="connsiteX384" fmla="*/ 2003825 w 3815927"/>
              <a:gd name="connsiteY384" fmla="*/ 226585 h 1746228"/>
              <a:gd name="connsiteX385" fmla="*/ 1989644 w 3815927"/>
              <a:gd name="connsiteY385" fmla="*/ 240765 h 1746228"/>
              <a:gd name="connsiteX386" fmla="*/ 1975463 w 3815927"/>
              <a:gd name="connsiteY386" fmla="*/ 226585 h 1746228"/>
              <a:gd name="connsiteX387" fmla="*/ 1989644 w 3815927"/>
              <a:gd name="connsiteY387" fmla="*/ 212404 h 1746228"/>
              <a:gd name="connsiteX388" fmla="*/ 1932978 w 3815927"/>
              <a:gd name="connsiteY388" fmla="*/ 212404 h 1746228"/>
              <a:gd name="connsiteX389" fmla="*/ 1947159 w 3815927"/>
              <a:gd name="connsiteY389" fmla="*/ 226585 h 1746228"/>
              <a:gd name="connsiteX390" fmla="*/ 1932978 w 3815927"/>
              <a:gd name="connsiteY390" fmla="*/ 240765 h 1746228"/>
              <a:gd name="connsiteX391" fmla="*/ 1918798 w 3815927"/>
              <a:gd name="connsiteY391" fmla="*/ 226585 h 1746228"/>
              <a:gd name="connsiteX392" fmla="*/ 1932978 w 3815927"/>
              <a:gd name="connsiteY392" fmla="*/ 212404 h 1746228"/>
              <a:gd name="connsiteX393" fmla="*/ 1876313 w 3815927"/>
              <a:gd name="connsiteY393" fmla="*/ 212404 h 1746228"/>
              <a:gd name="connsiteX394" fmla="*/ 1890493 w 3815927"/>
              <a:gd name="connsiteY394" fmla="*/ 226585 h 1746228"/>
              <a:gd name="connsiteX395" fmla="*/ 1876313 w 3815927"/>
              <a:gd name="connsiteY395" fmla="*/ 240765 h 1746228"/>
              <a:gd name="connsiteX396" fmla="*/ 1862132 w 3815927"/>
              <a:gd name="connsiteY396" fmla="*/ 226585 h 1746228"/>
              <a:gd name="connsiteX397" fmla="*/ 1876313 w 3815927"/>
              <a:gd name="connsiteY397" fmla="*/ 212404 h 1746228"/>
              <a:gd name="connsiteX398" fmla="*/ 1819647 w 3815927"/>
              <a:gd name="connsiteY398" fmla="*/ 212404 h 1746228"/>
              <a:gd name="connsiteX399" fmla="*/ 1833828 w 3815927"/>
              <a:gd name="connsiteY399" fmla="*/ 226585 h 1746228"/>
              <a:gd name="connsiteX400" fmla="*/ 1819647 w 3815927"/>
              <a:gd name="connsiteY400" fmla="*/ 240765 h 1746228"/>
              <a:gd name="connsiteX401" fmla="*/ 1805467 w 3815927"/>
              <a:gd name="connsiteY401" fmla="*/ 226585 h 1746228"/>
              <a:gd name="connsiteX402" fmla="*/ 1819647 w 3815927"/>
              <a:gd name="connsiteY402" fmla="*/ 212404 h 1746228"/>
              <a:gd name="connsiteX403" fmla="*/ 1762982 w 3815927"/>
              <a:gd name="connsiteY403" fmla="*/ 212404 h 1746228"/>
              <a:gd name="connsiteX404" fmla="*/ 1777163 w 3815927"/>
              <a:gd name="connsiteY404" fmla="*/ 226585 h 1746228"/>
              <a:gd name="connsiteX405" fmla="*/ 1762982 w 3815927"/>
              <a:gd name="connsiteY405" fmla="*/ 240765 h 1746228"/>
              <a:gd name="connsiteX406" fmla="*/ 1748802 w 3815927"/>
              <a:gd name="connsiteY406" fmla="*/ 226585 h 1746228"/>
              <a:gd name="connsiteX407" fmla="*/ 1762982 w 3815927"/>
              <a:gd name="connsiteY407" fmla="*/ 212404 h 1746228"/>
              <a:gd name="connsiteX408" fmla="*/ 1706317 w 3815927"/>
              <a:gd name="connsiteY408" fmla="*/ 212404 h 1746228"/>
              <a:gd name="connsiteX409" fmla="*/ 1720497 w 3815927"/>
              <a:gd name="connsiteY409" fmla="*/ 226585 h 1746228"/>
              <a:gd name="connsiteX410" fmla="*/ 1706317 w 3815927"/>
              <a:gd name="connsiteY410" fmla="*/ 240765 h 1746228"/>
              <a:gd name="connsiteX411" fmla="*/ 1692136 w 3815927"/>
              <a:gd name="connsiteY411" fmla="*/ 226585 h 1746228"/>
              <a:gd name="connsiteX412" fmla="*/ 1706317 w 3815927"/>
              <a:gd name="connsiteY412" fmla="*/ 212404 h 1746228"/>
              <a:gd name="connsiteX413" fmla="*/ 1649651 w 3815927"/>
              <a:gd name="connsiteY413" fmla="*/ 212404 h 1746228"/>
              <a:gd name="connsiteX414" fmla="*/ 1663832 w 3815927"/>
              <a:gd name="connsiteY414" fmla="*/ 226585 h 1746228"/>
              <a:gd name="connsiteX415" fmla="*/ 1649651 w 3815927"/>
              <a:gd name="connsiteY415" fmla="*/ 240765 h 1746228"/>
              <a:gd name="connsiteX416" fmla="*/ 1635471 w 3815927"/>
              <a:gd name="connsiteY416" fmla="*/ 226585 h 1746228"/>
              <a:gd name="connsiteX417" fmla="*/ 1649651 w 3815927"/>
              <a:gd name="connsiteY417" fmla="*/ 212404 h 1746228"/>
              <a:gd name="connsiteX418" fmla="*/ 1593042 w 3815927"/>
              <a:gd name="connsiteY418" fmla="*/ 212404 h 1746228"/>
              <a:gd name="connsiteX419" fmla="*/ 1607223 w 3815927"/>
              <a:gd name="connsiteY419" fmla="*/ 226585 h 1746228"/>
              <a:gd name="connsiteX420" fmla="*/ 1593042 w 3815927"/>
              <a:gd name="connsiteY420" fmla="*/ 240765 h 1746228"/>
              <a:gd name="connsiteX421" fmla="*/ 1578862 w 3815927"/>
              <a:gd name="connsiteY421" fmla="*/ 226585 h 1746228"/>
              <a:gd name="connsiteX422" fmla="*/ 1593042 w 3815927"/>
              <a:gd name="connsiteY422" fmla="*/ 212404 h 1746228"/>
              <a:gd name="connsiteX423" fmla="*/ 1536377 w 3815927"/>
              <a:gd name="connsiteY423" fmla="*/ 212404 h 1746228"/>
              <a:gd name="connsiteX424" fmla="*/ 1550557 w 3815927"/>
              <a:gd name="connsiteY424" fmla="*/ 226585 h 1746228"/>
              <a:gd name="connsiteX425" fmla="*/ 1536377 w 3815927"/>
              <a:gd name="connsiteY425" fmla="*/ 240765 h 1746228"/>
              <a:gd name="connsiteX426" fmla="*/ 1522140 w 3815927"/>
              <a:gd name="connsiteY426" fmla="*/ 226585 h 1746228"/>
              <a:gd name="connsiteX427" fmla="*/ 1536377 w 3815927"/>
              <a:gd name="connsiteY427" fmla="*/ 212404 h 1746228"/>
              <a:gd name="connsiteX428" fmla="*/ 1479712 w 3815927"/>
              <a:gd name="connsiteY428" fmla="*/ 212404 h 1746228"/>
              <a:gd name="connsiteX429" fmla="*/ 1493892 w 3815927"/>
              <a:gd name="connsiteY429" fmla="*/ 226585 h 1746228"/>
              <a:gd name="connsiteX430" fmla="*/ 1479712 w 3815927"/>
              <a:gd name="connsiteY430" fmla="*/ 240765 h 1746228"/>
              <a:gd name="connsiteX431" fmla="*/ 1465531 w 3815927"/>
              <a:gd name="connsiteY431" fmla="*/ 226585 h 1746228"/>
              <a:gd name="connsiteX432" fmla="*/ 1479712 w 3815927"/>
              <a:gd name="connsiteY432" fmla="*/ 212404 h 1746228"/>
              <a:gd name="connsiteX433" fmla="*/ 1423046 w 3815927"/>
              <a:gd name="connsiteY433" fmla="*/ 212404 h 1746228"/>
              <a:gd name="connsiteX434" fmla="*/ 1437227 w 3815927"/>
              <a:gd name="connsiteY434" fmla="*/ 226585 h 1746228"/>
              <a:gd name="connsiteX435" fmla="*/ 1423046 w 3815927"/>
              <a:gd name="connsiteY435" fmla="*/ 240765 h 1746228"/>
              <a:gd name="connsiteX436" fmla="*/ 1408866 w 3815927"/>
              <a:gd name="connsiteY436" fmla="*/ 226585 h 1746228"/>
              <a:gd name="connsiteX437" fmla="*/ 1423046 w 3815927"/>
              <a:gd name="connsiteY437" fmla="*/ 212404 h 1746228"/>
              <a:gd name="connsiteX438" fmla="*/ 1366381 w 3815927"/>
              <a:gd name="connsiteY438" fmla="*/ 212404 h 1746228"/>
              <a:gd name="connsiteX439" fmla="*/ 1380561 w 3815927"/>
              <a:gd name="connsiteY439" fmla="*/ 226585 h 1746228"/>
              <a:gd name="connsiteX440" fmla="*/ 1366381 w 3815927"/>
              <a:gd name="connsiteY440" fmla="*/ 240765 h 1746228"/>
              <a:gd name="connsiteX441" fmla="*/ 1352200 w 3815927"/>
              <a:gd name="connsiteY441" fmla="*/ 226585 h 1746228"/>
              <a:gd name="connsiteX442" fmla="*/ 1366381 w 3815927"/>
              <a:gd name="connsiteY442" fmla="*/ 212404 h 1746228"/>
              <a:gd name="connsiteX443" fmla="*/ 1309715 w 3815927"/>
              <a:gd name="connsiteY443" fmla="*/ 212404 h 1746228"/>
              <a:gd name="connsiteX444" fmla="*/ 1323896 w 3815927"/>
              <a:gd name="connsiteY444" fmla="*/ 226585 h 1746228"/>
              <a:gd name="connsiteX445" fmla="*/ 1309715 w 3815927"/>
              <a:gd name="connsiteY445" fmla="*/ 240765 h 1746228"/>
              <a:gd name="connsiteX446" fmla="*/ 1295535 w 3815927"/>
              <a:gd name="connsiteY446" fmla="*/ 226585 h 1746228"/>
              <a:gd name="connsiteX447" fmla="*/ 1309715 w 3815927"/>
              <a:gd name="connsiteY447" fmla="*/ 212404 h 1746228"/>
              <a:gd name="connsiteX448" fmla="*/ 1253050 w 3815927"/>
              <a:gd name="connsiteY448" fmla="*/ 212404 h 1746228"/>
              <a:gd name="connsiteX449" fmla="*/ 1267230 w 3815927"/>
              <a:gd name="connsiteY449" fmla="*/ 226585 h 1746228"/>
              <a:gd name="connsiteX450" fmla="*/ 1253050 w 3815927"/>
              <a:gd name="connsiteY450" fmla="*/ 240765 h 1746228"/>
              <a:gd name="connsiteX451" fmla="*/ 1238869 w 3815927"/>
              <a:gd name="connsiteY451" fmla="*/ 226585 h 1746228"/>
              <a:gd name="connsiteX452" fmla="*/ 1253050 w 3815927"/>
              <a:gd name="connsiteY452" fmla="*/ 212404 h 1746228"/>
              <a:gd name="connsiteX453" fmla="*/ 1196384 w 3815927"/>
              <a:gd name="connsiteY453" fmla="*/ 212404 h 1746228"/>
              <a:gd name="connsiteX454" fmla="*/ 1210565 w 3815927"/>
              <a:gd name="connsiteY454" fmla="*/ 226585 h 1746228"/>
              <a:gd name="connsiteX455" fmla="*/ 1196384 w 3815927"/>
              <a:gd name="connsiteY455" fmla="*/ 240765 h 1746228"/>
              <a:gd name="connsiteX456" fmla="*/ 1182204 w 3815927"/>
              <a:gd name="connsiteY456" fmla="*/ 226585 h 1746228"/>
              <a:gd name="connsiteX457" fmla="*/ 1196384 w 3815927"/>
              <a:gd name="connsiteY457" fmla="*/ 212404 h 1746228"/>
              <a:gd name="connsiteX458" fmla="*/ 1139719 w 3815927"/>
              <a:gd name="connsiteY458" fmla="*/ 212404 h 1746228"/>
              <a:gd name="connsiteX459" fmla="*/ 1153899 w 3815927"/>
              <a:gd name="connsiteY459" fmla="*/ 226585 h 1746228"/>
              <a:gd name="connsiteX460" fmla="*/ 1139719 w 3815927"/>
              <a:gd name="connsiteY460" fmla="*/ 240765 h 1746228"/>
              <a:gd name="connsiteX461" fmla="*/ 1125538 w 3815927"/>
              <a:gd name="connsiteY461" fmla="*/ 226585 h 1746228"/>
              <a:gd name="connsiteX462" fmla="*/ 1139719 w 3815927"/>
              <a:gd name="connsiteY462" fmla="*/ 212404 h 1746228"/>
              <a:gd name="connsiteX463" fmla="*/ 1083053 w 3815927"/>
              <a:gd name="connsiteY463" fmla="*/ 212404 h 1746228"/>
              <a:gd name="connsiteX464" fmla="*/ 1097234 w 3815927"/>
              <a:gd name="connsiteY464" fmla="*/ 226585 h 1746228"/>
              <a:gd name="connsiteX465" fmla="*/ 1083053 w 3815927"/>
              <a:gd name="connsiteY465" fmla="*/ 240765 h 1746228"/>
              <a:gd name="connsiteX466" fmla="*/ 1068873 w 3815927"/>
              <a:gd name="connsiteY466" fmla="*/ 226585 h 1746228"/>
              <a:gd name="connsiteX467" fmla="*/ 1083053 w 3815927"/>
              <a:gd name="connsiteY467" fmla="*/ 212404 h 1746228"/>
              <a:gd name="connsiteX468" fmla="*/ 1026388 w 3815927"/>
              <a:gd name="connsiteY468" fmla="*/ 212404 h 1746228"/>
              <a:gd name="connsiteX469" fmla="*/ 1040568 w 3815927"/>
              <a:gd name="connsiteY469" fmla="*/ 226585 h 1746228"/>
              <a:gd name="connsiteX470" fmla="*/ 1026388 w 3815927"/>
              <a:gd name="connsiteY470" fmla="*/ 240765 h 1746228"/>
              <a:gd name="connsiteX471" fmla="*/ 1012207 w 3815927"/>
              <a:gd name="connsiteY471" fmla="*/ 226585 h 1746228"/>
              <a:gd name="connsiteX472" fmla="*/ 1026388 w 3815927"/>
              <a:gd name="connsiteY472" fmla="*/ 212404 h 1746228"/>
              <a:gd name="connsiteX473" fmla="*/ 969779 w 3815927"/>
              <a:gd name="connsiteY473" fmla="*/ 212404 h 1746228"/>
              <a:gd name="connsiteX474" fmla="*/ 983903 w 3815927"/>
              <a:gd name="connsiteY474" fmla="*/ 226585 h 1746228"/>
              <a:gd name="connsiteX475" fmla="*/ 969779 w 3815927"/>
              <a:gd name="connsiteY475" fmla="*/ 240765 h 1746228"/>
              <a:gd name="connsiteX476" fmla="*/ 955599 w 3815927"/>
              <a:gd name="connsiteY476" fmla="*/ 226585 h 1746228"/>
              <a:gd name="connsiteX477" fmla="*/ 969779 w 3815927"/>
              <a:gd name="connsiteY477" fmla="*/ 212404 h 1746228"/>
              <a:gd name="connsiteX478" fmla="*/ 913057 w 3815927"/>
              <a:gd name="connsiteY478" fmla="*/ 212404 h 1746228"/>
              <a:gd name="connsiteX479" fmla="*/ 927294 w 3815927"/>
              <a:gd name="connsiteY479" fmla="*/ 226585 h 1746228"/>
              <a:gd name="connsiteX480" fmla="*/ 913057 w 3815927"/>
              <a:gd name="connsiteY480" fmla="*/ 240765 h 1746228"/>
              <a:gd name="connsiteX481" fmla="*/ 898876 w 3815927"/>
              <a:gd name="connsiteY481" fmla="*/ 226585 h 1746228"/>
              <a:gd name="connsiteX482" fmla="*/ 913057 w 3815927"/>
              <a:gd name="connsiteY482" fmla="*/ 212404 h 1746228"/>
              <a:gd name="connsiteX483" fmla="*/ 856448 w 3815927"/>
              <a:gd name="connsiteY483" fmla="*/ 212404 h 1746228"/>
              <a:gd name="connsiteX484" fmla="*/ 870629 w 3815927"/>
              <a:gd name="connsiteY484" fmla="*/ 226585 h 1746228"/>
              <a:gd name="connsiteX485" fmla="*/ 856448 w 3815927"/>
              <a:gd name="connsiteY485" fmla="*/ 240765 h 1746228"/>
              <a:gd name="connsiteX486" fmla="*/ 842268 w 3815927"/>
              <a:gd name="connsiteY486" fmla="*/ 226585 h 1746228"/>
              <a:gd name="connsiteX487" fmla="*/ 856448 w 3815927"/>
              <a:gd name="connsiteY487" fmla="*/ 212404 h 1746228"/>
              <a:gd name="connsiteX488" fmla="*/ 799783 w 3815927"/>
              <a:gd name="connsiteY488" fmla="*/ 212404 h 1746228"/>
              <a:gd name="connsiteX489" fmla="*/ 813963 w 3815927"/>
              <a:gd name="connsiteY489" fmla="*/ 226585 h 1746228"/>
              <a:gd name="connsiteX490" fmla="*/ 799783 w 3815927"/>
              <a:gd name="connsiteY490" fmla="*/ 240765 h 1746228"/>
              <a:gd name="connsiteX491" fmla="*/ 785602 w 3815927"/>
              <a:gd name="connsiteY491" fmla="*/ 226585 h 1746228"/>
              <a:gd name="connsiteX492" fmla="*/ 799783 w 3815927"/>
              <a:gd name="connsiteY492" fmla="*/ 212404 h 1746228"/>
              <a:gd name="connsiteX493" fmla="*/ 743117 w 3815927"/>
              <a:gd name="connsiteY493" fmla="*/ 212404 h 1746228"/>
              <a:gd name="connsiteX494" fmla="*/ 757298 w 3815927"/>
              <a:gd name="connsiteY494" fmla="*/ 226585 h 1746228"/>
              <a:gd name="connsiteX495" fmla="*/ 743117 w 3815927"/>
              <a:gd name="connsiteY495" fmla="*/ 240765 h 1746228"/>
              <a:gd name="connsiteX496" fmla="*/ 728937 w 3815927"/>
              <a:gd name="connsiteY496" fmla="*/ 226585 h 1746228"/>
              <a:gd name="connsiteX497" fmla="*/ 743117 w 3815927"/>
              <a:gd name="connsiteY497" fmla="*/ 212404 h 1746228"/>
              <a:gd name="connsiteX498" fmla="*/ 686452 w 3815927"/>
              <a:gd name="connsiteY498" fmla="*/ 212404 h 1746228"/>
              <a:gd name="connsiteX499" fmla="*/ 700632 w 3815927"/>
              <a:gd name="connsiteY499" fmla="*/ 226585 h 1746228"/>
              <a:gd name="connsiteX500" fmla="*/ 686452 w 3815927"/>
              <a:gd name="connsiteY500" fmla="*/ 240765 h 1746228"/>
              <a:gd name="connsiteX501" fmla="*/ 672271 w 3815927"/>
              <a:gd name="connsiteY501" fmla="*/ 226585 h 1746228"/>
              <a:gd name="connsiteX502" fmla="*/ 686452 w 3815927"/>
              <a:gd name="connsiteY502" fmla="*/ 212404 h 1746228"/>
              <a:gd name="connsiteX503" fmla="*/ 629786 w 3815927"/>
              <a:gd name="connsiteY503" fmla="*/ 212404 h 1746228"/>
              <a:gd name="connsiteX504" fmla="*/ 643967 w 3815927"/>
              <a:gd name="connsiteY504" fmla="*/ 226585 h 1746228"/>
              <a:gd name="connsiteX505" fmla="*/ 629786 w 3815927"/>
              <a:gd name="connsiteY505" fmla="*/ 240765 h 1746228"/>
              <a:gd name="connsiteX506" fmla="*/ 615606 w 3815927"/>
              <a:gd name="connsiteY506" fmla="*/ 226585 h 1746228"/>
              <a:gd name="connsiteX507" fmla="*/ 629786 w 3815927"/>
              <a:gd name="connsiteY507" fmla="*/ 212404 h 1746228"/>
              <a:gd name="connsiteX508" fmla="*/ 573121 w 3815927"/>
              <a:gd name="connsiteY508" fmla="*/ 212404 h 1746228"/>
              <a:gd name="connsiteX509" fmla="*/ 587301 w 3815927"/>
              <a:gd name="connsiteY509" fmla="*/ 226585 h 1746228"/>
              <a:gd name="connsiteX510" fmla="*/ 573121 w 3815927"/>
              <a:gd name="connsiteY510" fmla="*/ 240765 h 1746228"/>
              <a:gd name="connsiteX511" fmla="*/ 558940 w 3815927"/>
              <a:gd name="connsiteY511" fmla="*/ 226585 h 1746228"/>
              <a:gd name="connsiteX512" fmla="*/ 573121 w 3815927"/>
              <a:gd name="connsiteY512" fmla="*/ 212404 h 1746228"/>
              <a:gd name="connsiteX513" fmla="*/ 516455 w 3815927"/>
              <a:gd name="connsiteY513" fmla="*/ 212404 h 1746228"/>
              <a:gd name="connsiteX514" fmla="*/ 530636 w 3815927"/>
              <a:gd name="connsiteY514" fmla="*/ 226585 h 1746228"/>
              <a:gd name="connsiteX515" fmla="*/ 516455 w 3815927"/>
              <a:gd name="connsiteY515" fmla="*/ 240765 h 1746228"/>
              <a:gd name="connsiteX516" fmla="*/ 502275 w 3815927"/>
              <a:gd name="connsiteY516" fmla="*/ 226585 h 1746228"/>
              <a:gd name="connsiteX517" fmla="*/ 516455 w 3815927"/>
              <a:gd name="connsiteY517" fmla="*/ 212404 h 1746228"/>
              <a:gd name="connsiteX518" fmla="*/ 459790 w 3815927"/>
              <a:gd name="connsiteY518" fmla="*/ 212404 h 1746228"/>
              <a:gd name="connsiteX519" fmla="*/ 473971 w 3815927"/>
              <a:gd name="connsiteY519" fmla="*/ 226585 h 1746228"/>
              <a:gd name="connsiteX520" fmla="*/ 459790 w 3815927"/>
              <a:gd name="connsiteY520" fmla="*/ 240765 h 1746228"/>
              <a:gd name="connsiteX521" fmla="*/ 445610 w 3815927"/>
              <a:gd name="connsiteY521" fmla="*/ 226585 h 1746228"/>
              <a:gd name="connsiteX522" fmla="*/ 459790 w 3815927"/>
              <a:gd name="connsiteY522" fmla="*/ 212404 h 1746228"/>
              <a:gd name="connsiteX523" fmla="*/ 403125 w 3815927"/>
              <a:gd name="connsiteY523" fmla="*/ 212404 h 1746228"/>
              <a:gd name="connsiteX524" fmla="*/ 417305 w 3815927"/>
              <a:gd name="connsiteY524" fmla="*/ 226585 h 1746228"/>
              <a:gd name="connsiteX525" fmla="*/ 403125 w 3815927"/>
              <a:gd name="connsiteY525" fmla="*/ 240765 h 1746228"/>
              <a:gd name="connsiteX526" fmla="*/ 388944 w 3815927"/>
              <a:gd name="connsiteY526" fmla="*/ 226585 h 1746228"/>
              <a:gd name="connsiteX527" fmla="*/ 403125 w 3815927"/>
              <a:gd name="connsiteY527" fmla="*/ 212404 h 1746228"/>
              <a:gd name="connsiteX528" fmla="*/ 346516 w 3815927"/>
              <a:gd name="connsiteY528" fmla="*/ 212404 h 1746228"/>
              <a:gd name="connsiteX529" fmla="*/ 360640 w 3815927"/>
              <a:gd name="connsiteY529" fmla="*/ 226585 h 1746228"/>
              <a:gd name="connsiteX530" fmla="*/ 346516 w 3815927"/>
              <a:gd name="connsiteY530" fmla="*/ 240765 h 1746228"/>
              <a:gd name="connsiteX531" fmla="*/ 332279 w 3815927"/>
              <a:gd name="connsiteY531" fmla="*/ 226585 h 1746228"/>
              <a:gd name="connsiteX532" fmla="*/ 346516 w 3815927"/>
              <a:gd name="connsiteY532" fmla="*/ 212404 h 1746228"/>
              <a:gd name="connsiteX533" fmla="*/ 289851 w 3815927"/>
              <a:gd name="connsiteY533" fmla="*/ 212404 h 1746228"/>
              <a:gd name="connsiteX534" fmla="*/ 304031 w 3815927"/>
              <a:gd name="connsiteY534" fmla="*/ 226585 h 1746228"/>
              <a:gd name="connsiteX535" fmla="*/ 289851 w 3815927"/>
              <a:gd name="connsiteY535" fmla="*/ 240765 h 1746228"/>
              <a:gd name="connsiteX536" fmla="*/ 275613 w 3815927"/>
              <a:gd name="connsiteY536" fmla="*/ 226585 h 1746228"/>
              <a:gd name="connsiteX537" fmla="*/ 289851 w 3815927"/>
              <a:gd name="connsiteY537" fmla="*/ 212404 h 1746228"/>
              <a:gd name="connsiteX538" fmla="*/ 233185 w 3815927"/>
              <a:gd name="connsiteY538" fmla="*/ 212404 h 1746228"/>
              <a:gd name="connsiteX539" fmla="*/ 247365 w 3815927"/>
              <a:gd name="connsiteY539" fmla="*/ 226585 h 1746228"/>
              <a:gd name="connsiteX540" fmla="*/ 233185 w 3815927"/>
              <a:gd name="connsiteY540" fmla="*/ 240765 h 1746228"/>
              <a:gd name="connsiteX541" fmla="*/ 219004 w 3815927"/>
              <a:gd name="connsiteY541" fmla="*/ 226585 h 1746228"/>
              <a:gd name="connsiteX542" fmla="*/ 233185 w 3815927"/>
              <a:gd name="connsiteY542" fmla="*/ 212404 h 1746228"/>
              <a:gd name="connsiteX543" fmla="*/ 176520 w 3815927"/>
              <a:gd name="connsiteY543" fmla="*/ 212404 h 1746228"/>
              <a:gd name="connsiteX544" fmla="*/ 190700 w 3815927"/>
              <a:gd name="connsiteY544" fmla="*/ 226585 h 1746228"/>
              <a:gd name="connsiteX545" fmla="*/ 176520 w 3815927"/>
              <a:gd name="connsiteY545" fmla="*/ 240765 h 1746228"/>
              <a:gd name="connsiteX546" fmla="*/ 162339 w 3815927"/>
              <a:gd name="connsiteY546" fmla="*/ 226585 h 1746228"/>
              <a:gd name="connsiteX547" fmla="*/ 176520 w 3815927"/>
              <a:gd name="connsiteY547" fmla="*/ 212404 h 1746228"/>
              <a:gd name="connsiteX548" fmla="*/ 3801747 w 3815927"/>
              <a:gd name="connsiteY548" fmla="*/ 159312 h 1746228"/>
              <a:gd name="connsiteX549" fmla="*/ 3815927 w 3815927"/>
              <a:gd name="connsiteY549" fmla="*/ 173492 h 1746228"/>
              <a:gd name="connsiteX550" fmla="*/ 3801747 w 3815927"/>
              <a:gd name="connsiteY550" fmla="*/ 187673 h 1746228"/>
              <a:gd name="connsiteX551" fmla="*/ 3787566 w 3815927"/>
              <a:gd name="connsiteY551" fmla="*/ 173492 h 1746228"/>
              <a:gd name="connsiteX552" fmla="*/ 3801747 w 3815927"/>
              <a:gd name="connsiteY552" fmla="*/ 159312 h 1746228"/>
              <a:gd name="connsiteX553" fmla="*/ 3801747 w 3815927"/>
              <a:gd name="connsiteY553" fmla="*/ 106220 h 1746228"/>
              <a:gd name="connsiteX554" fmla="*/ 3815927 w 3815927"/>
              <a:gd name="connsiteY554" fmla="*/ 120400 h 1746228"/>
              <a:gd name="connsiteX555" fmla="*/ 3801747 w 3815927"/>
              <a:gd name="connsiteY555" fmla="*/ 134581 h 1746228"/>
              <a:gd name="connsiteX556" fmla="*/ 3787566 w 3815927"/>
              <a:gd name="connsiteY556" fmla="*/ 120400 h 1746228"/>
              <a:gd name="connsiteX557" fmla="*/ 3801747 w 3815927"/>
              <a:gd name="connsiteY557" fmla="*/ 106220 h 1746228"/>
              <a:gd name="connsiteX558" fmla="*/ 3801747 w 3815927"/>
              <a:gd name="connsiteY558" fmla="*/ 53071 h 1746228"/>
              <a:gd name="connsiteX559" fmla="*/ 3815927 w 3815927"/>
              <a:gd name="connsiteY559" fmla="*/ 67252 h 1746228"/>
              <a:gd name="connsiteX560" fmla="*/ 3801747 w 3815927"/>
              <a:gd name="connsiteY560" fmla="*/ 81432 h 1746228"/>
              <a:gd name="connsiteX561" fmla="*/ 3787566 w 3815927"/>
              <a:gd name="connsiteY561" fmla="*/ 67252 h 1746228"/>
              <a:gd name="connsiteX562" fmla="*/ 3801747 w 3815927"/>
              <a:gd name="connsiteY562" fmla="*/ 53071 h 1746228"/>
              <a:gd name="connsiteX563" fmla="*/ 3798967 w 3815927"/>
              <a:gd name="connsiteY563" fmla="*/ 263 h 1746228"/>
              <a:gd name="connsiteX564" fmla="*/ 3811786 w 3815927"/>
              <a:gd name="connsiteY564" fmla="*/ 4121 h 1746228"/>
              <a:gd name="connsiteX565" fmla="*/ 3815927 w 3815927"/>
              <a:gd name="connsiteY565" fmla="*/ 14160 h 1746228"/>
              <a:gd name="connsiteX566" fmla="*/ 3811786 w 3815927"/>
              <a:gd name="connsiteY566" fmla="*/ 24200 h 1746228"/>
              <a:gd name="connsiteX567" fmla="*/ 3801747 w 3815927"/>
              <a:gd name="connsiteY567" fmla="*/ 28341 h 1746228"/>
              <a:gd name="connsiteX568" fmla="*/ 3798967 w 3815927"/>
              <a:gd name="connsiteY568" fmla="*/ 28057 h 1746228"/>
              <a:gd name="connsiteX569" fmla="*/ 3796358 w 3815927"/>
              <a:gd name="connsiteY569" fmla="*/ 27263 h 1746228"/>
              <a:gd name="connsiteX570" fmla="*/ 3793919 w 3815927"/>
              <a:gd name="connsiteY570" fmla="*/ 25958 h 1746228"/>
              <a:gd name="connsiteX571" fmla="*/ 3791763 w 3815927"/>
              <a:gd name="connsiteY571" fmla="*/ 24200 h 1746228"/>
              <a:gd name="connsiteX572" fmla="*/ 3787566 w 3815927"/>
              <a:gd name="connsiteY572" fmla="*/ 14160 h 1746228"/>
              <a:gd name="connsiteX573" fmla="*/ 3791763 w 3815927"/>
              <a:gd name="connsiteY573" fmla="*/ 4121 h 1746228"/>
              <a:gd name="connsiteX574" fmla="*/ 3793919 w 3815927"/>
              <a:gd name="connsiteY574" fmla="*/ 2362 h 1746228"/>
              <a:gd name="connsiteX575" fmla="*/ 3796358 w 3815927"/>
              <a:gd name="connsiteY575" fmla="*/ 1057 h 1746228"/>
              <a:gd name="connsiteX576" fmla="*/ 3798967 w 3815927"/>
              <a:gd name="connsiteY576" fmla="*/ 263 h 17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Lst>
            <a:rect l="l" t="t" r="r" b="b"/>
            <a:pathLst>
              <a:path w="3815927" h="1746228">
                <a:moveTo>
                  <a:pt x="16960" y="1718151"/>
                </a:moveTo>
                <a:cubicBezTo>
                  <a:pt x="17867" y="1718321"/>
                  <a:pt x="18775" y="1718605"/>
                  <a:pt x="19626" y="1718945"/>
                </a:cubicBezTo>
                <a:cubicBezTo>
                  <a:pt x="20477" y="1719342"/>
                  <a:pt x="21328" y="1719739"/>
                  <a:pt x="22065" y="1720250"/>
                </a:cubicBezTo>
                <a:cubicBezTo>
                  <a:pt x="22859" y="1720817"/>
                  <a:pt x="23596" y="1721384"/>
                  <a:pt x="24220" y="1722065"/>
                </a:cubicBezTo>
                <a:cubicBezTo>
                  <a:pt x="24901" y="1722689"/>
                  <a:pt x="25468" y="1723426"/>
                  <a:pt x="25979" y="1724220"/>
                </a:cubicBezTo>
                <a:cubicBezTo>
                  <a:pt x="26489" y="1724958"/>
                  <a:pt x="26943" y="1725808"/>
                  <a:pt x="27283" y="1726659"/>
                </a:cubicBezTo>
                <a:cubicBezTo>
                  <a:pt x="27624" y="1727510"/>
                  <a:pt x="27907" y="1728361"/>
                  <a:pt x="28077" y="1729268"/>
                </a:cubicBezTo>
                <a:cubicBezTo>
                  <a:pt x="28304" y="1730233"/>
                  <a:pt x="28361" y="1731140"/>
                  <a:pt x="28361" y="1732048"/>
                </a:cubicBezTo>
                <a:cubicBezTo>
                  <a:pt x="28361" y="1735791"/>
                  <a:pt x="26886" y="1739479"/>
                  <a:pt x="24220" y="1742088"/>
                </a:cubicBezTo>
                <a:cubicBezTo>
                  <a:pt x="23596" y="1742768"/>
                  <a:pt x="22859" y="1743336"/>
                  <a:pt x="22065" y="1743846"/>
                </a:cubicBezTo>
                <a:cubicBezTo>
                  <a:pt x="21328" y="1744357"/>
                  <a:pt x="20477" y="1744810"/>
                  <a:pt x="19626" y="1745151"/>
                </a:cubicBezTo>
                <a:cubicBezTo>
                  <a:pt x="18775" y="1745491"/>
                  <a:pt x="17867" y="1745775"/>
                  <a:pt x="16960" y="1745945"/>
                </a:cubicBezTo>
                <a:cubicBezTo>
                  <a:pt x="16052" y="1746172"/>
                  <a:pt x="15145" y="1746228"/>
                  <a:pt x="14181" y="1746228"/>
                </a:cubicBezTo>
                <a:cubicBezTo>
                  <a:pt x="10494" y="1746228"/>
                  <a:pt x="6807" y="1744754"/>
                  <a:pt x="4141" y="1742088"/>
                </a:cubicBezTo>
                <a:cubicBezTo>
                  <a:pt x="1531" y="1739479"/>
                  <a:pt x="0" y="1735791"/>
                  <a:pt x="0" y="1732048"/>
                </a:cubicBezTo>
                <a:cubicBezTo>
                  <a:pt x="0" y="1731140"/>
                  <a:pt x="113" y="1730233"/>
                  <a:pt x="284" y="1729268"/>
                </a:cubicBezTo>
                <a:cubicBezTo>
                  <a:pt x="454" y="1728361"/>
                  <a:pt x="737" y="1727510"/>
                  <a:pt x="1078" y="1726659"/>
                </a:cubicBezTo>
                <a:cubicBezTo>
                  <a:pt x="1475" y="1725808"/>
                  <a:pt x="1872" y="1724958"/>
                  <a:pt x="2382" y="1724220"/>
                </a:cubicBezTo>
                <a:cubicBezTo>
                  <a:pt x="2949" y="1723426"/>
                  <a:pt x="3517" y="1722689"/>
                  <a:pt x="4141" y="1722065"/>
                </a:cubicBezTo>
                <a:cubicBezTo>
                  <a:pt x="7487" y="1718775"/>
                  <a:pt x="12365" y="1717243"/>
                  <a:pt x="16960" y="1718151"/>
                </a:cubicBezTo>
                <a:close/>
                <a:moveTo>
                  <a:pt x="14181" y="1660521"/>
                </a:moveTo>
                <a:cubicBezTo>
                  <a:pt x="22008" y="1660521"/>
                  <a:pt x="28361" y="1666874"/>
                  <a:pt x="28361" y="1674702"/>
                </a:cubicBezTo>
                <a:cubicBezTo>
                  <a:pt x="28361" y="1682529"/>
                  <a:pt x="22008" y="1688882"/>
                  <a:pt x="14181" y="1688882"/>
                </a:cubicBezTo>
                <a:cubicBezTo>
                  <a:pt x="6353" y="1688882"/>
                  <a:pt x="0" y="1682529"/>
                  <a:pt x="0" y="1674702"/>
                </a:cubicBezTo>
                <a:cubicBezTo>
                  <a:pt x="0" y="1666874"/>
                  <a:pt x="6353" y="1660521"/>
                  <a:pt x="14181" y="1660521"/>
                </a:cubicBezTo>
                <a:close/>
                <a:moveTo>
                  <a:pt x="14181" y="1603118"/>
                </a:moveTo>
                <a:cubicBezTo>
                  <a:pt x="22008" y="1603118"/>
                  <a:pt x="28361" y="1609471"/>
                  <a:pt x="28361" y="1617299"/>
                </a:cubicBezTo>
                <a:cubicBezTo>
                  <a:pt x="28361" y="1625127"/>
                  <a:pt x="22008" y="1631480"/>
                  <a:pt x="14181" y="1631480"/>
                </a:cubicBezTo>
                <a:cubicBezTo>
                  <a:pt x="6353" y="1631480"/>
                  <a:pt x="0" y="1625127"/>
                  <a:pt x="0" y="1617299"/>
                </a:cubicBezTo>
                <a:cubicBezTo>
                  <a:pt x="0" y="1609471"/>
                  <a:pt x="6353" y="1603118"/>
                  <a:pt x="14181" y="1603118"/>
                </a:cubicBezTo>
                <a:close/>
                <a:moveTo>
                  <a:pt x="14181" y="1545716"/>
                </a:moveTo>
                <a:cubicBezTo>
                  <a:pt x="22008" y="1545716"/>
                  <a:pt x="28361" y="1552068"/>
                  <a:pt x="28361" y="1559953"/>
                </a:cubicBezTo>
                <a:cubicBezTo>
                  <a:pt x="28361" y="1567781"/>
                  <a:pt x="22008" y="1574133"/>
                  <a:pt x="14181" y="1574133"/>
                </a:cubicBezTo>
                <a:cubicBezTo>
                  <a:pt x="6353" y="1574133"/>
                  <a:pt x="0" y="1567781"/>
                  <a:pt x="0" y="1559953"/>
                </a:cubicBezTo>
                <a:cubicBezTo>
                  <a:pt x="0" y="1552068"/>
                  <a:pt x="6353" y="1545716"/>
                  <a:pt x="14181" y="1545716"/>
                </a:cubicBezTo>
                <a:close/>
                <a:moveTo>
                  <a:pt x="14181" y="1488370"/>
                </a:moveTo>
                <a:cubicBezTo>
                  <a:pt x="22008" y="1488370"/>
                  <a:pt x="28361" y="1494722"/>
                  <a:pt x="28361" y="1502550"/>
                </a:cubicBezTo>
                <a:cubicBezTo>
                  <a:pt x="28361" y="1510378"/>
                  <a:pt x="22008" y="1516731"/>
                  <a:pt x="14181" y="1516731"/>
                </a:cubicBezTo>
                <a:cubicBezTo>
                  <a:pt x="6353" y="1516731"/>
                  <a:pt x="0" y="1510378"/>
                  <a:pt x="0" y="1502550"/>
                </a:cubicBezTo>
                <a:cubicBezTo>
                  <a:pt x="0" y="1494722"/>
                  <a:pt x="6353" y="1488370"/>
                  <a:pt x="14181" y="1488370"/>
                </a:cubicBezTo>
                <a:close/>
                <a:moveTo>
                  <a:pt x="14181" y="1430967"/>
                </a:moveTo>
                <a:cubicBezTo>
                  <a:pt x="22008" y="1430967"/>
                  <a:pt x="28361" y="1437320"/>
                  <a:pt x="28361" y="1445204"/>
                </a:cubicBezTo>
                <a:cubicBezTo>
                  <a:pt x="28361" y="1452975"/>
                  <a:pt x="22008" y="1459328"/>
                  <a:pt x="14181" y="1459328"/>
                </a:cubicBezTo>
                <a:cubicBezTo>
                  <a:pt x="6353" y="1459328"/>
                  <a:pt x="0" y="1452975"/>
                  <a:pt x="0" y="1445204"/>
                </a:cubicBezTo>
                <a:cubicBezTo>
                  <a:pt x="0" y="1437320"/>
                  <a:pt x="6353" y="1430967"/>
                  <a:pt x="14181" y="1430967"/>
                </a:cubicBezTo>
                <a:close/>
                <a:moveTo>
                  <a:pt x="14181" y="1373621"/>
                </a:moveTo>
                <a:cubicBezTo>
                  <a:pt x="22008" y="1373621"/>
                  <a:pt x="28361" y="1379974"/>
                  <a:pt x="28361" y="1387801"/>
                </a:cubicBezTo>
                <a:cubicBezTo>
                  <a:pt x="28361" y="1395629"/>
                  <a:pt x="22008" y="1401982"/>
                  <a:pt x="14181" y="1401982"/>
                </a:cubicBezTo>
                <a:cubicBezTo>
                  <a:pt x="6353" y="1401982"/>
                  <a:pt x="0" y="1395629"/>
                  <a:pt x="0" y="1387801"/>
                </a:cubicBezTo>
                <a:cubicBezTo>
                  <a:pt x="0" y="1379974"/>
                  <a:pt x="6353" y="1373621"/>
                  <a:pt x="14181" y="1373621"/>
                </a:cubicBezTo>
                <a:close/>
                <a:moveTo>
                  <a:pt x="14181" y="1316218"/>
                </a:moveTo>
                <a:cubicBezTo>
                  <a:pt x="22008" y="1316218"/>
                  <a:pt x="28361" y="1322571"/>
                  <a:pt x="28361" y="1330398"/>
                </a:cubicBezTo>
                <a:cubicBezTo>
                  <a:pt x="28361" y="1338226"/>
                  <a:pt x="22008" y="1344579"/>
                  <a:pt x="14181" y="1344579"/>
                </a:cubicBezTo>
                <a:cubicBezTo>
                  <a:pt x="6353" y="1344579"/>
                  <a:pt x="0" y="1338226"/>
                  <a:pt x="0" y="1330398"/>
                </a:cubicBezTo>
                <a:cubicBezTo>
                  <a:pt x="0" y="1322571"/>
                  <a:pt x="6353" y="1316218"/>
                  <a:pt x="14181" y="1316218"/>
                </a:cubicBezTo>
                <a:close/>
                <a:moveTo>
                  <a:pt x="14181" y="1258872"/>
                </a:moveTo>
                <a:cubicBezTo>
                  <a:pt x="22008" y="1258872"/>
                  <a:pt x="28361" y="1265224"/>
                  <a:pt x="28361" y="1273052"/>
                </a:cubicBezTo>
                <a:cubicBezTo>
                  <a:pt x="28361" y="1280880"/>
                  <a:pt x="22008" y="1287233"/>
                  <a:pt x="14181" y="1287233"/>
                </a:cubicBezTo>
                <a:cubicBezTo>
                  <a:pt x="6353" y="1287233"/>
                  <a:pt x="0" y="1280880"/>
                  <a:pt x="0" y="1273052"/>
                </a:cubicBezTo>
                <a:cubicBezTo>
                  <a:pt x="0" y="1265224"/>
                  <a:pt x="6353" y="1258872"/>
                  <a:pt x="14181" y="1258872"/>
                </a:cubicBezTo>
                <a:close/>
                <a:moveTo>
                  <a:pt x="14181" y="1201469"/>
                </a:moveTo>
                <a:cubicBezTo>
                  <a:pt x="22008" y="1201469"/>
                  <a:pt x="28361" y="1207822"/>
                  <a:pt x="28361" y="1215649"/>
                </a:cubicBezTo>
                <a:cubicBezTo>
                  <a:pt x="28361" y="1223477"/>
                  <a:pt x="22008" y="1229830"/>
                  <a:pt x="14181" y="1229830"/>
                </a:cubicBezTo>
                <a:cubicBezTo>
                  <a:pt x="6353" y="1229830"/>
                  <a:pt x="0" y="1223477"/>
                  <a:pt x="0" y="1215649"/>
                </a:cubicBezTo>
                <a:cubicBezTo>
                  <a:pt x="0" y="1207822"/>
                  <a:pt x="6353" y="1201469"/>
                  <a:pt x="14181" y="1201469"/>
                </a:cubicBezTo>
                <a:close/>
                <a:moveTo>
                  <a:pt x="14181" y="1144123"/>
                </a:moveTo>
                <a:cubicBezTo>
                  <a:pt x="22008" y="1144123"/>
                  <a:pt x="28361" y="1150419"/>
                  <a:pt x="28361" y="1158303"/>
                </a:cubicBezTo>
                <a:cubicBezTo>
                  <a:pt x="28361" y="1166131"/>
                  <a:pt x="22008" y="1172484"/>
                  <a:pt x="14181" y="1172484"/>
                </a:cubicBezTo>
                <a:cubicBezTo>
                  <a:pt x="6353" y="1172484"/>
                  <a:pt x="0" y="1166131"/>
                  <a:pt x="0" y="1158303"/>
                </a:cubicBezTo>
                <a:cubicBezTo>
                  <a:pt x="0" y="1150419"/>
                  <a:pt x="6353" y="1144123"/>
                  <a:pt x="14181" y="1144123"/>
                </a:cubicBezTo>
                <a:close/>
                <a:moveTo>
                  <a:pt x="14181" y="1086720"/>
                </a:moveTo>
                <a:cubicBezTo>
                  <a:pt x="22008" y="1086720"/>
                  <a:pt x="28361" y="1093073"/>
                  <a:pt x="28361" y="1100900"/>
                </a:cubicBezTo>
                <a:cubicBezTo>
                  <a:pt x="28361" y="1108728"/>
                  <a:pt x="22008" y="1115081"/>
                  <a:pt x="14181" y="1115081"/>
                </a:cubicBezTo>
                <a:cubicBezTo>
                  <a:pt x="6353" y="1115081"/>
                  <a:pt x="0" y="1108728"/>
                  <a:pt x="0" y="1100900"/>
                </a:cubicBezTo>
                <a:cubicBezTo>
                  <a:pt x="0" y="1093073"/>
                  <a:pt x="6353" y="1086720"/>
                  <a:pt x="14181" y="1086720"/>
                </a:cubicBezTo>
                <a:close/>
                <a:moveTo>
                  <a:pt x="14181" y="1029317"/>
                </a:moveTo>
                <a:cubicBezTo>
                  <a:pt x="22008" y="1029317"/>
                  <a:pt x="28361" y="1035670"/>
                  <a:pt x="28361" y="1043498"/>
                </a:cubicBezTo>
                <a:cubicBezTo>
                  <a:pt x="28361" y="1051382"/>
                  <a:pt x="22008" y="1057678"/>
                  <a:pt x="14181" y="1057678"/>
                </a:cubicBezTo>
                <a:cubicBezTo>
                  <a:pt x="6353" y="1057678"/>
                  <a:pt x="0" y="1051382"/>
                  <a:pt x="0" y="1043498"/>
                </a:cubicBezTo>
                <a:cubicBezTo>
                  <a:pt x="0" y="1035670"/>
                  <a:pt x="6353" y="1029317"/>
                  <a:pt x="14181" y="1029317"/>
                </a:cubicBezTo>
                <a:close/>
                <a:moveTo>
                  <a:pt x="14181" y="971971"/>
                </a:moveTo>
                <a:cubicBezTo>
                  <a:pt x="22008" y="971971"/>
                  <a:pt x="28361" y="978324"/>
                  <a:pt x="28361" y="986152"/>
                </a:cubicBezTo>
                <a:cubicBezTo>
                  <a:pt x="28361" y="993979"/>
                  <a:pt x="22008" y="1000332"/>
                  <a:pt x="14181" y="1000332"/>
                </a:cubicBezTo>
                <a:cubicBezTo>
                  <a:pt x="6353" y="1000332"/>
                  <a:pt x="0" y="993979"/>
                  <a:pt x="0" y="986152"/>
                </a:cubicBezTo>
                <a:cubicBezTo>
                  <a:pt x="0" y="978324"/>
                  <a:pt x="6353" y="971971"/>
                  <a:pt x="14181" y="971971"/>
                </a:cubicBezTo>
                <a:close/>
                <a:moveTo>
                  <a:pt x="14181" y="914568"/>
                </a:moveTo>
                <a:cubicBezTo>
                  <a:pt x="22008" y="914568"/>
                  <a:pt x="28361" y="920921"/>
                  <a:pt x="28361" y="928749"/>
                </a:cubicBezTo>
                <a:cubicBezTo>
                  <a:pt x="28361" y="936576"/>
                  <a:pt x="22008" y="942929"/>
                  <a:pt x="14181" y="942929"/>
                </a:cubicBezTo>
                <a:cubicBezTo>
                  <a:pt x="6353" y="942929"/>
                  <a:pt x="0" y="936576"/>
                  <a:pt x="0" y="928749"/>
                </a:cubicBezTo>
                <a:cubicBezTo>
                  <a:pt x="0" y="920921"/>
                  <a:pt x="6353" y="914568"/>
                  <a:pt x="14181" y="914568"/>
                </a:cubicBezTo>
                <a:close/>
                <a:moveTo>
                  <a:pt x="14181" y="857222"/>
                </a:moveTo>
                <a:cubicBezTo>
                  <a:pt x="22008" y="857222"/>
                  <a:pt x="28361" y="863575"/>
                  <a:pt x="28361" y="871402"/>
                </a:cubicBezTo>
                <a:cubicBezTo>
                  <a:pt x="28361" y="879230"/>
                  <a:pt x="22008" y="885583"/>
                  <a:pt x="14181" y="885583"/>
                </a:cubicBezTo>
                <a:cubicBezTo>
                  <a:pt x="6353" y="885583"/>
                  <a:pt x="0" y="879230"/>
                  <a:pt x="0" y="871402"/>
                </a:cubicBezTo>
                <a:cubicBezTo>
                  <a:pt x="0" y="863575"/>
                  <a:pt x="6353" y="857222"/>
                  <a:pt x="14181" y="857222"/>
                </a:cubicBezTo>
                <a:close/>
                <a:moveTo>
                  <a:pt x="14181" y="799819"/>
                </a:moveTo>
                <a:cubicBezTo>
                  <a:pt x="22008" y="799819"/>
                  <a:pt x="28361" y="806172"/>
                  <a:pt x="28361" y="814000"/>
                </a:cubicBezTo>
                <a:cubicBezTo>
                  <a:pt x="28361" y="821827"/>
                  <a:pt x="22008" y="828180"/>
                  <a:pt x="14181" y="828180"/>
                </a:cubicBezTo>
                <a:cubicBezTo>
                  <a:pt x="6353" y="828180"/>
                  <a:pt x="0" y="821827"/>
                  <a:pt x="0" y="814000"/>
                </a:cubicBezTo>
                <a:cubicBezTo>
                  <a:pt x="0" y="806172"/>
                  <a:pt x="6353" y="799819"/>
                  <a:pt x="14181" y="799819"/>
                </a:cubicBezTo>
                <a:close/>
                <a:moveTo>
                  <a:pt x="14181" y="742416"/>
                </a:moveTo>
                <a:cubicBezTo>
                  <a:pt x="22008" y="742416"/>
                  <a:pt x="28361" y="748769"/>
                  <a:pt x="28361" y="756653"/>
                </a:cubicBezTo>
                <a:cubicBezTo>
                  <a:pt x="28361" y="764481"/>
                  <a:pt x="22008" y="770834"/>
                  <a:pt x="14181" y="770834"/>
                </a:cubicBezTo>
                <a:cubicBezTo>
                  <a:pt x="6353" y="770834"/>
                  <a:pt x="0" y="764481"/>
                  <a:pt x="0" y="756653"/>
                </a:cubicBezTo>
                <a:cubicBezTo>
                  <a:pt x="0" y="748769"/>
                  <a:pt x="6353" y="742416"/>
                  <a:pt x="14181" y="742416"/>
                </a:cubicBezTo>
                <a:close/>
                <a:moveTo>
                  <a:pt x="14181" y="685070"/>
                </a:moveTo>
                <a:cubicBezTo>
                  <a:pt x="22008" y="685070"/>
                  <a:pt x="28361" y="691423"/>
                  <a:pt x="28361" y="699251"/>
                </a:cubicBezTo>
                <a:cubicBezTo>
                  <a:pt x="28361" y="707078"/>
                  <a:pt x="22008" y="713431"/>
                  <a:pt x="14181" y="713431"/>
                </a:cubicBezTo>
                <a:cubicBezTo>
                  <a:pt x="6353" y="713431"/>
                  <a:pt x="0" y="707078"/>
                  <a:pt x="0" y="699251"/>
                </a:cubicBezTo>
                <a:cubicBezTo>
                  <a:pt x="0" y="691423"/>
                  <a:pt x="6353" y="685070"/>
                  <a:pt x="14181" y="685070"/>
                </a:cubicBezTo>
                <a:close/>
                <a:moveTo>
                  <a:pt x="14181" y="627667"/>
                </a:moveTo>
                <a:cubicBezTo>
                  <a:pt x="22008" y="627667"/>
                  <a:pt x="28361" y="634020"/>
                  <a:pt x="28361" y="641905"/>
                </a:cubicBezTo>
                <a:cubicBezTo>
                  <a:pt x="28361" y="649732"/>
                  <a:pt x="22008" y="656028"/>
                  <a:pt x="14181" y="656028"/>
                </a:cubicBezTo>
                <a:cubicBezTo>
                  <a:pt x="6353" y="656028"/>
                  <a:pt x="0" y="649732"/>
                  <a:pt x="0" y="641905"/>
                </a:cubicBezTo>
                <a:cubicBezTo>
                  <a:pt x="0" y="634020"/>
                  <a:pt x="6353" y="627667"/>
                  <a:pt x="14181" y="627667"/>
                </a:cubicBezTo>
                <a:close/>
                <a:moveTo>
                  <a:pt x="14181" y="570321"/>
                </a:moveTo>
                <a:cubicBezTo>
                  <a:pt x="22008" y="570321"/>
                  <a:pt x="28361" y="576674"/>
                  <a:pt x="28361" y="584502"/>
                </a:cubicBezTo>
                <a:cubicBezTo>
                  <a:pt x="28361" y="592330"/>
                  <a:pt x="22008" y="598682"/>
                  <a:pt x="14181" y="598682"/>
                </a:cubicBezTo>
                <a:cubicBezTo>
                  <a:pt x="6353" y="598682"/>
                  <a:pt x="0" y="592330"/>
                  <a:pt x="0" y="584502"/>
                </a:cubicBezTo>
                <a:cubicBezTo>
                  <a:pt x="0" y="576674"/>
                  <a:pt x="6353" y="570321"/>
                  <a:pt x="14181" y="570321"/>
                </a:cubicBezTo>
                <a:close/>
                <a:moveTo>
                  <a:pt x="14181" y="512918"/>
                </a:moveTo>
                <a:cubicBezTo>
                  <a:pt x="22008" y="512918"/>
                  <a:pt x="28361" y="519271"/>
                  <a:pt x="28361" y="527099"/>
                </a:cubicBezTo>
                <a:cubicBezTo>
                  <a:pt x="28361" y="534926"/>
                  <a:pt x="22008" y="541280"/>
                  <a:pt x="14181" y="541280"/>
                </a:cubicBezTo>
                <a:cubicBezTo>
                  <a:pt x="6353" y="541280"/>
                  <a:pt x="0" y="534926"/>
                  <a:pt x="0" y="527099"/>
                </a:cubicBezTo>
                <a:cubicBezTo>
                  <a:pt x="0" y="519271"/>
                  <a:pt x="6353" y="512918"/>
                  <a:pt x="14181" y="512918"/>
                </a:cubicBezTo>
                <a:close/>
                <a:moveTo>
                  <a:pt x="14181" y="455572"/>
                </a:moveTo>
                <a:cubicBezTo>
                  <a:pt x="22008" y="455572"/>
                  <a:pt x="28361" y="461868"/>
                  <a:pt x="28361" y="469753"/>
                </a:cubicBezTo>
                <a:cubicBezTo>
                  <a:pt x="28361" y="477580"/>
                  <a:pt x="22008" y="483933"/>
                  <a:pt x="14181" y="483933"/>
                </a:cubicBezTo>
                <a:cubicBezTo>
                  <a:pt x="6353" y="483933"/>
                  <a:pt x="0" y="477580"/>
                  <a:pt x="0" y="469753"/>
                </a:cubicBezTo>
                <a:cubicBezTo>
                  <a:pt x="0" y="461868"/>
                  <a:pt x="6353" y="455572"/>
                  <a:pt x="14181" y="455572"/>
                </a:cubicBezTo>
                <a:close/>
                <a:moveTo>
                  <a:pt x="14181" y="398169"/>
                </a:moveTo>
                <a:cubicBezTo>
                  <a:pt x="22008" y="398169"/>
                  <a:pt x="28361" y="404522"/>
                  <a:pt x="28361" y="412350"/>
                </a:cubicBezTo>
                <a:cubicBezTo>
                  <a:pt x="28361" y="420177"/>
                  <a:pt x="22008" y="426530"/>
                  <a:pt x="14181" y="426530"/>
                </a:cubicBezTo>
                <a:cubicBezTo>
                  <a:pt x="6353" y="426530"/>
                  <a:pt x="0" y="420177"/>
                  <a:pt x="0" y="412350"/>
                </a:cubicBezTo>
                <a:cubicBezTo>
                  <a:pt x="0" y="404522"/>
                  <a:pt x="6353" y="398169"/>
                  <a:pt x="14181" y="398169"/>
                </a:cubicBezTo>
                <a:close/>
                <a:moveTo>
                  <a:pt x="14181" y="340766"/>
                </a:moveTo>
                <a:cubicBezTo>
                  <a:pt x="22008" y="340766"/>
                  <a:pt x="28361" y="347119"/>
                  <a:pt x="28361" y="355004"/>
                </a:cubicBezTo>
                <a:cubicBezTo>
                  <a:pt x="28361" y="362831"/>
                  <a:pt x="22008" y="369128"/>
                  <a:pt x="14181" y="369128"/>
                </a:cubicBezTo>
                <a:cubicBezTo>
                  <a:pt x="6353" y="369128"/>
                  <a:pt x="0" y="362831"/>
                  <a:pt x="0" y="355004"/>
                </a:cubicBezTo>
                <a:cubicBezTo>
                  <a:pt x="0" y="347119"/>
                  <a:pt x="6353" y="340766"/>
                  <a:pt x="14181" y="340766"/>
                </a:cubicBezTo>
                <a:close/>
                <a:moveTo>
                  <a:pt x="38684" y="293545"/>
                </a:moveTo>
                <a:cubicBezTo>
                  <a:pt x="42314" y="293545"/>
                  <a:pt x="45945" y="294934"/>
                  <a:pt x="48724" y="297714"/>
                </a:cubicBezTo>
                <a:cubicBezTo>
                  <a:pt x="54283" y="303273"/>
                  <a:pt x="54283" y="312235"/>
                  <a:pt x="48724" y="317794"/>
                </a:cubicBezTo>
                <a:cubicBezTo>
                  <a:pt x="45945" y="320517"/>
                  <a:pt x="42315" y="321935"/>
                  <a:pt x="38684" y="321935"/>
                </a:cubicBezTo>
                <a:cubicBezTo>
                  <a:pt x="35054" y="321935"/>
                  <a:pt x="31424" y="320517"/>
                  <a:pt x="28645" y="317794"/>
                </a:cubicBezTo>
                <a:cubicBezTo>
                  <a:pt x="23143" y="312235"/>
                  <a:pt x="23143" y="303273"/>
                  <a:pt x="28645" y="297714"/>
                </a:cubicBezTo>
                <a:cubicBezTo>
                  <a:pt x="31424" y="294934"/>
                  <a:pt x="35054" y="293545"/>
                  <a:pt x="38684" y="293545"/>
                </a:cubicBezTo>
                <a:close/>
                <a:moveTo>
                  <a:pt x="79270" y="252989"/>
                </a:moveTo>
                <a:cubicBezTo>
                  <a:pt x="82900" y="252989"/>
                  <a:pt x="86530" y="254378"/>
                  <a:pt x="89281" y="257158"/>
                </a:cubicBezTo>
                <a:cubicBezTo>
                  <a:pt x="94839" y="262717"/>
                  <a:pt x="94839" y="271679"/>
                  <a:pt x="89281" y="277181"/>
                </a:cubicBezTo>
                <a:cubicBezTo>
                  <a:pt x="86558" y="279960"/>
                  <a:pt x="82928" y="281378"/>
                  <a:pt x="79298" y="281378"/>
                </a:cubicBezTo>
                <a:cubicBezTo>
                  <a:pt x="75667" y="281378"/>
                  <a:pt x="72037" y="279960"/>
                  <a:pt x="69258" y="277181"/>
                </a:cubicBezTo>
                <a:cubicBezTo>
                  <a:pt x="63699" y="271679"/>
                  <a:pt x="63699" y="262717"/>
                  <a:pt x="69258" y="257158"/>
                </a:cubicBezTo>
                <a:cubicBezTo>
                  <a:pt x="72009" y="254378"/>
                  <a:pt x="75639" y="252989"/>
                  <a:pt x="79270" y="252989"/>
                </a:cubicBezTo>
                <a:close/>
                <a:moveTo>
                  <a:pt x="3743323" y="212688"/>
                </a:moveTo>
                <a:cubicBezTo>
                  <a:pt x="3745138" y="212291"/>
                  <a:pt x="3747067" y="212291"/>
                  <a:pt x="3748882" y="212688"/>
                </a:cubicBezTo>
                <a:cubicBezTo>
                  <a:pt x="3749790" y="212858"/>
                  <a:pt x="3750697" y="213141"/>
                  <a:pt x="3751548" y="213482"/>
                </a:cubicBezTo>
                <a:cubicBezTo>
                  <a:pt x="3752399" y="213879"/>
                  <a:pt x="3753193" y="214276"/>
                  <a:pt x="3753987" y="214786"/>
                </a:cubicBezTo>
                <a:cubicBezTo>
                  <a:pt x="3754781" y="215297"/>
                  <a:pt x="3755462" y="215921"/>
                  <a:pt x="3756142" y="216601"/>
                </a:cubicBezTo>
                <a:cubicBezTo>
                  <a:pt x="3756766" y="217226"/>
                  <a:pt x="3757390" y="217963"/>
                  <a:pt x="3757901" y="218757"/>
                </a:cubicBezTo>
                <a:cubicBezTo>
                  <a:pt x="3758411" y="219494"/>
                  <a:pt x="3758865" y="220345"/>
                  <a:pt x="3759205" y="221196"/>
                </a:cubicBezTo>
                <a:cubicBezTo>
                  <a:pt x="3759546" y="222047"/>
                  <a:pt x="3759829" y="222898"/>
                  <a:pt x="3760000" y="223805"/>
                </a:cubicBezTo>
                <a:cubicBezTo>
                  <a:pt x="3760170" y="224769"/>
                  <a:pt x="3760283" y="225677"/>
                  <a:pt x="3760283" y="226585"/>
                </a:cubicBezTo>
                <a:cubicBezTo>
                  <a:pt x="3760283" y="227549"/>
                  <a:pt x="3760170" y="228456"/>
                  <a:pt x="3760000" y="229364"/>
                </a:cubicBezTo>
                <a:cubicBezTo>
                  <a:pt x="3759829" y="230272"/>
                  <a:pt x="3759546" y="231179"/>
                  <a:pt x="3759205" y="232030"/>
                </a:cubicBezTo>
                <a:cubicBezTo>
                  <a:pt x="3758865" y="232881"/>
                  <a:pt x="3758411" y="233732"/>
                  <a:pt x="3757901" y="234469"/>
                </a:cubicBezTo>
                <a:cubicBezTo>
                  <a:pt x="3757390" y="235263"/>
                  <a:pt x="3756766" y="235944"/>
                  <a:pt x="3756142" y="236625"/>
                </a:cubicBezTo>
                <a:cubicBezTo>
                  <a:pt x="3755462" y="237305"/>
                  <a:pt x="3754781" y="237872"/>
                  <a:pt x="3753987" y="238383"/>
                </a:cubicBezTo>
                <a:cubicBezTo>
                  <a:pt x="3753193" y="238893"/>
                  <a:pt x="3752399" y="239347"/>
                  <a:pt x="3751548" y="239687"/>
                </a:cubicBezTo>
                <a:cubicBezTo>
                  <a:pt x="3750697" y="240028"/>
                  <a:pt x="3749790" y="240311"/>
                  <a:pt x="3748882" y="240482"/>
                </a:cubicBezTo>
                <a:cubicBezTo>
                  <a:pt x="3747974" y="240708"/>
                  <a:pt x="3747010" y="240765"/>
                  <a:pt x="3746103" y="240765"/>
                </a:cubicBezTo>
                <a:cubicBezTo>
                  <a:pt x="3745195" y="240765"/>
                  <a:pt x="3744231" y="240765"/>
                  <a:pt x="3743323" y="240482"/>
                </a:cubicBezTo>
                <a:cubicBezTo>
                  <a:pt x="3742415" y="240311"/>
                  <a:pt x="3741565" y="240028"/>
                  <a:pt x="3740657" y="239687"/>
                </a:cubicBezTo>
                <a:cubicBezTo>
                  <a:pt x="3739806" y="239347"/>
                  <a:pt x="3739012" y="238893"/>
                  <a:pt x="3738218" y="238383"/>
                </a:cubicBezTo>
                <a:cubicBezTo>
                  <a:pt x="3737481" y="237872"/>
                  <a:pt x="3736743" y="237305"/>
                  <a:pt x="3736063" y="236625"/>
                </a:cubicBezTo>
                <a:cubicBezTo>
                  <a:pt x="3735439" y="235944"/>
                  <a:pt x="3734815" y="235263"/>
                  <a:pt x="3734304" y="234469"/>
                </a:cubicBezTo>
                <a:cubicBezTo>
                  <a:pt x="3733794" y="233675"/>
                  <a:pt x="3733340" y="232881"/>
                  <a:pt x="3733000" y="232030"/>
                </a:cubicBezTo>
                <a:cubicBezTo>
                  <a:pt x="3732659" y="231179"/>
                  <a:pt x="3732376" y="230272"/>
                  <a:pt x="3732206" y="229364"/>
                </a:cubicBezTo>
                <a:cubicBezTo>
                  <a:pt x="3732036" y="228456"/>
                  <a:pt x="3731922" y="227549"/>
                  <a:pt x="3731922" y="226585"/>
                </a:cubicBezTo>
                <a:cubicBezTo>
                  <a:pt x="3731922" y="225677"/>
                  <a:pt x="3732036" y="224769"/>
                  <a:pt x="3732206" y="223805"/>
                </a:cubicBezTo>
                <a:cubicBezTo>
                  <a:pt x="3732376" y="222898"/>
                  <a:pt x="3732659" y="222047"/>
                  <a:pt x="3733000" y="221196"/>
                </a:cubicBezTo>
                <a:cubicBezTo>
                  <a:pt x="3733340" y="220345"/>
                  <a:pt x="3733794" y="219494"/>
                  <a:pt x="3734304" y="218757"/>
                </a:cubicBezTo>
                <a:cubicBezTo>
                  <a:pt x="3734815" y="217963"/>
                  <a:pt x="3735439" y="217226"/>
                  <a:pt x="3736063" y="216601"/>
                </a:cubicBezTo>
                <a:cubicBezTo>
                  <a:pt x="3736743" y="215921"/>
                  <a:pt x="3737481" y="215297"/>
                  <a:pt x="3738218" y="214786"/>
                </a:cubicBezTo>
                <a:cubicBezTo>
                  <a:pt x="3739012" y="214276"/>
                  <a:pt x="3739806" y="213879"/>
                  <a:pt x="3740657" y="213482"/>
                </a:cubicBezTo>
                <a:cubicBezTo>
                  <a:pt x="3741565" y="213141"/>
                  <a:pt x="3742415" y="212858"/>
                  <a:pt x="3743323" y="212688"/>
                </a:cubicBezTo>
                <a:close/>
                <a:moveTo>
                  <a:pt x="117074" y="212688"/>
                </a:moveTo>
                <a:cubicBezTo>
                  <a:pt x="118889" y="212291"/>
                  <a:pt x="120761" y="212291"/>
                  <a:pt x="122633" y="212688"/>
                </a:cubicBezTo>
                <a:cubicBezTo>
                  <a:pt x="123540" y="212858"/>
                  <a:pt x="124391" y="213141"/>
                  <a:pt x="125242" y="213482"/>
                </a:cubicBezTo>
                <a:cubicBezTo>
                  <a:pt x="126150" y="213879"/>
                  <a:pt x="126944" y="214276"/>
                  <a:pt x="127738" y="214786"/>
                </a:cubicBezTo>
                <a:cubicBezTo>
                  <a:pt x="128475" y="215297"/>
                  <a:pt x="129213" y="215921"/>
                  <a:pt x="129893" y="216601"/>
                </a:cubicBezTo>
                <a:cubicBezTo>
                  <a:pt x="130517" y="217226"/>
                  <a:pt x="131141" y="217963"/>
                  <a:pt x="131652" y="218757"/>
                </a:cubicBezTo>
                <a:cubicBezTo>
                  <a:pt x="132162" y="219494"/>
                  <a:pt x="132559" y="220345"/>
                  <a:pt x="132956" y="221196"/>
                </a:cubicBezTo>
                <a:cubicBezTo>
                  <a:pt x="133297" y="222047"/>
                  <a:pt x="133580" y="222898"/>
                  <a:pt x="133750" y="223805"/>
                </a:cubicBezTo>
                <a:cubicBezTo>
                  <a:pt x="133921" y="224769"/>
                  <a:pt x="134034" y="225677"/>
                  <a:pt x="134034" y="226585"/>
                </a:cubicBezTo>
                <a:cubicBezTo>
                  <a:pt x="134034" y="230328"/>
                  <a:pt x="132502" y="233958"/>
                  <a:pt x="129893" y="236625"/>
                </a:cubicBezTo>
                <a:cubicBezTo>
                  <a:pt x="129213" y="237305"/>
                  <a:pt x="128475" y="237872"/>
                  <a:pt x="127738" y="238383"/>
                </a:cubicBezTo>
                <a:cubicBezTo>
                  <a:pt x="126944" y="238893"/>
                  <a:pt x="126150" y="239347"/>
                  <a:pt x="125242" y="239687"/>
                </a:cubicBezTo>
                <a:cubicBezTo>
                  <a:pt x="124391" y="240028"/>
                  <a:pt x="123540" y="240311"/>
                  <a:pt x="122633" y="240482"/>
                </a:cubicBezTo>
                <a:cubicBezTo>
                  <a:pt x="121725" y="240708"/>
                  <a:pt x="120761" y="240765"/>
                  <a:pt x="119854" y="240765"/>
                </a:cubicBezTo>
                <a:cubicBezTo>
                  <a:pt x="118946" y="240765"/>
                  <a:pt x="117982" y="240765"/>
                  <a:pt x="117074" y="240482"/>
                </a:cubicBezTo>
                <a:cubicBezTo>
                  <a:pt x="116166" y="240311"/>
                  <a:pt x="115259" y="240028"/>
                  <a:pt x="114408" y="239687"/>
                </a:cubicBezTo>
                <a:cubicBezTo>
                  <a:pt x="113557" y="239347"/>
                  <a:pt x="112763" y="238893"/>
                  <a:pt x="111969" y="238383"/>
                </a:cubicBezTo>
                <a:cubicBezTo>
                  <a:pt x="111175" y="237872"/>
                  <a:pt x="110494" y="237305"/>
                  <a:pt x="109814" y="236625"/>
                </a:cubicBezTo>
                <a:cubicBezTo>
                  <a:pt x="109133" y="235944"/>
                  <a:pt x="108566" y="235263"/>
                  <a:pt x="108055" y="234469"/>
                </a:cubicBezTo>
                <a:cubicBezTo>
                  <a:pt x="107545" y="233732"/>
                  <a:pt x="107091" y="232881"/>
                  <a:pt x="106751" y="232030"/>
                </a:cubicBezTo>
                <a:cubicBezTo>
                  <a:pt x="106410" y="231179"/>
                  <a:pt x="106127" y="230272"/>
                  <a:pt x="105957" y="229364"/>
                </a:cubicBezTo>
                <a:cubicBezTo>
                  <a:pt x="105786" y="228456"/>
                  <a:pt x="105673" y="227549"/>
                  <a:pt x="105673" y="226585"/>
                </a:cubicBezTo>
                <a:cubicBezTo>
                  <a:pt x="105673" y="225677"/>
                  <a:pt x="105786" y="224769"/>
                  <a:pt x="105957" y="223805"/>
                </a:cubicBezTo>
                <a:cubicBezTo>
                  <a:pt x="106127" y="222898"/>
                  <a:pt x="106410" y="222047"/>
                  <a:pt x="106751" y="221196"/>
                </a:cubicBezTo>
                <a:cubicBezTo>
                  <a:pt x="107091" y="220345"/>
                  <a:pt x="107545" y="219494"/>
                  <a:pt x="108055" y="218757"/>
                </a:cubicBezTo>
                <a:cubicBezTo>
                  <a:pt x="108566" y="217963"/>
                  <a:pt x="109133" y="217226"/>
                  <a:pt x="109814" y="216601"/>
                </a:cubicBezTo>
                <a:cubicBezTo>
                  <a:pt x="110494" y="215921"/>
                  <a:pt x="111175" y="215297"/>
                  <a:pt x="111969" y="214786"/>
                </a:cubicBezTo>
                <a:cubicBezTo>
                  <a:pt x="112763" y="214276"/>
                  <a:pt x="113557" y="213879"/>
                  <a:pt x="114408" y="213482"/>
                </a:cubicBezTo>
                <a:cubicBezTo>
                  <a:pt x="115259" y="213141"/>
                  <a:pt x="116166" y="212858"/>
                  <a:pt x="117074" y="212688"/>
                </a:cubicBezTo>
                <a:close/>
                <a:moveTo>
                  <a:pt x="3801768" y="212602"/>
                </a:moveTo>
                <a:cubicBezTo>
                  <a:pt x="3805462" y="212602"/>
                  <a:pt x="3809149" y="213935"/>
                  <a:pt x="3811786" y="216601"/>
                </a:cubicBezTo>
                <a:cubicBezTo>
                  <a:pt x="3812467" y="217225"/>
                  <a:pt x="3813034" y="217963"/>
                  <a:pt x="3813545" y="218756"/>
                </a:cubicBezTo>
                <a:cubicBezTo>
                  <a:pt x="3814055" y="219494"/>
                  <a:pt x="3814509" y="220345"/>
                  <a:pt x="3814849" y="221195"/>
                </a:cubicBezTo>
                <a:cubicBezTo>
                  <a:pt x="3815190" y="222046"/>
                  <a:pt x="3815473" y="222897"/>
                  <a:pt x="3815644" y="223805"/>
                </a:cubicBezTo>
                <a:cubicBezTo>
                  <a:pt x="3815870" y="224769"/>
                  <a:pt x="3815927" y="225677"/>
                  <a:pt x="3815927" y="226584"/>
                </a:cubicBezTo>
                <a:cubicBezTo>
                  <a:pt x="3815927" y="227548"/>
                  <a:pt x="3815870" y="228456"/>
                  <a:pt x="3815644" y="229363"/>
                </a:cubicBezTo>
                <a:cubicBezTo>
                  <a:pt x="3815473" y="230271"/>
                  <a:pt x="3815190" y="231179"/>
                  <a:pt x="3814849" y="232030"/>
                </a:cubicBezTo>
                <a:cubicBezTo>
                  <a:pt x="3814509" y="232880"/>
                  <a:pt x="3814055" y="233731"/>
                  <a:pt x="3813545" y="234469"/>
                </a:cubicBezTo>
                <a:cubicBezTo>
                  <a:pt x="3813034" y="235263"/>
                  <a:pt x="3812467" y="235943"/>
                  <a:pt x="3811786" y="236624"/>
                </a:cubicBezTo>
                <a:cubicBezTo>
                  <a:pt x="3809177" y="239290"/>
                  <a:pt x="3805490" y="240765"/>
                  <a:pt x="3801747" y="240765"/>
                </a:cubicBezTo>
                <a:cubicBezTo>
                  <a:pt x="3798059" y="240765"/>
                  <a:pt x="3794373" y="239290"/>
                  <a:pt x="3791707" y="236624"/>
                </a:cubicBezTo>
                <a:cubicBezTo>
                  <a:pt x="3789098" y="233958"/>
                  <a:pt x="3787566" y="230328"/>
                  <a:pt x="3787566" y="226584"/>
                </a:cubicBezTo>
                <a:cubicBezTo>
                  <a:pt x="3787566" y="225677"/>
                  <a:pt x="3787680" y="224769"/>
                  <a:pt x="3787850" y="223805"/>
                </a:cubicBezTo>
                <a:cubicBezTo>
                  <a:pt x="3788020" y="222954"/>
                  <a:pt x="3788303" y="222046"/>
                  <a:pt x="3788644" y="221195"/>
                </a:cubicBezTo>
                <a:cubicBezTo>
                  <a:pt x="3789041" y="220345"/>
                  <a:pt x="3789495" y="219494"/>
                  <a:pt x="3789948" y="218756"/>
                </a:cubicBezTo>
                <a:cubicBezTo>
                  <a:pt x="3790516" y="217963"/>
                  <a:pt x="3791083" y="217225"/>
                  <a:pt x="3791707" y="216601"/>
                </a:cubicBezTo>
                <a:cubicBezTo>
                  <a:pt x="3794373" y="213935"/>
                  <a:pt x="3798074" y="212602"/>
                  <a:pt x="3801768" y="212602"/>
                </a:cubicBezTo>
                <a:close/>
                <a:moveTo>
                  <a:pt x="3689437" y="212404"/>
                </a:moveTo>
                <a:cubicBezTo>
                  <a:pt x="3697265" y="212404"/>
                  <a:pt x="3703618" y="218757"/>
                  <a:pt x="3703618" y="226585"/>
                </a:cubicBezTo>
                <a:cubicBezTo>
                  <a:pt x="3703618" y="234469"/>
                  <a:pt x="3697265" y="240765"/>
                  <a:pt x="3689437" y="240765"/>
                </a:cubicBezTo>
                <a:cubicBezTo>
                  <a:pt x="3681610" y="240765"/>
                  <a:pt x="3675257" y="234469"/>
                  <a:pt x="3675257" y="226585"/>
                </a:cubicBezTo>
                <a:cubicBezTo>
                  <a:pt x="3675257" y="218757"/>
                  <a:pt x="3681610" y="212404"/>
                  <a:pt x="3689437" y="212404"/>
                </a:cubicBezTo>
                <a:close/>
                <a:moveTo>
                  <a:pt x="3632772" y="212404"/>
                </a:moveTo>
                <a:cubicBezTo>
                  <a:pt x="3640600" y="212404"/>
                  <a:pt x="3646952" y="218757"/>
                  <a:pt x="3646952" y="226585"/>
                </a:cubicBezTo>
                <a:cubicBezTo>
                  <a:pt x="3646952" y="234469"/>
                  <a:pt x="3640600" y="240765"/>
                  <a:pt x="3632772" y="240765"/>
                </a:cubicBezTo>
                <a:cubicBezTo>
                  <a:pt x="3624944" y="240765"/>
                  <a:pt x="3618591" y="234469"/>
                  <a:pt x="3618591" y="226585"/>
                </a:cubicBezTo>
                <a:cubicBezTo>
                  <a:pt x="3618591" y="218757"/>
                  <a:pt x="3624944" y="212404"/>
                  <a:pt x="3632772" y="212404"/>
                </a:cubicBezTo>
                <a:close/>
                <a:moveTo>
                  <a:pt x="3576106" y="212404"/>
                </a:moveTo>
                <a:cubicBezTo>
                  <a:pt x="3583934" y="212404"/>
                  <a:pt x="3590287" y="218757"/>
                  <a:pt x="3590287" y="226585"/>
                </a:cubicBezTo>
                <a:cubicBezTo>
                  <a:pt x="3590287" y="234469"/>
                  <a:pt x="3583934" y="240765"/>
                  <a:pt x="3576106" y="240765"/>
                </a:cubicBezTo>
                <a:cubicBezTo>
                  <a:pt x="3568279" y="240765"/>
                  <a:pt x="3561926" y="234469"/>
                  <a:pt x="3561926" y="226585"/>
                </a:cubicBezTo>
                <a:cubicBezTo>
                  <a:pt x="3561926" y="218757"/>
                  <a:pt x="3568279" y="212404"/>
                  <a:pt x="3576106" y="212404"/>
                </a:cubicBezTo>
                <a:close/>
                <a:moveTo>
                  <a:pt x="3519441" y="212404"/>
                </a:moveTo>
                <a:cubicBezTo>
                  <a:pt x="3527268" y="212404"/>
                  <a:pt x="3533621" y="218757"/>
                  <a:pt x="3533621" y="226585"/>
                </a:cubicBezTo>
                <a:cubicBezTo>
                  <a:pt x="3533621" y="234469"/>
                  <a:pt x="3527268" y="240765"/>
                  <a:pt x="3519441" y="240765"/>
                </a:cubicBezTo>
                <a:cubicBezTo>
                  <a:pt x="3511613" y="240765"/>
                  <a:pt x="3505260" y="234469"/>
                  <a:pt x="3505260" y="226585"/>
                </a:cubicBezTo>
                <a:cubicBezTo>
                  <a:pt x="3505260" y="218757"/>
                  <a:pt x="3511613" y="212404"/>
                  <a:pt x="3519441" y="212404"/>
                </a:cubicBezTo>
                <a:close/>
                <a:moveTo>
                  <a:pt x="3462832" y="212404"/>
                </a:moveTo>
                <a:cubicBezTo>
                  <a:pt x="3470660" y="212404"/>
                  <a:pt x="3477013" y="218757"/>
                  <a:pt x="3477013" y="226585"/>
                </a:cubicBezTo>
                <a:cubicBezTo>
                  <a:pt x="3477013" y="234469"/>
                  <a:pt x="3470660" y="240765"/>
                  <a:pt x="3462832" y="240765"/>
                </a:cubicBezTo>
                <a:cubicBezTo>
                  <a:pt x="3454948" y="240765"/>
                  <a:pt x="3448652" y="234469"/>
                  <a:pt x="3448652" y="226585"/>
                </a:cubicBezTo>
                <a:cubicBezTo>
                  <a:pt x="3448652" y="218757"/>
                  <a:pt x="3454948" y="212404"/>
                  <a:pt x="3462832" y="212404"/>
                </a:cubicBezTo>
                <a:close/>
                <a:moveTo>
                  <a:pt x="3406167" y="212404"/>
                </a:moveTo>
                <a:cubicBezTo>
                  <a:pt x="3413994" y="212404"/>
                  <a:pt x="3420347" y="218757"/>
                  <a:pt x="3420347" y="226585"/>
                </a:cubicBezTo>
                <a:cubicBezTo>
                  <a:pt x="3420347" y="234469"/>
                  <a:pt x="3413994" y="240765"/>
                  <a:pt x="3406167" y="240765"/>
                </a:cubicBezTo>
                <a:cubicBezTo>
                  <a:pt x="3398339" y="240765"/>
                  <a:pt x="3391929" y="234469"/>
                  <a:pt x="3391929" y="226585"/>
                </a:cubicBezTo>
                <a:cubicBezTo>
                  <a:pt x="3391929" y="218757"/>
                  <a:pt x="3398339" y="212404"/>
                  <a:pt x="3406167" y="212404"/>
                </a:cubicBezTo>
                <a:close/>
                <a:moveTo>
                  <a:pt x="3349501" y="212404"/>
                </a:moveTo>
                <a:cubicBezTo>
                  <a:pt x="3357329" y="212404"/>
                  <a:pt x="3363682" y="218757"/>
                  <a:pt x="3363682" y="226585"/>
                </a:cubicBezTo>
                <a:cubicBezTo>
                  <a:pt x="3363682" y="234469"/>
                  <a:pt x="3357329" y="240765"/>
                  <a:pt x="3349501" y="240765"/>
                </a:cubicBezTo>
                <a:cubicBezTo>
                  <a:pt x="3341674" y="240765"/>
                  <a:pt x="3335321" y="234469"/>
                  <a:pt x="3335321" y="226585"/>
                </a:cubicBezTo>
                <a:cubicBezTo>
                  <a:pt x="3335321" y="218757"/>
                  <a:pt x="3341674" y="212404"/>
                  <a:pt x="3349501" y="212404"/>
                </a:cubicBezTo>
                <a:close/>
                <a:moveTo>
                  <a:pt x="3292836" y="212404"/>
                </a:moveTo>
                <a:cubicBezTo>
                  <a:pt x="3300663" y="212404"/>
                  <a:pt x="3307016" y="218757"/>
                  <a:pt x="3307016" y="226585"/>
                </a:cubicBezTo>
                <a:cubicBezTo>
                  <a:pt x="3307016" y="234469"/>
                  <a:pt x="3300663" y="240765"/>
                  <a:pt x="3292836" y="240765"/>
                </a:cubicBezTo>
                <a:cubicBezTo>
                  <a:pt x="3285008" y="240765"/>
                  <a:pt x="3278655" y="234469"/>
                  <a:pt x="3278655" y="226585"/>
                </a:cubicBezTo>
                <a:cubicBezTo>
                  <a:pt x="3278655" y="218757"/>
                  <a:pt x="3285008" y="212404"/>
                  <a:pt x="3292836" y="212404"/>
                </a:cubicBezTo>
                <a:close/>
                <a:moveTo>
                  <a:pt x="3236170" y="212404"/>
                </a:moveTo>
                <a:cubicBezTo>
                  <a:pt x="3243998" y="212404"/>
                  <a:pt x="3250351" y="218757"/>
                  <a:pt x="3250351" y="226585"/>
                </a:cubicBezTo>
                <a:cubicBezTo>
                  <a:pt x="3250351" y="234469"/>
                  <a:pt x="3243998" y="240765"/>
                  <a:pt x="3236170" y="240765"/>
                </a:cubicBezTo>
                <a:cubicBezTo>
                  <a:pt x="3228343" y="240765"/>
                  <a:pt x="3221990" y="234469"/>
                  <a:pt x="3221990" y="226585"/>
                </a:cubicBezTo>
                <a:cubicBezTo>
                  <a:pt x="3221990" y="218757"/>
                  <a:pt x="3228343" y="212404"/>
                  <a:pt x="3236170" y="212404"/>
                </a:cubicBezTo>
                <a:close/>
                <a:moveTo>
                  <a:pt x="3179505" y="212404"/>
                </a:moveTo>
                <a:cubicBezTo>
                  <a:pt x="3187332" y="212404"/>
                  <a:pt x="3193685" y="218757"/>
                  <a:pt x="3193685" y="226585"/>
                </a:cubicBezTo>
                <a:cubicBezTo>
                  <a:pt x="3193685" y="234469"/>
                  <a:pt x="3187332" y="240765"/>
                  <a:pt x="3179505" y="240765"/>
                </a:cubicBezTo>
                <a:cubicBezTo>
                  <a:pt x="3171677" y="240765"/>
                  <a:pt x="3165324" y="234469"/>
                  <a:pt x="3165324" y="226585"/>
                </a:cubicBezTo>
                <a:cubicBezTo>
                  <a:pt x="3165324" y="218757"/>
                  <a:pt x="3171677" y="212404"/>
                  <a:pt x="3179505" y="212404"/>
                </a:cubicBezTo>
                <a:close/>
                <a:moveTo>
                  <a:pt x="3122839" y="212404"/>
                </a:moveTo>
                <a:cubicBezTo>
                  <a:pt x="3130667" y="212404"/>
                  <a:pt x="3137020" y="218757"/>
                  <a:pt x="3137020" y="226585"/>
                </a:cubicBezTo>
                <a:cubicBezTo>
                  <a:pt x="3137020" y="234469"/>
                  <a:pt x="3130667" y="240765"/>
                  <a:pt x="3122839" y="240765"/>
                </a:cubicBezTo>
                <a:cubicBezTo>
                  <a:pt x="3115012" y="240765"/>
                  <a:pt x="3108659" y="234469"/>
                  <a:pt x="3108659" y="226585"/>
                </a:cubicBezTo>
                <a:cubicBezTo>
                  <a:pt x="3108659" y="218757"/>
                  <a:pt x="3115012" y="212404"/>
                  <a:pt x="3122839" y="212404"/>
                </a:cubicBezTo>
                <a:close/>
                <a:moveTo>
                  <a:pt x="3066174" y="212404"/>
                </a:moveTo>
                <a:cubicBezTo>
                  <a:pt x="3074002" y="212404"/>
                  <a:pt x="3080355" y="218757"/>
                  <a:pt x="3080355" y="226585"/>
                </a:cubicBezTo>
                <a:cubicBezTo>
                  <a:pt x="3080355" y="234469"/>
                  <a:pt x="3074002" y="240765"/>
                  <a:pt x="3066174" y="240765"/>
                </a:cubicBezTo>
                <a:cubicBezTo>
                  <a:pt x="3058346" y="240765"/>
                  <a:pt x="3051993" y="234469"/>
                  <a:pt x="3051993" y="226585"/>
                </a:cubicBezTo>
                <a:cubicBezTo>
                  <a:pt x="3051993" y="218757"/>
                  <a:pt x="3058346" y="212404"/>
                  <a:pt x="3066174" y="212404"/>
                </a:cubicBezTo>
                <a:close/>
                <a:moveTo>
                  <a:pt x="3009509" y="212404"/>
                </a:moveTo>
                <a:cubicBezTo>
                  <a:pt x="3017336" y="212404"/>
                  <a:pt x="3023689" y="218757"/>
                  <a:pt x="3023689" y="226585"/>
                </a:cubicBezTo>
                <a:cubicBezTo>
                  <a:pt x="3023689" y="234469"/>
                  <a:pt x="3017336" y="240765"/>
                  <a:pt x="3009509" y="240765"/>
                </a:cubicBezTo>
                <a:cubicBezTo>
                  <a:pt x="3001681" y="240765"/>
                  <a:pt x="2995328" y="234469"/>
                  <a:pt x="2995328" y="226585"/>
                </a:cubicBezTo>
                <a:cubicBezTo>
                  <a:pt x="2995328" y="218757"/>
                  <a:pt x="3001681" y="212404"/>
                  <a:pt x="3009509" y="212404"/>
                </a:cubicBezTo>
                <a:close/>
                <a:moveTo>
                  <a:pt x="2952843" y="212404"/>
                </a:moveTo>
                <a:cubicBezTo>
                  <a:pt x="2960671" y="212404"/>
                  <a:pt x="2967024" y="218757"/>
                  <a:pt x="2967024" y="226585"/>
                </a:cubicBezTo>
                <a:cubicBezTo>
                  <a:pt x="2967024" y="234469"/>
                  <a:pt x="2960671" y="240765"/>
                  <a:pt x="2952843" y="240765"/>
                </a:cubicBezTo>
                <a:cubicBezTo>
                  <a:pt x="2945016" y="240765"/>
                  <a:pt x="2938663" y="234469"/>
                  <a:pt x="2938663" y="226585"/>
                </a:cubicBezTo>
                <a:cubicBezTo>
                  <a:pt x="2938663" y="218757"/>
                  <a:pt x="2945016" y="212404"/>
                  <a:pt x="2952843" y="212404"/>
                </a:cubicBezTo>
                <a:close/>
                <a:moveTo>
                  <a:pt x="2896177" y="212404"/>
                </a:moveTo>
                <a:cubicBezTo>
                  <a:pt x="2904005" y="212404"/>
                  <a:pt x="2910358" y="218757"/>
                  <a:pt x="2910358" y="226585"/>
                </a:cubicBezTo>
                <a:cubicBezTo>
                  <a:pt x="2910358" y="234469"/>
                  <a:pt x="2904005" y="240765"/>
                  <a:pt x="2896177" y="240765"/>
                </a:cubicBezTo>
                <a:cubicBezTo>
                  <a:pt x="2888350" y="240765"/>
                  <a:pt x="2881997" y="234469"/>
                  <a:pt x="2881997" y="226585"/>
                </a:cubicBezTo>
                <a:cubicBezTo>
                  <a:pt x="2881997" y="218757"/>
                  <a:pt x="2888350" y="212404"/>
                  <a:pt x="2896177" y="212404"/>
                </a:cubicBezTo>
                <a:close/>
                <a:moveTo>
                  <a:pt x="2839569" y="212404"/>
                </a:moveTo>
                <a:cubicBezTo>
                  <a:pt x="2847397" y="212404"/>
                  <a:pt x="2853693" y="218757"/>
                  <a:pt x="2853693" y="226585"/>
                </a:cubicBezTo>
                <a:cubicBezTo>
                  <a:pt x="2853693" y="234469"/>
                  <a:pt x="2847397" y="240765"/>
                  <a:pt x="2839569" y="240765"/>
                </a:cubicBezTo>
                <a:cubicBezTo>
                  <a:pt x="2831684" y="240765"/>
                  <a:pt x="2825388" y="234469"/>
                  <a:pt x="2825388" y="226585"/>
                </a:cubicBezTo>
                <a:cubicBezTo>
                  <a:pt x="2825388" y="218757"/>
                  <a:pt x="2831684" y="212404"/>
                  <a:pt x="2839569" y="212404"/>
                </a:cubicBezTo>
                <a:close/>
                <a:moveTo>
                  <a:pt x="2782847" y="212404"/>
                </a:moveTo>
                <a:cubicBezTo>
                  <a:pt x="2790731" y="212404"/>
                  <a:pt x="2797084" y="218757"/>
                  <a:pt x="2797084" y="226585"/>
                </a:cubicBezTo>
                <a:cubicBezTo>
                  <a:pt x="2797084" y="234469"/>
                  <a:pt x="2790731" y="240765"/>
                  <a:pt x="2782847" y="240765"/>
                </a:cubicBezTo>
                <a:cubicBezTo>
                  <a:pt x="2775019" y="240765"/>
                  <a:pt x="2768723" y="234469"/>
                  <a:pt x="2768723" y="226585"/>
                </a:cubicBezTo>
                <a:cubicBezTo>
                  <a:pt x="2768723" y="218757"/>
                  <a:pt x="2775019" y="212404"/>
                  <a:pt x="2782847" y="212404"/>
                </a:cubicBezTo>
                <a:close/>
                <a:moveTo>
                  <a:pt x="2726238" y="212404"/>
                </a:moveTo>
                <a:cubicBezTo>
                  <a:pt x="2734066" y="212404"/>
                  <a:pt x="2740419" y="218757"/>
                  <a:pt x="2740419" y="226585"/>
                </a:cubicBezTo>
                <a:cubicBezTo>
                  <a:pt x="2740419" y="234469"/>
                  <a:pt x="2734066" y="240765"/>
                  <a:pt x="2726238" y="240765"/>
                </a:cubicBezTo>
                <a:cubicBezTo>
                  <a:pt x="2718410" y="240765"/>
                  <a:pt x="2712058" y="234469"/>
                  <a:pt x="2712058" y="226585"/>
                </a:cubicBezTo>
                <a:cubicBezTo>
                  <a:pt x="2712058" y="218757"/>
                  <a:pt x="2718410" y="212404"/>
                  <a:pt x="2726238" y="212404"/>
                </a:cubicBezTo>
                <a:close/>
                <a:moveTo>
                  <a:pt x="2669573" y="212404"/>
                </a:moveTo>
                <a:cubicBezTo>
                  <a:pt x="2677400" y="212404"/>
                  <a:pt x="2683753" y="218757"/>
                  <a:pt x="2683753" y="226585"/>
                </a:cubicBezTo>
                <a:cubicBezTo>
                  <a:pt x="2683753" y="234469"/>
                  <a:pt x="2677400" y="240765"/>
                  <a:pt x="2669573" y="240765"/>
                </a:cubicBezTo>
                <a:cubicBezTo>
                  <a:pt x="2661745" y="240765"/>
                  <a:pt x="2655392" y="234469"/>
                  <a:pt x="2655392" y="226585"/>
                </a:cubicBezTo>
                <a:cubicBezTo>
                  <a:pt x="2655392" y="218757"/>
                  <a:pt x="2661745" y="212404"/>
                  <a:pt x="2669573" y="212404"/>
                </a:cubicBezTo>
                <a:close/>
                <a:moveTo>
                  <a:pt x="2612907" y="212404"/>
                </a:moveTo>
                <a:cubicBezTo>
                  <a:pt x="2620735" y="212404"/>
                  <a:pt x="2627087" y="218757"/>
                  <a:pt x="2627087" y="226585"/>
                </a:cubicBezTo>
                <a:cubicBezTo>
                  <a:pt x="2627087" y="234469"/>
                  <a:pt x="2620735" y="240765"/>
                  <a:pt x="2612907" y="240765"/>
                </a:cubicBezTo>
                <a:cubicBezTo>
                  <a:pt x="2605080" y="240765"/>
                  <a:pt x="2598726" y="234469"/>
                  <a:pt x="2598726" y="226585"/>
                </a:cubicBezTo>
                <a:cubicBezTo>
                  <a:pt x="2598726" y="218757"/>
                  <a:pt x="2605080" y="212404"/>
                  <a:pt x="2612907" y="212404"/>
                </a:cubicBezTo>
                <a:close/>
                <a:moveTo>
                  <a:pt x="2556242" y="212404"/>
                </a:moveTo>
                <a:cubicBezTo>
                  <a:pt x="2564069" y="212404"/>
                  <a:pt x="2570422" y="218757"/>
                  <a:pt x="2570422" y="226585"/>
                </a:cubicBezTo>
                <a:cubicBezTo>
                  <a:pt x="2570422" y="234469"/>
                  <a:pt x="2564069" y="240765"/>
                  <a:pt x="2556242" y="240765"/>
                </a:cubicBezTo>
                <a:cubicBezTo>
                  <a:pt x="2548414" y="240765"/>
                  <a:pt x="2542061" y="234469"/>
                  <a:pt x="2542061" y="226585"/>
                </a:cubicBezTo>
                <a:cubicBezTo>
                  <a:pt x="2542061" y="218757"/>
                  <a:pt x="2548414" y="212404"/>
                  <a:pt x="2556242" y="212404"/>
                </a:cubicBezTo>
                <a:close/>
                <a:moveTo>
                  <a:pt x="2499576" y="212404"/>
                </a:moveTo>
                <a:cubicBezTo>
                  <a:pt x="2507404" y="212404"/>
                  <a:pt x="2513757" y="218757"/>
                  <a:pt x="2513757" y="226585"/>
                </a:cubicBezTo>
                <a:cubicBezTo>
                  <a:pt x="2513757" y="234469"/>
                  <a:pt x="2507404" y="240765"/>
                  <a:pt x="2499576" y="240765"/>
                </a:cubicBezTo>
                <a:cubicBezTo>
                  <a:pt x="2491748" y="240765"/>
                  <a:pt x="2485396" y="234469"/>
                  <a:pt x="2485396" y="226585"/>
                </a:cubicBezTo>
                <a:cubicBezTo>
                  <a:pt x="2485396" y="218757"/>
                  <a:pt x="2491748" y="212404"/>
                  <a:pt x="2499576" y="212404"/>
                </a:cubicBezTo>
                <a:close/>
                <a:moveTo>
                  <a:pt x="2442911" y="212404"/>
                </a:moveTo>
                <a:cubicBezTo>
                  <a:pt x="2450738" y="212404"/>
                  <a:pt x="2457091" y="218757"/>
                  <a:pt x="2457091" y="226585"/>
                </a:cubicBezTo>
                <a:cubicBezTo>
                  <a:pt x="2457091" y="234469"/>
                  <a:pt x="2450738" y="240765"/>
                  <a:pt x="2442911" y="240765"/>
                </a:cubicBezTo>
                <a:cubicBezTo>
                  <a:pt x="2435083" y="240765"/>
                  <a:pt x="2428730" y="234469"/>
                  <a:pt x="2428730" y="226585"/>
                </a:cubicBezTo>
                <a:cubicBezTo>
                  <a:pt x="2428730" y="218757"/>
                  <a:pt x="2435083" y="212404"/>
                  <a:pt x="2442911" y="212404"/>
                </a:cubicBezTo>
                <a:close/>
                <a:moveTo>
                  <a:pt x="2386245" y="212404"/>
                </a:moveTo>
                <a:cubicBezTo>
                  <a:pt x="2394073" y="212404"/>
                  <a:pt x="2400426" y="218757"/>
                  <a:pt x="2400426" y="226585"/>
                </a:cubicBezTo>
                <a:cubicBezTo>
                  <a:pt x="2400426" y="234469"/>
                  <a:pt x="2394073" y="240765"/>
                  <a:pt x="2386245" y="240765"/>
                </a:cubicBezTo>
                <a:cubicBezTo>
                  <a:pt x="2378418" y="240765"/>
                  <a:pt x="2372065" y="234469"/>
                  <a:pt x="2372065" y="226585"/>
                </a:cubicBezTo>
                <a:cubicBezTo>
                  <a:pt x="2372065" y="218757"/>
                  <a:pt x="2378418" y="212404"/>
                  <a:pt x="2386245" y="212404"/>
                </a:cubicBezTo>
                <a:close/>
                <a:moveTo>
                  <a:pt x="2329580" y="212404"/>
                </a:moveTo>
                <a:cubicBezTo>
                  <a:pt x="2337408" y="212404"/>
                  <a:pt x="2343761" y="218757"/>
                  <a:pt x="2343761" y="226585"/>
                </a:cubicBezTo>
                <a:cubicBezTo>
                  <a:pt x="2343761" y="234469"/>
                  <a:pt x="2337408" y="240765"/>
                  <a:pt x="2329580" y="240765"/>
                </a:cubicBezTo>
                <a:cubicBezTo>
                  <a:pt x="2321752" y="240765"/>
                  <a:pt x="2315399" y="234469"/>
                  <a:pt x="2315399" y="226585"/>
                </a:cubicBezTo>
                <a:cubicBezTo>
                  <a:pt x="2315399" y="218757"/>
                  <a:pt x="2321752" y="212404"/>
                  <a:pt x="2329580" y="212404"/>
                </a:cubicBezTo>
                <a:close/>
                <a:moveTo>
                  <a:pt x="2272915" y="212404"/>
                </a:moveTo>
                <a:cubicBezTo>
                  <a:pt x="2280742" y="212404"/>
                  <a:pt x="2287095" y="218757"/>
                  <a:pt x="2287095" y="226585"/>
                </a:cubicBezTo>
                <a:cubicBezTo>
                  <a:pt x="2287095" y="234469"/>
                  <a:pt x="2280742" y="240765"/>
                  <a:pt x="2272915" y="240765"/>
                </a:cubicBezTo>
                <a:cubicBezTo>
                  <a:pt x="2265087" y="240765"/>
                  <a:pt x="2258734" y="234469"/>
                  <a:pt x="2258734" y="226585"/>
                </a:cubicBezTo>
                <a:cubicBezTo>
                  <a:pt x="2258734" y="218757"/>
                  <a:pt x="2265087" y="212404"/>
                  <a:pt x="2272915" y="212404"/>
                </a:cubicBezTo>
                <a:close/>
                <a:moveTo>
                  <a:pt x="2216306" y="212404"/>
                </a:moveTo>
                <a:cubicBezTo>
                  <a:pt x="2224133" y="212404"/>
                  <a:pt x="2230429" y="218757"/>
                  <a:pt x="2230429" y="226585"/>
                </a:cubicBezTo>
                <a:cubicBezTo>
                  <a:pt x="2230429" y="234469"/>
                  <a:pt x="2224133" y="240765"/>
                  <a:pt x="2216306" y="240765"/>
                </a:cubicBezTo>
                <a:cubicBezTo>
                  <a:pt x="2208421" y="240765"/>
                  <a:pt x="2202125" y="234469"/>
                  <a:pt x="2202125" y="226585"/>
                </a:cubicBezTo>
                <a:cubicBezTo>
                  <a:pt x="2202125" y="218757"/>
                  <a:pt x="2208421" y="212404"/>
                  <a:pt x="2216306" y="212404"/>
                </a:cubicBezTo>
                <a:close/>
                <a:moveTo>
                  <a:pt x="2159640" y="212404"/>
                </a:moveTo>
                <a:cubicBezTo>
                  <a:pt x="2167468" y="212404"/>
                  <a:pt x="2173821" y="218757"/>
                  <a:pt x="2173821" y="226585"/>
                </a:cubicBezTo>
                <a:cubicBezTo>
                  <a:pt x="2173821" y="234469"/>
                  <a:pt x="2167468" y="240765"/>
                  <a:pt x="2159640" y="240765"/>
                </a:cubicBezTo>
                <a:cubicBezTo>
                  <a:pt x="2151756" y="240765"/>
                  <a:pt x="2145403" y="234469"/>
                  <a:pt x="2145403" y="226585"/>
                </a:cubicBezTo>
                <a:cubicBezTo>
                  <a:pt x="2145403" y="218757"/>
                  <a:pt x="2151756" y="212404"/>
                  <a:pt x="2159640" y="212404"/>
                </a:cubicBezTo>
                <a:close/>
                <a:moveTo>
                  <a:pt x="2102975" y="212404"/>
                </a:moveTo>
                <a:cubicBezTo>
                  <a:pt x="2110802" y="212404"/>
                  <a:pt x="2117155" y="218757"/>
                  <a:pt x="2117155" y="226585"/>
                </a:cubicBezTo>
                <a:cubicBezTo>
                  <a:pt x="2117155" y="234469"/>
                  <a:pt x="2110802" y="240765"/>
                  <a:pt x="2102975" y="240765"/>
                </a:cubicBezTo>
                <a:cubicBezTo>
                  <a:pt x="2095147" y="240765"/>
                  <a:pt x="2088794" y="234469"/>
                  <a:pt x="2088794" y="226585"/>
                </a:cubicBezTo>
                <a:cubicBezTo>
                  <a:pt x="2088794" y="218757"/>
                  <a:pt x="2095147" y="212404"/>
                  <a:pt x="2102975" y="212404"/>
                </a:cubicBezTo>
                <a:close/>
                <a:moveTo>
                  <a:pt x="2046309" y="212404"/>
                </a:moveTo>
                <a:cubicBezTo>
                  <a:pt x="2054137" y="212404"/>
                  <a:pt x="2060490" y="218757"/>
                  <a:pt x="2060490" y="226585"/>
                </a:cubicBezTo>
                <a:cubicBezTo>
                  <a:pt x="2060490" y="234469"/>
                  <a:pt x="2054137" y="240765"/>
                  <a:pt x="2046309" y="240765"/>
                </a:cubicBezTo>
                <a:cubicBezTo>
                  <a:pt x="2038482" y="240765"/>
                  <a:pt x="2032129" y="234469"/>
                  <a:pt x="2032129" y="226585"/>
                </a:cubicBezTo>
                <a:cubicBezTo>
                  <a:pt x="2032129" y="218757"/>
                  <a:pt x="2038482" y="212404"/>
                  <a:pt x="2046309" y="212404"/>
                </a:cubicBezTo>
                <a:close/>
                <a:moveTo>
                  <a:pt x="1989644" y="212404"/>
                </a:moveTo>
                <a:cubicBezTo>
                  <a:pt x="1997471" y="212404"/>
                  <a:pt x="2003825" y="218757"/>
                  <a:pt x="2003825" y="226585"/>
                </a:cubicBezTo>
                <a:cubicBezTo>
                  <a:pt x="2003825" y="234469"/>
                  <a:pt x="1997471" y="240765"/>
                  <a:pt x="1989644" y="240765"/>
                </a:cubicBezTo>
                <a:cubicBezTo>
                  <a:pt x="1981816" y="240765"/>
                  <a:pt x="1975463" y="234469"/>
                  <a:pt x="1975463" y="226585"/>
                </a:cubicBezTo>
                <a:cubicBezTo>
                  <a:pt x="1975463" y="218757"/>
                  <a:pt x="1981816" y="212404"/>
                  <a:pt x="1989644" y="212404"/>
                </a:cubicBezTo>
                <a:close/>
                <a:moveTo>
                  <a:pt x="1932978" y="212404"/>
                </a:moveTo>
                <a:cubicBezTo>
                  <a:pt x="1940806" y="212404"/>
                  <a:pt x="1947159" y="218757"/>
                  <a:pt x="1947159" y="226585"/>
                </a:cubicBezTo>
                <a:cubicBezTo>
                  <a:pt x="1947159" y="234469"/>
                  <a:pt x="1940806" y="240765"/>
                  <a:pt x="1932978" y="240765"/>
                </a:cubicBezTo>
                <a:cubicBezTo>
                  <a:pt x="1925151" y="240765"/>
                  <a:pt x="1918798" y="234469"/>
                  <a:pt x="1918798" y="226585"/>
                </a:cubicBezTo>
                <a:cubicBezTo>
                  <a:pt x="1918798" y="218757"/>
                  <a:pt x="1925151" y="212404"/>
                  <a:pt x="1932978" y="212404"/>
                </a:cubicBezTo>
                <a:close/>
                <a:moveTo>
                  <a:pt x="1876313" y="212404"/>
                </a:moveTo>
                <a:cubicBezTo>
                  <a:pt x="1884141" y="212404"/>
                  <a:pt x="1890493" y="218757"/>
                  <a:pt x="1890493" y="226585"/>
                </a:cubicBezTo>
                <a:cubicBezTo>
                  <a:pt x="1890493" y="234469"/>
                  <a:pt x="1884141" y="240765"/>
                  <a:pt x="1876313" y="240765"/>
                </a:cubicBezTo>
                <a:cubicBezTo>
                  <a:pt x="1868485" y="240765"/>
                  <a:pt x="1862132" y="234469"/>
                  <a:pt x="1862132" y="226585"/>
                </a:cubicBezTo>
                <a:cubicBezTo>
                  <a:pt x="1862132" y="218757"/>
                  <a:pt x="1868485" y="212404"/>
                  <a:pt x="1876313" y="212404"/>
                </a:cubicBezTo>
                <a:close/>
                <a:moveTo>
                  <a:pt x="1819647" y="212404"/>
                </a:moveTo>
                <a:cubicBezTo>
                  <a:pt x="1827475" y="212404"/>
                  <a:pt x="1833828" y="218757"/>
                  <a:pt x="1833828" y="226585"/>
                </a:cubicBezTo>
                <a:cubicBezTo>
                  <a:pt x="1833828" y="234469"/>
                  <a:pt x="1827475" y="240765"/>
                  <a:pt x="1819647" y="240765"/>
                </a:cubicBezTo>
                <a:cubicBezTo>
                  <a:pt x="1811820" y="240765"/>
                  <a:pt x="1805467" y="234469"/>
                  <a:pt x="1805467" y="226585"/>
                </a:cubicBezTo>
                <a:cubicBezTo>
                  <a:pt x="1805467" y="218757"/>
                  <a:pt x="1811820" y="212404"/>
                  <a:pt x="1819647" y="212404"/>
                </a:cubicBezTo>
                <a:close/>
                <a:moveTo>
                  <a:pt x="1762982" y="212404"/>
                </a:moveTo>
                <a:cubicBezTo>
                  <a:pt x="1770810" y="212404"/>
                  <a:pt x="1777163" y="218757"/>
                  <a:pt x="1777163" y="226585"/>
                </a:cubicBezTo>
                <a:cubicBezTo>
                  <a:pt x="1777163" y="234469"/>
                  <a:pt x="1770810" y="240765"/>
                  <a:pt x="1762982" y="240765"/>
                </a:cubicBezTo>
                <a:cubicBezTo>
                  <a:pt x="1755154" y="240765"/>
                  <a:pt x="1748802" y="234469"/>
                  <a:pt x="1748802" y="226585"/>
                </a:cubicBezTo>
                <a:cubicBezTo>
                  <a:pt x="1748802" y="218757"/>
                  <a:pt x="1755154" y="212404"/>
                  <a:pt x="1762982" y="212404"/>
                </a:cubicBezTo>
                <a:close/>
                <a:moveTo>
                  <a:pt x="1706317" y="212404"/>
                </a:moveTo>
                <a:cubicBezTo>
                  <a:pt x="1714144" y="212404"/>
                  <a:pt x="1720497" y="218757"/>
                  <a:pt x="1720497" y="226585"/>
                </a:cubicBezTo>
                <a:cubicBezTo>
                  <a:pt x="1720497" y="234469"/>
                  <a:pt x="1714144" y="240765"/>
                  <a:pt x="1706317" y="240765"/>
                </a:cubicBezTo>
                <a:cubicBezTo>
                  <a:pt x="1698489" y="240765"/>
                  <a:pt x="1692136" y="234469"/>
                  <a:pt x="1692136" y="226585"/>
                </a:cubicBezTo>
                <a:cubicBezTo>
                  <a:pt x="1692136" y="218757"/>
                  <a:pt x="1698489" y="212404"/>
                  <a:pt x="1706317" y="212404"/>
                </a:cubicBezTo>
                <a:close/>
                <a:moveTo>
                  <a:pt x="1649651" y="212404"/>
                </a:moveTo>
                <a:cubicBezTo>
                  <a:pt x="1657479" y="212404"/>
                  <a:pt x="1663832" y="218757"/>
                  <a:pt x="1663832" y="226585"/>
                </a:cubicBezTo>
                <a:cubicBezTo>
                  <a:pt x="1663832" y="234469"/>
                  <a:pt x="1657479" y="240765"/>
                  <a:pt x="1649651" y="240765"/>
                </a:cubicBezTo>
                <a:cubicBezTo>
                  <a:pt x="1641824" y="240765"/>
                  <a:pt x="1635471" y="234469"/>
                  <a:pt x="1635471" y="226585"/>
                </a:cubicBezTo>
                <a:cubicBezTo>
                  <a:pt x="1635471" y="218757"/>
                  <a:pt x="1641824" y="212404"/>
                  <a:pt x="1649651" y="212404"/>
                </a:cubicBezTo>
                <a:close/>
                <a:moveTo>
                  <a:pt x="1593042" y="212404"/>
                </a:moveTo>
                <a:cubicBezTo>
                  <a:pt x="1600870" y="212404"/>
                  <a:pt x="1607223" y="218757"/>
                  <a:pt x="1607223" y="226585"/>
                </a:cubicBezTo>
                <a:cubicBezTo>
                  <a:pt x="1607223" y="234469"/>
                  <a:pt x="1600870" y="240765"/>
                  <a:pt x="1593042" y="240765"/>
                </a:cubicBezTo>
                <a:cubicBezTo>
                  <a:pt x="1585158" y="240765"/>
                  <a:pt x="1578862" y="234469"/>
                  <a:pt x="1578862" y="226585"/>
                </a:cubicBezTo>
                <a:cubicBezTo>
                  <a:pt x="1578862" y="218757"/>
                  <a:pt x="1585158" y="212404"/>
                  <a:pt x="1593042" y="212404"/>
                </a:cubicBezTo>
                <a:close/>
                <a:moveTo>
                  <a:pt x="1536377" y="212404"/>
                </a:moveTo>
                <a:cubicBezTo>
                  <a:pt x="1544205" y="212404"/>
                  <a:pt x="1550557" y="218757"/>
                  <a:pt x="1550557" y="226585"/>
                </a:cubicBezTo>
                <a:cubicBezTo>
                  <a:pt x="1550557" y="234469"/>
                  <a:pt x="1544205" y="240765"/>
                  <a:pt x="1536377" y="240765"/>
                </a:cubicBezTo>
                <a:cubicBezTo>
                  <a:pt x="1528549" y="240765"/>
                  <a:pt x="1522140" y="234469"/>
                  <a:pt x="1522140" y="226585"/>
                </a:cubicBezTo>
                <a:cubicBezTo>
                  <a:pt x="1522140" y="218757"/>
                  <a:pt x="1528549" y="212404"/>
                  <a:pt x="1536377" y="212404"/>
                </a:cubicBezTo>
                <a:close/>
                <a:moveTo>
                  <a:pt x="1479712" y="212404"/>
                </a:moveTo>
                <a:cubicBezTo>
                  <a:pt x="1487539" y="212404"/>
                  <a:pt x="1493892" y="218757"/>
                  <a:pt x="1493892" y="226585"/>
                </a:cubicBezTo>
                <a:cubicBezTo>
                  <a:pt x="1493892" y="234469"/>
                  <a:pt x="1487539" y="240765"/>
                  <a:pt x="1479712" y="240765"/>
                </a:cubicBezTo>
                <a:cubicBezTo>
                  <a:pt x="1471884" y="240765"/>
                  <a:pt x="1465531" y="234469"/>
                  <a:pt x="1465531" y="226585"/>
                </a:cubicBezTo>
                <a:cubicBezTo>
                  <a:pt x="1465531" y="218757"/>
                  <a:pt x="1471884" y="212404"/>
                  <a:pt x="1479712" y="212404"/>
                </a:cubicBezTo>
                <a:close/>
                <a:moveTo>
                  <a:pt x="1423046" y="212404"/>
                </a:moveTo>
                <a:cubicBezTo>
                  <a:pt x="1430874" y="212404"/>
                  <a:pt x="1437227" y="218757"/>
                  <a:pt x="1437227" y="226585"/>
                </a:cubicBezTo>
                <a:cubicBezTo>
                  <a:pt x="1437227" y="234469"/>
                  <a:pt x="1430874" y="240765"/>
                  <a:pt x="1423046" y="240765"/>
                </a:cubicBezTo>
                <a:cubicBezTo>
                  <a:pt x="1415218" y="240765"/>
                  <a:pt x="1408866" y="234469"/>
                  <a:pt x="1408866" y="226585"/>
                </a:cubicBezTo>
                <a:cubicBezTo>
                  <a:pt x="1408866" y="218757"/>
                  <a:pt x="1415218" y="212404"/>
                  <a:pt x="1423046" y="212404"/>
                </a:cubicBezTo>
                <a:close/>
                <a:moveTo>
                  <a:pt x="1366381" y="212404"/>
                </a:moveTo>
                <a:cubicBezTo>
                  <a:pt x="1374208" y="212404"/>
                  <a:pt x="1380561" y="218757"/>
                  <a:pt x="1380561" y="226585"/>
                </a:cubicBezTo>
                <a:cubicBezTo>
                  <a:pt x="1380561" y="234469"/>
                  <a:pt x="1374208" y="240765"/>
                  <a:pt x="1366381" y="240765"/>
                </a:cubicBezTo>
                <a:cubicBezTo>
                  <a:pt x="1358553" y="240765"/>
                  <a:pt x="1352200" y="234469"/>
                  <a:pt x="1352200" y="226585"/>
                </a:cubicBezTo>
                <a:cubicBezTo>
                  <a:pt x="1352200" y="218757"/>
                  <a:pt x="1358553" y="212404"/>
                  <a:pt x="1366381" y="212404"/>
                </a:cubicBezTo>
                <a:close/>
                <a:moveTo>
                  <a:pt x="1309715" y="212404"/>
                </a:moveTo>
                <a:cubicBezTo>
                  <a:pt x="1317543" y="212404"/>
                  <a:pt x="1323896" y="218757"/>
                  <a:pt x="1323896" y="226585"/>
                </a:cubicBezTo>
                <a:cubicBezTo>
                  <a:pt x="1323896" y="234469"/>
                  <a:pt x="1317543" y="240765"/>
                  <a:pt x="1309715" y="240765"/>
                </a:cubicBezTo>
                <a:cubicBezTo>
                  <a:pt x="1301887" y="240765"/>
                  <a:pt x="1295535" y="234469"/>
                  <a:pt x="1295535" y="226585"/>
                </a:cubicBezTo>
                <a:cubicBezTo>
                  <a:pt x="1295535" y="218757"/>
                  <a:pt x="1301887" y="212404"/>
                  <a:pt x="1309715" y="212404"/>
                </a:cubicBezTo>
                <a:close/>
                <a:moveTo>
                  <a:pt x="1253050" y="212404"/>
                </a:moveTo>
                <a:cubicBezTo>
                  <a:pt x="1260877" y="212404"/>
                  <a:pt x="1267230" y="218757"/>
                  <a:pt x="1267230" y="226585"/>
                </a:cubicBezTo>
                <a:cubicBezTo>
                  <a:pt x="1267230" y="234469"/>
                  <a:pt x="1260877" y="240765"/>
                  <a:pt x="1253050" y="240765"/>
                </a:cubicBezTo>
                <a:cubicBezTo>
                  <a:pt x="1245222" y="240765"/>
                  <a:pt x="1238869" y="234469"/>
                  <a:pt x="1238869" y="226585"/>
                </a:cubicBezTo>
                <a:cubicBezTo>
                  <a:pt x="1238869" y="218757"/>
                  <a:pt x="1245222" y="212404"/>
                  <a:pt x="1253050" y="212404"/>
                </a:cubicBezTo>
                <a:close/>
                <a:moveTo>
                  <a:pt x="1196384" y="212404"/>
                </a:moveTo>
                <a:cubicBezTo>
                  <a:pt x="1204212" y="212404"/>
                  <a:pt x="1210565" y="218757"/>
                  <a:pt x="1210565" y="226585"/>
                </a:cubicBezTo>
                <a:cubicBezTo>
                  <a:pt x="1210565" y="234469"/>
                  <a:pt x="1204212" y="240765"/>
                  <a:pt x="1196384" y="240765"/>
                </a:cubicBezTo>
                <a:cubicBezTo>
                  <a:pt x="1188556" y="240765"/>
                  <a:pt x="1182204" y="234469"/>
                  <a:pt x="1182204" y="226585"/>
                </a:cubicBezTo>
                <a:cubicBezTo>
                  <a:pt x="1182204" y="218757"/>
                  <a:pt x="1188556" y="212404"/>
                  <a:pt x="1196384" y="212404"/>
                </a:cubicBezTo>
                <a:close/>
                <a:moveTo>
                  <a:pt x="1139719" y="212404"/>
                </a:moveTo>
                <a:cubicBezTo>
                  <a:pt x="1147546" y="212404"/>
                  <a:pt x="1153899" y="218757"/>
                  <a:pt x="1153899" y="226585"/>
                </a:cubicBezTo>
                <a:cubicBezTo>
                  <a:pt x="1153899" y="234469"/>
                  <a:pt x="1147546" y="240765"/>
                  <a:pt x="1139719" y="240765"/>
                </a:cubicBezTo>
                <a:cubicBezTo>
                  <a:pt x="1131891" y="240765"/>
                  <a:pt x="1125538" y="234469"/>
                  <a:pt x="1125538" y="226585"/>
                </a:cubicBezTo>
                <a:cubicBezTo>
                  <a:pt x="1125538" y="218757"/>
                  <a:pt x="1131891" y="212404"/>
                  <a:pt x="1139719" y="212404"/>
                </a:cubicBezTo>
                <a:close/>
                <a:moveTo>
                  <a:pt x="1083053" y="212404"/>
                </a:moveTo>
                <a:cubicBezTo>
                  <a:pt x="1090881" y="212404"/>
                  <a:pt x="1097234" y="218757"/>
                  <a:pt x="1097234" y="226585"/>
                </a:cubicBezTo>
                <a:cubicBezTo>
                  <a:pt x="1097234" y="234469"/>
                  <a:pt x="1090881" y="240765"/>
                  <a:pt x="1083053" y="240765"/>
                </a:cubicBezTo>
                <a:cubicBezTo>
                  <a:pt x="1075226" y="240765"/>
                  <a:pt x="1068873" y="234469"/>
                  <a:pt x="1068873" y="226585"/>
                </a:cubicBezTo>
                <a:cubicBezTo>
                  <a:pt x="1068873" y="218757"/>
                  <a:pt x="1075226" y="212404"/>
                  <a:pt x="1083053" y="212404"/>
                </a:cubicBezTo>
                <a:close/>
                <a:moveTo>
                  <a:pt x="1026388" y="212404"/>
                </a:moveTo>
                <a:cubicBezTo>
                  <a:pt x="1034215" y="212404"/>
                  <a:pt x="1040568" y="218757"/>
                  <a:pt x="1040568" y="226585"/>
                </a:cubicBezTo>
                <a:cubicBezTo>
                  <a:pt x="1040568" y="234469"/>
                  <a:pt x="1034215" y="240765"/>
                  <a:pt x="1026388" y="240765"/>
                </a:cubicBezTo>
                <a:cubicBezTo>
                  <a:pt x="1018560" y="240765"/>
                  <a:pt x="1012207" y="234469"/>
                  <a:pt x="1012207" y="226585"/>
                </a:cubicBezTo>
                <a:cubicBezTo>
                  <a:pt x="1012207" y="218757"/>
                  <a:pt x="1018560" y="212404"/>
                  <a:pt x="1026388" y="212404"/>
                </a:cubicBezTo>
                <a:close/>
                <a:moveTo>
                  <a:pt x="969779" y="212404"/>
                </a:moveTo>
                <a:cubicBezTo>
                  <a:pt x="977607" y="212404"/>
                  <a:pt x="983903" y="218757"/>
                  <a:pt x="983903" y="226585"/>
                </a:cubicBezTo>
                <a:cubicBezTo>
                  <a:pt x="983903" y="234469"/>
                  <a:pt x="977607" y="240765"/>
                  <a:pt x="969779" y="240765"/>
                </a:cubicBezTo>
                <a:cubicBezTo>
                  <a:pt x="961895" y="240765"/>
                  <a:pt x="955599" y="234469"/>
                  <a:pt x="955599" y="226585"/>
                </a:cubicBezTo>
                <a:cubicBezTo>
                  <a:pt x="955599" y="218757"/>
                  <a:pt x="961895" y="212404"/>
                  <a:pt x="969779" y="212404"/>
                </a:cubicBezTo>
                <a:close/>
                <a:moveTo>
                  <a:pt x="913057" y="212404"/>
                </a:moveTo>
                <a:cubicBezTo>
                  <a:pt x="920941" y="212404"/>
                  <a:pt x="927294" y="218757"/>
                  <a:pt x="927294" y="226585"/>
                </a:cubicBezTo>
                <a:cubicBezTo>
                  <a:pt x="927294" y="234469"/>
                  <a:pt x="920941" y="240765"/>
                  <a:pt x="913057" y="240765"/>
                </a:cubicBezTo>
                <a:cubicBezTo>
                  <a:pt x="905229" y="240765"/>
                  <a:pt x="898876" y="234469"/>
                  <a:pt x="898876" y="226585"/>
                </a:cubicBezTo>
                <a:cubicBezTo>
                  <a:pt x="898876" y="218757"/>
                  <a:pt x="905229" y="212404"/>
                  <a:pt x="913057" y="212404"/>
                </a:cubicBezTo>
                <a:close/>
                <a:moveTo>
                  <a:pt x="856448" y="212404"/>
                </a:moveTo>
                <a:cubicBezTo>
                  <a:pt x="864276" y="212404"/>
                  <a:pt x="870629" y="218757"/>
                  <a:pt x="870629" y="226585"/>
                </a:cubicBezTo>
                <a:cubicBezTo>
                  <a:pt x="870629" y="234469"/>
                  <a:pt x="864276" y="240765"/>
                  <a:pt x="856448" y="240765"/>
                </a:cubicBezTo>
                <a:cubicBezTo>
                  <a:pt x="848621" y="240765"/>
                  <a:pt x="842268" y="234469"/>
                  <a:pt x="842268" y="226585"/>
                </a:cubicBezTo>
                <a:cubicBezTo>
                  <a:pt x="842268" y="218757"/>
                  <a:pt x="848621" y="212404"/>
                  <a:pt x="856448" y="212404"/>
                </a:cubicBezTo>
                <a:close/>
                <a:moveTo>
                  <a:pt x="799783" y="212404"/>
                </a:moveTo>
                <a:cubicBezTo>
                  <a:pt x="807611" y="212404"/>
                  <a:pt x="813963" y="218757"/>
                  <a:pt x="813963" y="226585"/>
                </a:cubicBezTo>
                <a:cubicBezTo>
                  <a:pt x="813963" y="234469"/>
                  <a:pt x="807611" y="240765"/>
                  <a:pt x="799783" y="240765"/>
                </a:cubicBezTo>
                <a:cubicBezTo>
                  <a:pt x="791955" y="240765"/>
                  <a:pt x="785602" y="234469"/>
                  <a:pt x="785602" y="226585"/>
                </a:cubicBezTo>
                <a:cubicBezTo>
                  <a:pt x="785602" y="218757"/>
                  <a:pt x="791955" y="212404"/>
                  <a:pt x="799783" y="212404"/>
                </a:cubicBezTo>
                <a:close/>
                <a:moveTo>
                  <a:pt x="743117" y="212404"/>
                </a:moveTo>
                <a:cubicBezTo>
                  <a:pt x="750945" y="212404"/>
                  <a:pt x="757298" y="218757"/>
                  <a:pt x="757298" y="226585"/>
                </a:cubicBezTo>
                <a:cubicBezTo>
                  <a:pt x="757298" y="234469"/>
                  <a:pt x="750945" y="240765"/>
                  <a:pt x="743117" y="240765"/>
                </a:cubicBezTo>
                <a:cubicBezTo>
                  <a:pt x="735290" y="240765"/>
                  <a:pt x="728937" y="234469"/>
                  <a:pt x="728937" y="226585"/>
                </a:cubicBezTo>
                <a:cubicBezTo>
                  <a:pt x="728937" y="218757"/>
                  <a:pt x="735290" y="212404"/>
                  <a:pt x="743117" y="212404"/>
                </a:cubicBezTo>
                <a:close/>
                <a:moveTo>
                  <a:pt x="686452" y="212404"/>
                </a:moveTo>
                <a:cubicBezTo>
                  <a:pt x="694280" y="212404"/>
                  <a:pt x="700632" y="218757"/>
                  <a:pt x="700632" y="226585"/>
                </a:cubicBezTo>
                <a:cubicBezTo>
                  <a:pt x="700632" y="234469"/>
                  <a:pt x="694280" y="240765"/>
                  <a:pt x="686452" y="240765"/>
                </a:cubicBezTo>
                <a:cubicBezTo>
                  <a:pt x="678624" y="240765"/>
                  <a:pt x="672271" y="234469"/>
                  <a:pt x="672271" y="226585"/>
                </a:cubicBezTo>
                <a:cubicBezTo>
                  <a:pt x="672271" y="218757"/>
                  <a:pt x="678624" y="212404"/>
                  <a:pt x="686452" y="212404"/>
                </a:cubicBezTo>
                <a:close/>
                <a:moveTo>
                  <a:pt x="629786" y="212404"/>
                </a:moveTo>
                <a:cubicBezTo>
                  <a:pt x="637614" y="212404"/>
                  <a:pt x="643967" y="218757"/>
                  <a:pt x="643967" y="226585"/>
                </a:cubicBezTo>
                <a:cubicBezTo>
                  <a:pt x="643967" y="234469"/>
                  <a:pt x="637614" y="240765"/>
                  <a:pt x="629786" y="240765"/>
                </a:cubicBezTo>
                <a:cubicBezTo>
                  <a:pt x="621959" y="240765"/>
                  <a:pt x="615606" y="234469"/>
                  <a:pt x="615606" y="226585"/>
                </a:cubicBezTo>
                <a:cubicBezTo>
                  <a:pt x="615606" y="218757"/>
                  <a:pt x="621959" y="212404"/>
                  <a:pt x="629786" y="212404"/>
                </a:cubicBezTo>
                <a:close/>
                <a:moveTo>
                  <a:pt x="573121" y="212404"/>
                </a:moveTo>
                <a:cubicBezTo>
                  <a:pt x="580949" y="212404"/>
                  <a:pt x="587301" y="218757"/>
                  <a:pt x="587301" y="226585"/>
                </a:cubicBezTo>
                <a:cubicBezTo>
                  <a:pt x="587301" y="234469"/>
                  <a:pt x="580949" y="240765"/>
                  <a:pt x="573121" y="240765"/>
                </a:cubicBezTo>
                <a:cubicBezTo>
                  <a:pt x="565293" y="240765"/>
                  <a:pt x="558940" y="234469"/>
                  <a:pt x="558940" y="226585"/>
                </a:cubicBezTo>
                <a:cubicBezTo>
                  <a:pt x="558940" y="218757"/>
                  <a:pt x="565293" y="212404"/>
                  <a:pt x="573121" y="212404"/>
                </a:cubicBezTo>
                <a:close/>
                <a:moveTo>
                  <a:pt x="516455" y="212404"/>
                </a:moveTo>
                <a:cubicBezTo>
                  <a:pt x="524283" y="212404"/>
                  <a:pt x="530636" y="218757"/>
                  <a:pt x="530636" y="226585"/>
                </a:cubicBezTo>
                <a:cubicBezTo>
                  <a:pt x="530636" y="234469"/>
                  <a:pt x="524283" y="240765"/>
                  <a:pt x="516455" y="240765"/>
                </a:cubicBezTo>
                <a:cubicBezTo>
                  <a:pt x="508628" y="240765"/>
                  <a:pt x="502275" y="234469"/>
                  <a:pt x="502275" y="226585"/>
                </a:cubicBezTo>
                <a:cubicBezTo>
                  <a:pt x="502275" y="218757"/>
                  <a:pt x="508628" y="212404"/>
                  <a:pt x="516455" y="212404"/>
                </a:cubicBezTo>
                <a:close/>
                <a:moveTo>
                  <a:pt x="459790" y="212404"/>
                </a:moveTo>
                <a:cubicBezTo>
                  <a:pt x="467618" y="212404"/>
                  <a:pt x="473971" y="218757"/>
                  <a:pt x="473971" y="226585"/>
                </a:cubicBezTo>
                <a:cubicBezTo>
                  <a:pt x="473971" y="234469"/>
                  <a:pt x="467618" y="240765"/>
                  <a:pt x="459790" y="240765"/>
                </a:cubicBezTo>
                <a:cubicBezTo>
                  <a:pt x="451962" y="240765"/>
                  <a:pt x="445610" y="234469"/>
                  <a:pt x="445610" y="226585"/>
                </a:cubicBezTo>
                <a:cubicBezTo>
                  <a:pt x="445610" y="218757"/>
                  <a:pt x="451962" y="212404"/>
                  <a:pt x="459790" y="212404"/>
                </a:cubicBezTo>
                <a:close/>
                <a:moveTo>
                  <a:pt x="403125" y="212404"/>
                </a:moveTo>
                <a:cubicBezTo>
                  <a:pt x="410952" y="212404"/>
                  <a:pt x="417305" y="218757"/>
                  <a:pt x="417305" y="226585"/>
                </a:cubicBezTo>
                <a:cubicBezTo>
                  <a:pt x="417305" y="234469"/>
                  <a:pt x="410952" y="240765"/>
                  <a:pt x="403125" y="240765"/>
                </a:cubicBezTo>
                <a:cubicBezTo>
                  <a:pt x="395297" y="240765"/>
                  <a:pt x="388944" y="234469"/>
                  <a:pt x="388944" y="226585"/>
                </a:cubicBezTo>
                <a:cubicBezTo>
                  <a:pt x="388944" y="218757"/>
                  <a:pt x="395297" y="212404"/>
                  <a:pt x="403125" y="212404"/>
                </a:cubicBezTo>
                <a:close/>
                <a:moveTo>
                  <a:pt x="346516" y="212404"/>
                </a:moveTo>
                <a:cubicBezTo>
                  <a:pt x="354344" y="212404"/>
                  <a:pt x="360640" y="218757"/>
                  <a:pt x="360640" y="226585"/>
                </a:cubicBezTo>
                <a:cubicBezTo>
                  <a:pt x="360640" y="234469"/>
                  <a:pt x="354344" y="240765"/>
                  <a:pt x="346516" y="240765"/>
                </a:cubicBezTo>
                <a:cubicBezTo>
                  <a:pt x="338631" y="240765"/>
                  <a:pt x="332279" y="234469"/>
                  <a:pt x="332279" y="226585"/>
                </a:cubicBezTo>
                <a:cubicBezTo>
                  <a:pt x="332279" y="218757"/>
                  <a:pt x="338631" y="212404"/>
                  <a:pt x="346516" y="212404"/>
                </a:cubicBezTo>
                <a:close/>
                <a:moveTo>
                  <a:pt x="289851" y="212404"/>
                </a:moveTo>
                <a:cubicBezTo>
                  <a:pt x="297678" y="212404"/>
                  <a:pt x="304031" y="218757"/>
                  <a:pt x="304031" y="226585"/>
                </a:cubicBezTo>
                <a:cubicBezTo>
                  <a:pt x="304031" y="234469"/>
                  <a:pt x="297678" y="240765"/>
                  <a:pt x="289851" y="240765"/>
                </a:cubicBezTo>
                <a:cubicBezTo>
                  <a:pt x="281966" y="240765"/>
                  <a:pt x="275613" y="234469"/>
                  <a:pt x="275613" y="226585"/>
                </a:cubicBezTo>
                <a:cubicBezTo>
                  <a:pt x="275613" y="218757"/>
                  <a:pt x="281966" y="212404"/>
                  <a:pt x="289851" y="212404"/>
                </a:cubicBezTo>
                <a:close/>
                <a:moveTo>
                  <a:pt x="233185" y="212404"/>
                </a:moveTo>
                <a:cubicBezTo>
                  <a:pt x="241013" y="212404"/>
                  <a:pt x="247365" y="218757"/>
                  <a:pt x="247365" y="226585"/>
                </a:cubicBezTo>
                <a:cubicBezTo>
                  <a:pt x="247365" y="234469"/>
                  <a:pt x="241013" y="240765"/>
                  <a:pt x="233185" y="240765"/>
                </a:cubicBezTo>
                <a:cubicBezTo>
                  <a:pt x="225357" y="240765"/>
                  <a:pt x="219004" y="234469"/>
                  <a:pt x="219004" y="226585"/>
                </a:cubicBezTo>
                <a:cubicBezTo>
                  <a:pt x="219004" y="218757"/>
                  <a:pt x="225357" y="212404"/>
                  <a:pt x="233185" y="212404"/>
                </a:cubicBezTo>
                <a:close/>
                <a:moveTo>
                  <a:pt x="176520" y="212404"/>
                </a:moveTo>
                <a:cubicBezTo>
                  <a:pt x="184347" y="212404"/>
                  <a:pt x="190700" y="218757"/>
                  <a:pt x="190700" y="226585"/>
                </a:cubicBezTo>
                <a:cubicBezTo>
                  <a:pt x="190700" y="234469"/>
                  <a:pt x="184347" y="240765"/>
                  <a:pt x="176520" y="240765"/>
                </a:cubicBezTo>
                <a:cubicBezTo>
                  <a:pt x="168692" y="240765"/>
                  <a:pt x="162339" y="234469"/>
                  <a:pt x="162339" y="226585"/>
                </a:cubicBezTo>
                <a:cubicBezTo>
                  <a:pt x="162339" y="218757"/>
                  <a:pt x="168692" y="212404"/>
                  <a:pt x="176520" y="212404"/>
                </a:cubicBezTo>
                <a:close/>
                <a:moveTo>
                  <a:pt x="3801747" y="159312"/>
                </a:moveTo>
                <a:cubicBezTo>
                  <a:pt x="3809631" y="159312"/>
                  <a:pt x="3815927" y="165664"/>
                  <a:pt x="3815927" y="173492"/>
                </a:cubicBezTo>
                <a:cubicBezTo>
                  <a:pt x="3815927" y="181320"/>
                  <a:pt x="3809631" y="187673"/>
                  <a:pt x="3801747" y="187673"/>
                </a:cubicBezTo>
                <a:cubicBezTo>
                  <a:pt x="3793919" y="187673"/>
                  <a:pt x="3787566" y="181320"/>
                  <a:pt x="3787566" y="173492"/>
                </a:cubicBezTo>
                <a:cubicBezTo>
                  <a:pt x="3787566" y="165664"/>
                  <a:pt x="3793919" y="159312"/>
                  <a:pt x="3801747" y="159312"/>
                </a:cubicBezTo>
                <a:close/>
                <a:moveTo>
                  <a:pt x="3801747" y="106220"/>
                </a:moveTo>
                <a:cubicBezTo>
                  <a:pt x="3809631" y="106220"/>
                  <a:pt x="3815927" y="112573"/>
                  <a:pt x="3815927" y="120400"/>
                </a:cubicBezTo>
                <a:cubicBezTo>
                  <a:pt x="3815927" y="128228"/>
                  <a:pt x="3809631" y="134581"/>
                  <a:pt x="3801747" y="134581"/>
                </a:cubicBezTo>
                <a:cubicBezTo>
                  <a:pt x="3793919" y="134581"/>
                  <a:pt x="3787566" y="128228"/>
                  <a:pt x="3787566" y="120400"/>
                </a:cubicBezTo>
                <a:cubicBezTo>
                  <a:pt x="3787566" y="112573"/>
                  <a:pt x="3793919" y="106220"/>
                  <a:pt x="3801747" y="106220"/>
                </a:cubicBezTo>
                <a:close/>
                <a:moveTo>
                  <a:pt x="3801747" y="53071"/>
                </a:moveTo>
                <a:cubicBezTo>
                  <a:pt x="3809631" y="53071"/>
                  <a:pt x="3815927" y="59424"/>
                  <a:pt x="3815927" y="67252"/>
                </a:cubicBezTo>
                <a:cubicBezTo>
                  <a:pt x="3815927" y="75079"/>
                  <a:pt x="3809631" y="81432"/>
                  <a:pt x="3801747" y="81432"/>
                </a:cubicBezTo>
                <a:cubicBezTo>
                  <a:pt x="3793919" y="81432"/>
                  <a:pt x="3787566" y="75079"/>
                  <a:pt x="3787566" y="67252"/>
                </a:cubicBezTo>
                <a:cubicBezTo>
                  <a:pt x="3787566" y="59424"/>
                  <a:pt x="3793919" y="53071"/>
                  <a:pt x="3801747" y="53071"/>
                </a:cubicBezTo>
                <a:close/>
                <a:moveTo>
                  <a:pt x="3798967" y="263"/>
                </a:moveTo>
                <a:cubicBezTo>
                  <a:pt x="3803618" y="-644"/>
                  <a:pt x="3808496" y="831"/>
                  <a:pt x="3811786" y="4121"/>
                </a:cubicBezTo>
                <a:cubicBezTo>
                  <a:pt x="3814452" y="6786"/>
                  <a:pt x="3815927" y="10417"/>
                  <a:pt x="3815927" y="14160"/>
                </a:cubicBezTo>
                <a:cubicBezTo>
                  <a:pt x="3815927" y="17904"/>
                  <a:pt x="3814452" y="21534"/>
                  <a:pt x="3811786" y="24200"/>
                </a:cubicBezTo>
                <a:cubicBezTo>
                  <a:pt x="3809177" y="26809"/>
                  <a:pt x="3805490" y="28341"/>
                  <a:pt x="3801747" y="28341"/>
                </a:cubicBezTo>
                <a:cubicBezTo>
                  <a:pt x="3800839" y="28341"/>
                  <a:pt x="3799931" y="28227"/>
                  <a:pt x="3798967" y="28057"/>
                </a:cubicBezTo>
                <a:cubicBezTo>
                  <a:pt x="3798116" y="27887"/>
                  <a:pt x="3797209" y="27603"/>
                  <a:pt x="3796358" y="27263"/>
                </a:cubicBezTo>
                <a:cubicBezTo>
                  <a:pt x="3795507" y="26923"/>
                  <a:pt x="3794656" y="26469"/>
                  <a:pt x="3793919" y="25958"/>
                </a:cubicBezTo>
                <a:cubicBezTo>
                  <a:pt x="3793125" y="25448"/>
                  <a:pt x="3792387" y="24824"/>
                  <a:pt x="3791763" y="24200"/>
                </a:cubicBezTo>
                <a:cubicBezTo>
                  <a:pt x="3789098" y="21534"/>
                  <a:pt x="3787566" y="17904"/>
                  <a:pt x="3787566" y="14160"/>
                </a:cubicBezTo>
                <a:cubicBezTo>
                  <a:pt x="3787566" y="10417"/>
                  <a:pt x="3789098" y="6786"/>
                  <a:pt x="3791763" y="4121"/>
                </a:cubicBezTo>
                <a:cubicBezTo>
                  <a:pt x="3792387" y="3496"/>
                  <a:pt x="3793125" y="2872"/>
                  <a:pt x="3793919" y="2362"/>
                </a:cubicBezTo>
                <a:cubicBezTo>
                  <a:pt x="3794656" y="1851"/>
                  <a:pt x="3795507" y="1398"/>
                  <a:pt x="3796358" y="1057"/>
                </a:cubicBezTo>
                <a:cubicBezTo>
                  <a:pt x="3797209" y="717"/>
                  <a:pt x="3798116" y="433"/>
                  <a:pt x="3798967" y="263"/>
                </a:cubicBezTo>
                <a:close/>
              </a:path>
            </a:pathLst>
          </a:custGeom>
          <a:solidFill>
            <a:srgbClr val="FDAA48"/>
          </a:solidFill>
          <a:ln w="0" cap="flat">
            <a:noFill/>
            <a:prstDash val="solid"/>
            <a:miter/>
          </a:ln>
        </p:spPr>
        <p:txBody>
          <a:bodyPr rtlCol="0" anchor="ctr"/>
          <a:lstStyle/>
          <a:p>
            <a:endParaRPr lang="sv-SE"/>
          </a:p>
        </p:txBody>
      </p:sp>
      <p:sp>
        <p:nvSpPr>
          <p:cNvPr id="445" name="Freeform 444">
            <a:extLst>
              <a:ext uri="{FF2B5EF4-FFF2-40B4-BE49-F238E27FC236}">
                <a16:creationId xmlns:a16="http://schemas.microsoft.com/office/drawing/2014/main" id="{52CFF9E0-A511-F0B6-066E-82815EEAA9EA}"/>
              </a:ext>
            </a:extLst>
          </p:cNvPr>
          <p:cNvSpPr/>
          <p:nvPr/>
        </p:nvSpPr>
        <p:spPr>
          <a:xfrm>
            <a:off x="6455366" y="3680651"/>
            <a:ext cx="2572294" cy="240822"/>
          </a:xfrm>
          <a:custGeom>
            <a:avLst/>
            <a:gdLst>
              <a:gd name="connsiteX0" fmla="*/ 2560836 w 2572294"/>
              <a:gd name="connsiteY0" fmla="*/ 212687 h 240822"/>
              <a:gd name="connsiteX1" fmla="*/ 2563502 w 2572294"/>
              <a:gd name="connsiteY1" fmla="*/ 213482 h 240822"/>
              <a:gd name="connsiteX2" fmla="*/ 2565941 w 2572294"/>
              <a:gd name="connsiteY2" fmla="*/ 214786 h 240822"/>
              <a:gd name="connsiteX3" fmla="*/ 2568097 w 2572294"/>
              <a:gd name="connsiteY3" fmla="*/ 216601 h 240822"/>
              <a:gd name="connsiteX4" fmla="*/ 2569855 w 2572294"/>
              <a:gd name="connsiteY4" fmla="*/ 218757 h 240822"/>
              <a:gd name="connsiteX5" fmla="*/ 2571159 w 2572294"/>
              <a:gd name="connsiteY5" fmla="*/ 221196 h 240822"/>
              <a:gd name="connsiteX6" fmla="*/ 2572010 w 2572294"/>
              <a:gd name="connsiteY6" fmla="*/ 223805 h 240822"/>
              <a:gd name="connsiteX7" fmla="*/ 2572294 w 2572294"/>
              <a:gd name="connsiteY7" fmla="*/ 226584 h 240822"/>
              <a:gd name="connsiteX8" fmla="*/ 2572010 w 2572294"/>
              <a:gd name="connsiteY8" fmla="*/ 229364 h 240822"/>
              <a:gd name="connsiteX9" fmla="*/ 2571159 w 2572294"/>
              <a:gd name="connsiteY9" fmla="*/ 232030 h 240822"/>
              <a:gd name="connsiteX10" fmla="*/ 2569855 w 2572294"/>
              <a:gd name="connsiteY10" fmla="*/ 234469 h 240822"/>
              <a:gd name="connsiteX11" fmla="*/ 2568097 w 2572294"/>
              <a:gd name="connsiteY11" fmla="*/ 236624 h 240822"/>
              <a:gd name="connsiteX12" fmla="*/ 2565941 w 2572294"/>
              <a:gd name="connsiteY12" fmla="*/ 238383 h 240822"/>
              <a:gd name="connsiteX13" fmla="*/ 2563502 w 2572294"/>
              <a:gd name="connsiteY13" fmla="*/ 239687 h 240822"/>
              <a:gd name="connsiteX14" fmla="*/ 2560836 w 2572294"/>
              <a:gd name="connsiteY14" fmla="*/ 240538 h 240822"/>
              <a:gd name="connsiteX15" fmla="*/ 2558114 w 2572294"/>
              <a:gd name="connsiteY15" fmla="*/ 240822 h 240822"/>
              <a:gd name="connsiteX16" fmla="*/ 2548074 w 2572294"/>
              <a:gd name="connsiteY16" fmla="*/ 236624 h 240822"/>
              <a:gd name="connsiteX17" fmla="*/ 2546315 w 2572294"/>
              <a:gd name="connsiteY17" fmla="*/ 234469 h 240822"/>
              <a:gd name="connsiteX18" fmla="*/ 2545010 w 2572294"/>
              <a:gd name="connsiteY18" fmla="*/ 232030 h 240822"/>
              <a:gd name="connsiteX19" fmla="*/ 2544159 w 2572294"/>
              <a:gd name="connsiteY19" fmla="*/ 229364 h 240822"/>
              <a:gd name="connsiteX20" fmla="*/ 2543933 w 2572294"/>
              <a:gd name="connsiteY20" fmla="*/ 226584 h 240822"/>
              <a:gd name="connsiteX21" fmla="*/ 2544159 w 2572294"/>
              <a:gd name="connsiteY21" fmla="*/ 223805 h 240822"/>
              <a:gd name="connsiteX22" fmla="*/ 2545010 w 2572294"/>
              <a:gd name="connsiteY22" fmla="*/ 221196 h 240822"/>
              <a:gd name="connsiteX23" fmla="*/ 2546315 w 2572294"/>
              <a:gd name="connsiteY23" fmla="*/ 218757 h 240822"/>
              <a:gd name="connsiteX24" fmla="*/ 2548074 w 2572294"/>
              <a:gd name="connsiteY24" fmla="*/ 216601 h 240822"/>
              <a:gd name="connsiteX25" fmla="*/ 2560836 w 2572294"/>
              <a:gd name="connsiteY25" fmla="*/ 212687 h 240822"/>
              <a:gd name="connsiteX26" fmla="*/ 14202 w 2572294"/>
              <a:gd name="connsiteY26" fmla="*/ 212602 h 240822"/>
              <a:gd name="connsiteX27" fmla="*/ 24220 w 2572294"/>
              <a:gd name="connsiteY27" fmla="*/ 216601 h 240822"/>
              <a:gd name="connsiteX28" fmla="*/ 25979 w 2572294"/>
              <a:gd name="connsiteY28" fmla="*/ 218756 h 240822"/>
              <a:gd name="connsiteX29" fmla="*/ 27283 w 2572294"/>
              <a:gd name="connsiteY29" fmla="*/ 221195 h 240822"/>
              <a:gd name="connsiteX30" fmla="*/ 28078 w 2572294"/>
              <a:gd name="connsiteY30" fmla="*/ 223805 h 240822"/>
              <a:gd name="connsiteX31" fmla="*/ 28361 w 2572294"/>
              <a:gd name="connsiteY31" fmla="*/ 226584 h 240822"/>
              <a:gd name="connsiteX32" fmla="*/ 28078 w 2572294"/>
              <a:gd name="connsiteY32" fmla="*/ 229363 h 240822"/>
              <a:gd name="connsiteX33" fmla="*/ 27283 w 2572294"/>
              <a:gd name="connsiteY33" fmla="*/ 232030 h 240822"/>
              <a:gd name="connsiteX34" fmla="*/ 25979 w 2572294"/>
              <a:gd name="connsiteY34" fmla="*/ 234469 h 240822"/>
              <a:gd name="connsiteX35" fmla="*/ 24220 w 2572294"/>
              <a:gd name="connsiteY35" fmla="*/ 236624 h 240822"/>
              <a:gd name="connsiteX36" fmla="*/ 14181 w 2572294"/>
              <a:gd name="connsiteY36" fmla="*/ 240765 h 240822"/>
              <a:gd name="connsiteX37" fmla="*/ 4141 w 2572294"/>
              <a:gd name="connsiteY37" fmla="*/ 236624 h 240822"/>
              <a:gd name="connsiteX38" fmla="*/ 0 w 2572294"/>
              <a:gd name="connsiteY38" fmla="*/ 226584 h 240822"/>
              <a:gd name="connsiteX39" fmla="*/ 284 w 2572294"/>
              <a:gd name="connsiteY39" fmla="*/ 223805 h 240822"/>
              <a:gd name="connsiteX40" fmla="*/ 1078 w 2572294"/>
              <a:gd name="connsiteY40" fmla="*/ 221195 h 240822"/>
              <a:gd name="connsiteX41" fmla="*/ 2382 w 2572294"/>
              <a:gd name="connsiteY41" fmla="*/ 218756 h 240822"/>
              <a:gd name="connsiteX42" fmla="*/ 4141 w 2572294"/>
              <a:gd name="connsiteY42" fmla="*/ 216601 h 240822"/>
              <a:gd name="connsiteX43" fmla="*/ 14202 w 2572294"/>
              <a:gd name="connsiteY43" fmla="*/ 212602 h 240822"/>
              <a:gd name="connsiteX44" fmla="*/ 2501561 w 2572294"/>
              <a:gd name="connsiteY44" fmla="*/ 212404 h 240822"/>
              <a:gd name="connsiteX45" fmla="*/ 2515741 w 2572294"/>
              <a:gd name="connsiteY45" fmla="*/ 226585 h 240822"/>
              <a:gd name="connsiteX46" fmla="*/ 2501561 w 2572294"/>
              <a:gd name="connsiteY46" fmla="*/ 240765 h 240822"/>
              <a:gd name="connsiteX47" fmla="*/ 2487380 w 2572294"/>
              <a:gd name="connsiteY47" fmla="*/ 226585 h 240822"/>
              <a:gd name="connsiteX48" fmla="*/ 2501561 w 2572294"/>
              <a:gd name="connsiteY48" fmla="*/ 212404 h 240822"/>
              <a:gd name="connsiteX49" fmla="*/ 2445009 w 2572294"/>
              <a:gd name="connsiteY49" fmla="*/ 212404 h 240822"/>
              <a:gd name="connsiteX50" fmla="*/ 2459190 w 2572294"/>
              <a:gd name="connsiteY50" fmla="*/ 226585 h 240822"/>
              <a:gd name="connsiteX51" fmla="*/ 2445009 w 2572294"/>
              <a:gd name="connsiteY51" fmla="*/ 240765 h 240822"/>
              <a:gd name="connsiteX52" fmla="*/ 2430829 w 2572294"/>
              <a:gd name="connsiteY52" fmla="*/ 226585 h 240822"/>
              <a:gd name="connsiteX53" fmla="*/ 2445009 w 2572294"/>
              <a:gd name="connsiteY53" fmla="*/ 212404 h 240822"/>
              <a:gd name="connsiteX54" fmla="*/ 2388514 w 2572294"/>
              <a:gd name="connsiteY54" fmla="*/ 212404 h 240822"/>
              <a:gd name="connsiteX55" fmla="*/ 2402695 w 2572294"/>
              <a:gd name="connsiteY55" fmla="*/ 226585 h 240822"/>
              <a:gd name="connsiteX56" fmla="*/ 2388514 w 2572294"/>
              <a:gd name="connsiteY56" fmla="*/ 240765 h 240822"/>
              <a:gd name="connsiteX57" fmla="*/ 2374333 w 2572294"/>
              <a:gd name="connsiteY57" fmla="*/ 226585 h 240822"/>
              <a:gd name="connsiteX58" fmla="*/ 2388514 w 2572294"/>
              <a:gd name="connsiteY58" fmla="*/ 212404 h 240822"/>
              <a:gd name="connsiteX59" fmla="*/ 2331962 w 2572294"/>
              <a:gd name="connsiteY59" fmla="*/ 212404 h 240822"/>
              <a:gd name="connsiteX60" fmla="*/ 2346143 w 2572294"/>
              <a:gd name="connsiteY60" fmla="*/ 226585 h 240822"/>
              <a:gd name="connsiteX61" fmla="*/ 2331962 w 2572294"/>
              <a:gd name="connsiteY61" fmla="*/ 240765 h 240822"/>
              <a:gd name="connsiteX62" fmla="*/ 2317782 w 2572294"/>
              <a:gd name="connsiteY62" fmla="*/ 226585 h 240822"/>
              <a:gd name="connsiteX63" fmla="*/ 2331962 w 2572294"/>
              <a:gd name="connsiteY63" fmla="*/ 212404 h 240822"/>
              <a:gd name="connsiteX64" fmla="*/ 2275410 w 2572294"/>
              <a:gd name="connsiteY64" fmla="*/ 212404 h 240822"/>
              <a:gd name="connsiteX65" fmla="*/ 2289590 w 2572294"/>
              <a:gd name="connsiteY65" fmla="*/ 226585 h 240822"/>
              <a:gd name="connsiteX66" fmla="*/ 2275410 w 2572294"/>
              <a:gd name="connsiteY66" fmla="*/ 240765 h 240822"/>
              <a:gd name="connsiteX67" fmla="*/ 2261229 w 2572294"/>
              <a:gd name="connsiteY67" fmla="*/ 226585 h 240822"/>
              <a:gd name="connsiteX68" fmla="*/ 2275410 w 2572294"/>
              <a:gd name="connsiteY68" fmla="*/ 212404 h 240822"/>
              <a:gd name="connsiteX69" fmla="*/ 2218915 w 2572294"/>
              <a:gd name="connsiteY69" fmla="*/ 212404 h 240822"/>
              <a:gd name="connsiteX70" fmla="*/ 2233095 w 2572294"/>
              <a:gd name="connsiteY70" fmla="*/ 226585 h 240822"/>
              <a:gd name="connsiteX71" fmla="*/ 2218915 w 2572294"/>
              <a:gd name="connsiteY71" fmla="*/ 240765 h 240822"/>
              <a:gd name="connsiteX72" fmla="*/ 2204734 w 2572294"/>
              <a:gd name="connsiteY72" fmla="*/ 226585 h 240822"/>
              <a:gd name="connsiteX73" fmla="*/ 2218915 w 2572294"/>
              <a:gd name="connsiteY73" fmla="*/ 212404 h 240822"/>
              <a:gd name="connsiteX74" fmla="*/ 2162363 w 2572294"/>
              <a:gd name="connsiteY74" fmla="*/ 212404 h 240822"/>
              <a:gd name="connsiteX75" fmla="*/ 2176543 w 2572294"/>
              <a:gd name="connsiteY75" fmla="*/ 226585 h 240822"/>
              <a:gd name="connsiteX76" fmla="*/ 2162363 w 2572294"/>
              <a:gd name="connsiteY76" fmla="*/ 240765 h 240822"/>
              <a:gd name="connsiteX77" fmla="*/ 2148182 w 2572294"/>
              <a:gd name="connsiteY77" fmla="*/ 226585 h 240822"/>
              <a:gd name="connsiteX78" fmla="*/ 2162363 w 2572294"/>
              <a:gd name="connsiteY78" fmla="*/ 212404 h 240822"/>
              <a:gd name="connsiteX79" fmla="*/ 2105811 w 2572294"/>
              <a:gd name="connsiteY79" fmla="*/ 212404 h 240822"/>
              <a:gd name="connsiteX80" fmla="*/ 2120047 w 2572294"/>
              <a:gd name="connsiteY80" fmla="*/ 226585 h 240822"/>
              <a:gd name="connsiteX81" fmla="*/ 2105811 w 2572294"/>
              <a:gd name="connsiteY81" fmla="*/ 240765 h 240822"/>
              <a:gd name="connsiteX82" fmla="*/ 2091686 w 2572294"/>
              <a:gd name="connsiteY82" fmla="*/ 226585 h 240822"/>
              <a:gd name="connsiteX83" fmla="*/ 2105811 w 2572294"/>
              <a:gd name="connsiteY83" fmla="*/ 212404 h 240822"/>
              <a:gd name="connsiteX84" fmla="*/ 2049315 w 2572294"/>
              <a:gd name="connsiteY84" fmla="*/ 212404 h 240822"/>
              <a:gd name="connsiteX85" fmla="*/ 2063496 w 2572294"/>
              <a:gd name="connsiteY85" fmla="*/ 226585 h 240822"/>
              <a:gd name="connsiteX86" fmla="*/ 2049315 w 2572294"/>
              <a:gd name="connsiteY86" fmla="*/ 240765 h 240822"/>
              <a:gd name="connsiteX87" fmla="*/ 2035135 w 2572294"/>
              <a:gd name="connsiteY87" fmla="*/ 226585 h 240822"/>
              <a:gd name="connsiteX88" fmla="*/ 2049315 w 2572294"/>
              <a:gd name="connsiteY88" fmla="*/ 212404 h 240822"/>
              <a:gd name="connsiteX89" fmla="*/ 1992763 w 2572294"/>
              <a:gd name="connsiteY89" fmla="*/ 212404 h 240822"/>
              <a:gd name="connsiteX90" fmla="*/ 2006944 w 2572294"/>
              <a:gd name="connsiteY90" fmla="*/ 226585 h 240822"/>
              <a:gd name="connsiteX91" fmla="*/ 1992763 w 2572294"/>
              <a:gd name="connsiteY91" fmla="*/ 240765 h 240822"/>
              <a:gd name="connsiteX92" fmla="*/ 1978583 w 2572294"/>
              <a:gd name="connsiteY92" fmla="*/ 226585 h 240822"/>
              <a:gd name="connsiteX93" fmla="*/ 1992763 w 2572294"/>
              <a:gd name="connsiteY93" fmla="*/ 212404 h 240822"/>
              <a:gd name="connsiteX94" fmla="*/ 1936268 w 2572294"/>
              <a:gd name="connsiteY94" fmla="*/ 212404 h 240822"/>
              <a:gd name="connsiteX95" fmla="*/ 1950449 w 2572294"/>
              <a:gd name="connsiteY95" fmla="*/ 226585 h 240822"/>
              <a:gd name="connsiteX96" fmla="*/ 1936268 w 2572294"/>
              <a:gd name="connsiteY96" fmla="*/ 240765 h 240822"/>
              <a:gd name="connsiteX97" fmla="*/ 1922088 w 2572294"/>
              <a:gd name="connsiteY97" fmla="*/ 226585 h 240822"/>
              <a:gd name="connsiteX98" fmla="*/ 1936268 w 2572294"/>
              <a:gd name="connsiteY98" fmla="*/ 212404 h 240822"/>
              <a:gd name="connsiteX99" fmla="*/ 1879716 w 2572294"/>
              <a:gd name="connsiteY99" fmla="*/ 212404 h 240822"/>
              <a:gd name="connsiteX100" fmla="*/ 1893896 w 2572294"/>
              <a:gd name="connsiteY100" fmla="*/ 226585 h 240822"/>
              <a:gd name="connsiteX101" fmla="*/ 1879716 w 2572294"/>
              <a:gd name="connsiteY101" fmla="*/ 240765 h 240822"/>
              <a:gd name="connsiteX102" fmla="*/ 1865535 w 2572294"/>
              <a:gd name="connsiteY102" fmla="*/ 226585 h 240822"/>
              <a:gd name="connsiteX103" fmla="*/ 1879716 w 2572294"/>
              <a:gd name="connsiteY103" fmla="*/ 212404 h 240822"/>
              <a:gd name="connsiteX104" fmla="*/ 1823164 w 2572294"/>
              <a:gd name="connsiteY104" fmla="*/ 212404 h 240822"/>
              <a:gd name="connsiteX105" fmla="*/ 1837344 w 2572294"/>
              <a:gd name="connsiteY105" fmla="*/ 226585 h 240822"/>
              <a:gd name="connsiteX106" fmla="*/ 1823164 w 2572294"/>
              <a:gd name="connsiteY106" fmla="*/ 240765 h 240822"/>
              <a:gd name="connsiteX107" fmla="*/ 1808983 w 2572294"/>
              <a:gd name="connsiteY107" fmla="*/ 226585 h 240822"/>
              <a:gd name="connsiteX108" fmla="*/ 1823164 w 2572294"/>
              <a:gd name="connsiteY108" fmla="*/ 212404 h 240822"/>
              <a:gd name="connsiteX109" fmla="*/ 1766669 w 2572294"/>
              <a:gd name="connsiteY109" fmla="*/ 212404 h 240822"/>
              <a:gd name="connsiteX110" fmla="*/ 1780849 w 2572294"/>
              <a:gd name="connsiteY110" fmla="*/ 226585 h 240822"/>
              <a:gd name="connsiteX111" fmla="*/ 1766669 w 2572294"/>
              <a:gd name="connsiteY111" fmla="*/ 240765 h 240822"/>
              <a:gd name="connsiteX112" fmla="*/ 1752488 w 2572294"/>
              <a:gd name="connsiteY112" fmla="*/ 226585 h 240822"/>
              <a:gd name="connsiteX113" fmla="*/ 1766669 w 2572294"/>
              <a:gd name="connsiteY113" fmla="*/ 212404 h 240822"/>
              <a:gd name="connsiteX114" fmla="*/ 1710117 w 2572294"/>
              <a:gd name="connsiteY114" fmla="*/ 212404 h 240822"/>
              <a:gd name="connsiteX115" fmla="*/ 1724297 w 2572294"/>
              <a:gd name="connsiteY115" fmla="*/ 226585 h 240822"/>
              <a:gd name="connsiteX116" fmla="*/ 1710117 w 2572294"/>
              <a:gd name="connsiteY116" fmla="*/ 240765 h 240822"/>
              <a:gd name="connsiteX117" fmla="*/ 1695936 w 2572294"/>
              <a:gd name="connsiteY117" fmla="*/ 226585 h 240822"/>
              <a:gd name="connsiteX118" fmla="*/ 1710117 w 2572294"/>
              <a:gd name="connsiteY118" fmla="*/ 212404 h 240822"/>
              <a:gd name="connsiteX119" fmla="*/ 1653564 w 2572294"/>
              <a:gd name="connsiteY119" fmla="*/ 212404 h 240822"/>
              <a:gd name="connsiteX120" fmla="*/ 1667745 w 2572294"/>
              <a:gd name="connsiteY120" fmla="*/ 226585 h 240822"/>
              <a:gd name="connsiteX121" fmla="*/ 1653564 w 2572294"/>
              <a:gd name="connsiteY121" fmla="*/ 240765 h 240822"/>
              <a:gd name="connsiteX122" fmla="*/ 1639384 w 2572294"/>
              <a:gd name="connsiteY122" fmla="*/ 226585 h 240822"/>
              <a:gd name="connsiteX123" fmla="*/ 1653564 w 2572294"/>
              <a:gd name="connsiteY123" fmla="*/ 212404 h 240822"/>
              <a:gd name="connsiteX124" fmla="*/ 1597069 w 2572294"/>
              <a:gd name="connsiteY124" fmla="*/ 212404 h 240822"/>
              <a:gd name="connsiteX125" fmla="*/ 1611250 w 2572294"/>
              <a:gd name="connsiteY125" fmla="*/ 226585 h 240822"/>
              <a:gd name="connsiteX126" fmla="*/ 1597069 w 2572294"/>
              <a:gd name="connsiteY126" fmla="*/ 240765 h 240822"/>
              <a:gd name="connsiteX127" fmla="*/ 1582889 w 2572294"/>
              <a:gd name="connsiteY127" fmla="*/ 226585 h 240822"/>
              <a:gd name="connsiteX128" fmla="*/ 1597069 w 2572294"/>
              <a:gd name="connsiteY128" fmla="*/ 212404 h 240822"/>
              <a:gd name="connsiteX129" fmla="*/ 1540517 w 2572294"/>
              <a:gd name="connsiteY129" fmla="*/ 212404 h 240822"/>
              <a:gd name="connsiteX130" fmla="*/ 1554698 w 2572294"/>
              <a:gd name="connsiteY130" fmla="*/ 226585 h 240822"/>
              <a:gd name="connsiteX131" fmla="*/ 1540517 w 2572294"/>
              <a:gd name="connsiteY131" fmla="*/ 240765 h 240822"/>
              <a:gd name="connsiteX132" fmla="*/ 1526337 w 2572294"/>
              <a:gd name="connsiteY132" fmla="*/ 226585 h 240822"/>
              <a:gd name="connsiteX133" fmla="*/ 1540517 w 2572294"/>
              <a:gd name="connsiteY133" fmla="*/ 212404 h 240822"/>
              <a:gd name="connsiteX134" fmla="*/ 1484022 w 2572294"/>
              <a:gd name="connsiteY134" fmla="*/ 212404 h 240822"/>
              <a:gd name="connsiteX135" fmla="*/ 1498202 w 2572294"/>
              <a:gd name="connsiteY135" fmla="*/ 226585 h 240822"/>
              <a:gd name="connsiteX136" fmla="*/ 1484022 w 2572294"/>
              <a:gd name="connsiteY136" fmla="*/ 240765 h 240822"/>
              <a:gd name="connsiteX137" fmla="*/ 1469841 w 2572294"/>
              <a:gd name="connsiteY137" fmla="*/ 226585 h 240822"/>
              <a:gd name="connsiteX138" fmla="*/ 1484022 w 2572294"/>
              <a:gd name="connsiteY138" fmla="*/ 212404 h 240822"/>
              <a:gd name="connsiteX139" fmla="*/ 1427470 w 2572294"/>
              <a:gd name="connsiteY139" fmla="*/ 212404 h 240822"/>
              <a:gd name="connsiteX140" fmla="*/ 1441650 w 2572294"/>
              <a:gd name="connsiteY140" fmla="*/ 226585 h 240822"/>
              <a:gd name="connsiteX141" fmla="*/ 1427470 w 2572294"/>
              <a:gd name="connsiteY141" fmla="*/ 240765 h 240822"/>
              <a:gd name="connsiteX142" fmla="*/ 1413289 w 2572294"/>
              <a:gd name="connsiteY142" fmla="*/ 226585 h 240822"/>
              <a:gd name="connsiteX143" fmla="*/ 1427470 w 2572294"/>
              <a:gd name="connsiteY143" fmla="*/ 212404 h 240822"/>
              <a:gd name="connsiteX144" fmla="*/ 1370918 w 2572294"/>
              <a:gd name="connsiteY144" fmla="*/ 212404 h 240822"/>
              <a:gd name="connsiteX145" fmla="*/ 1385099 w 2572294"/>
              <a:gd name="connsiteY145" fmla="*/ 226585 h 240822"/>
              <a:gd name="connsiteX146" fmla="*/ 1370918 w 2572294"/>
              <a:gd name="connsiteY146" fmla="*/ 240765 h 240822"/>
              <a:gd name="connsiteX147" fmla="*/ 1356738 w 2572294"/>
              <a:gd name="connsiteY147" fmla="*/ 226585 h 240822"/>
              <a:gd name="connsiteX148" fmla="*/ 1370918 w 2572294"/>
              <a:gd name="connsiteY148" fmla="*/ 212404 h 240822"/>
              <a:gd name="connsiteX149" fmla="*/ 1314423 w 2572294"/>
              <a:gd name="connsiteY149" fmla="*/ 212404 h 240822"/>
              <a:gd name="connsiteX150" fmla="*/ 1328604 w 2572294"/>
              <a:gd name="connsiteY150" fmla="*/ 226585 h 240822"/>
              <a:gd name="connsiteX151" fmla="*/ 1314423 w 2572294"/>
              <a:gd name="connsiteY151" fmla="*/ 240765 h 240822"/>
              <a:gd name="connsiteX152" fmla="*/ 1300242 w 2572294"/>
              <a:gd name="connsiteY152" fmla="*/ 226585 h 240822"/>
              <a:gd name="connsiteX153" fmla="*/ 1314423 w 2572294"/>
              <a:gd name="connsiteY153" fmla="*/ 212404 h 240822"/>
              <a:gd name="connsiteX154" fmla="*/ 1257870 w 2572294"/>
              <a:gd name="connsiteY154" fmla="*/ 212404 h 240822"/>
              <a:gd name="connsiteX155" fmla="*/ 1272051 w 2572294"/>
              <a:gd name="connsiteY155" fmla="*/ 226585 h 240822"/>
              <a:gd name="connsiteX156" fmla="*/ 1257870 w 2572294"/>
              <a:gd name="connsiteY156" fmla="*/ 240765 h 240822"/>
              <a:gd name="connsiteX157" fmla="*/ 1243690 w 2572294"/>
              <a:gd name="connsiteY157" fmla="*/ 226585 h 240822"/>
              <a:gd name="connsiteX158" fmla="*/ 1257870 w 2572294"/>
              <a:gd name="connsiteY158" fmla="*/ 212404 h 240822"/>
              <a:gd name="connsiteX159" fmla="*/ 1201319 w 2572294"/>
              <a:gd name="connsiteY159" fmla="*/ 212404 h 240822"/>
              <a:gd name="connsiteX160" fmla="*/ 1215556 w 2572294"/>
              <a:gd name="connsiteY160" fmla="*/ 226585 h 240822"/>
              <a:gd name="connsiteX161" fmla="*/ 1201319 w 2572294"/>
              <a:gd name="connsiteY161" fmla="*/ 240765 h 240822"/>
              <a:gd name="connsiteX162" fmla="*/ 1187138 w 2572294"/>
              <a:gd name="connsiteY162" fmla="*/ 226585 h 240822"/>
              <a:gd name="connsiteX163" fmla="*/ 1201319 w 2572294"/>
              <a:gd name="connsiteY163" fmla="*/ 212404 h 240822"/>
              <a:gd name="connsiteX164" fmla="*/ 1144824 w 2572294"/>
              <a:gd name="connsiteY164" fmla="*/ 212404 h 240822"/>
              <a:gd name="connsiteX165" fmla="*/ 1159004 w 2572294"/>
              <a:gd name="connsiteY165" fmla="*/ 226585 h 240822"/>
              <a:gd name="connsiteX166" fmla="*/ 1144824 w 2572294"/>
              <a:gd name="connsiteY166" fmla="*/ 240765 h 240822"/>
              <a:gd name="connsiteX167" fmla="*/ 1130643 w 2572294"/>
              <a:gd name="connsiteY167" fmla="*/ 226585 h 240822"/>
              <a:gd name="connsiteX168" fmla="*/ 1144824 w 2572294"/>
              <a:gd name="connsiteY168" fmla="*/ 212404 h 240822"/>
              <a:gd name="connsiteX169" fmla="*/ 1088272 w 2572294"/>
              <a:gd name="connsiteY169" fmla="*/ 212404 h 240822"/>
              <a:gd name="connsiteX170" fmla="*/ 1102452 w 2572294"/>
              <a:gd name="connsiteY170" fmla="*/ 226585 h 240822"/>
              <a:gd name="connsiteX171" fmla="*/ 1088272 w 2572294"/>
              <a:gd name="connsiteY171" fmla="*/ 240765 h 240822"/>
              <a:gd name="connsiteX172" fmla="*/ 1074091 w 2572294"/>
              <a:gd name="connsiteY172" fmla="*/ 226585 h 240822"/>
              <a:gd name="connsiteX173" fmla="*/ 1088272 w 2572294"/>
              <a:gd name="connsiteY173" fmla="*/ 212404 h 240822"/>
              <a:gd name="connsiteX174" fmla="*/ 1031776 w 2572294"/>
              <a:gd name="connsiteY174" fmla="*/ 212404 h 240822"/>
              <a:gd name="connsiteX175" fmla="*/ 1045956 w 2572294"/>
              <a:gd name="connsiteY175" fmla="*/ 226585 h 240822"/>
              <a:gd name="connsiteX176" fmla="*/ 1031776 w 2572294"/>
              <a:gd name="connsiteY176" fmla="*/ 240765 h 240822"/>
              <a:gd name="connsiteX177" fmla="*/ 1017539 w 2572294"/>
              <a:gd name="connsiteY177" fmla="*/ 226585 h 240822"/>
              <a:gd name="connsiteX178" fmla="*/ 1031776 w 2572294"/>
              <a:gd name="connsiteY178" fmla="*/ 212404 h 240822"/>
              <a:gd name="connsiteX179" fmla="*/ 975224 w 2572294"/>
              <a:gd name="connsiteY179" fmla="*/ 212404 h 240822"/>
              <a:gd name="connsiteX180" fmla="*/ 989405 w 2572294"/>
              <a:gd name="connsiteY180" fmla="*/ 226585 h 240822"/>
              <a:gd name="connsiteX181" fmla="*/ 975224 w 2572294"/>
              <a:gd name="connsiteY181" fmla="*/ 240765 h 240822"/>
              <a:gd name="connsiteX182" fmla="*/ 961044 w 2572294"/>
              <a:gd name="connsiteY182" fmla="*/ 226585 h 240822"/>
              <a:gd name="connsiteX183" fmla="*/ 975224 w 2572294"/>
              <a:gd name="connsiteY183" fmla="*/ 212404 h 240822"/>
              <a:gd name="connsiteX184" fmla="*/ 918672 w 2572294"/>
              <a:gd name="connsiteY184" fmla="*/ 212404 h 240822"/>
              <a:gd name="connsiteX185" fmla="*/ 932853 w 2572294"/>
              <a:gd name="connsiteY185" fmla="*/ 226585 h 240822"/>
              <a:gd name="connsiteX186" fmla="*/ 918672 w 2572294"/>
              <a:gd name="connsiteY186" fmla="*/ 240765 h 240822"/>
              <a:gd name="connsiteX187" fmla="*/ 904492 w 2572294"/>
              <a:gd name="connsiteY187" fmla="*/ 226585 h 240822"/>
              <a:gd name="connsiteX188" fmla="*/ 918672 w 2572294"/>
              <a:gd name="connsiteY188" fmla="*/ 212404 h 240822"/>
              <a:gd name="connsiteX189" fmla="*/ 862177 w 2572294"/>
              <a:gd name="connsiteY189" fmla="*/ 212404 h 240822"/>
              <a:gd name="connsiteX190" fmla="*/ 876358 w 2572294"/>
              <a:gd name="connsiteY190" fmla="*/ 226585 h 240822"/>
              <a:gd name="connsiteX191" fmla="*/ 862177 w 2572294"/>
              <a:gd name="connsiteY191" fmla="*/ 240765 h 240822"/>
              <a:gd name="connsiteX192" fmla="*/ 847997 w 2572294"/>
              <a:gd name="connsiteY192" fmla="*/ 226585 h 240822"/>
              <a:gd name="connsiteX193" fmla="*/ 862177 w 2572294"/>
              <a:gd name="connsiteY193" fmla="*/ 212404 h 240822"/>
              <a:gd name="connsiteX194" fmla="*/ 805625 w 2572294"/>
              <a:gd name="connsiteY194" fmla="*/ 212404 h 240822"/>
              <a:gd name="connsiteX195" fmla="*/ 819805 w 2572294"/>
              <a:gd name="connsiteY195" fmla="*/ 226585 h 240822"/>
              <a:gd name="connsiteX196" fmla="*/ 805625 w 2572294"/>
              <a:gd name="connsiteY196" fmla="*/ 240765 h 240822"/>
              <a:gd name="connsiteX197" fmla="*/ 791444 w 2572294"/>
              <a:gd name="connsiteY197" fmla="*/ 226585 h 240822"/>
              <a:gd name="connsiteX198" fmla="*/ 805625 w 2572294"/>
              <a:gd name="connsiteY198" fmla="*/ 212404 h 240822"/>
              <a:gd name="connsiteX199" fmla="*/ 749073 w 2572294"/>
              <a:gd name="connsiteY199" fmla="*/ 212404 h 240822"/>
              <a:gd name="connsiteX200" fmla="*/ 763310 w 2572294"/>
              <a:gd name="connsiteY200" fmla="*/ 226585 h 240822"/>
              <a:gd name="connsiteX201" fmla="*/ 749073 w 2572294"/>
              <a:gd name="connsiteY201" fmla="*/ 240765 h 240822"/>
              <a:gd name="connsiteX202" fmla="*/ 734949 w 2572294"/>
              <a:gd name="connsiteY202" fmla="*/ 226585 h 240822"/>
              <a:gd name="connsiteX203" fmla="*/ 749073 w 2572294"/>
              <a:gd name="connsiteY203" fmla="*/ 212404 h 240822"/>
              <a:gd name="connsiteX204" fmla="*/ 692578 w 2572294"/>
              <a:gd name="connsiteY204" fmla="*/ 212404 h 240822"/>
              <a:gd name="connsiteX205" fmla="*/ 706758 w 2572294"/>
              <a:gd name="connsiteY205" fmla="*/ 226585 h 240822"/>
              <a:gd name="connsiteX206" fmla="*/ 692578 w 2572294"/>
              <a:gd name="connsiteY206" fmla="*/ 240765 h 240822"/>
              <a:gd name="connsiteX207" fmla="*/ 678397 w 2572294"/>
              <a:gd name="connsiteY207" fmla="*/ 226585 h 240822"/>
              <a:gd name="connsiteX208" fmla="*/ 692578 w 2572294"/>
              <a:gd name="connsiteY208" fmla="*/ 212404 h 240822"/>
              <a:gd name="connsiteX209" fmla="*/ 636026 w 2572294"/>
              <a:gd name="connsiteY209" fmla="*/ 212404 h 240822"/>
              <a:gd name="connsiteX210" fmla="*/ 650206 w 2572294"/>
              <a:gd name="connsiteY210" fmla="*/ 226585 h 240822"/>
              <a:gd name="connsiteX211" fmla="*/ 636026 w 2572294"/>
              <a:gd name="connsiteY211" fmla="*/ 240765 h 240822"/>
              <a:gd name="connsiteX212" fmla="*/ 621845 w 2572294"/>
              <a:gd name="connsiteY212" fmla="*/ 226585 h 240822"/>
              <a:gd name="connsiteX213" fmla="*/ 636026 w 2572294"/>
              <a:gd name="connsiteY213" fmla="*/ 212404 h 240822"/>
              <a:gd name="connsiteX214" fmla="*/ 579530 w 2572294"/>
              <a:gd name="connsiteY214" fmla="*/ 212404 h 240822"/>
              <a:gd name="connsiteX215" fmla="*/ 593711 w 2572294"/>
              <a:gd name="connsiteY215" fmla="*/ 226585 h 240822"/>
              <a:gd name="connsiteX216" fmla="*/ 579530 w 2572294"/>
              <a:gd name="connsiteY216" fmla="*/ 240765 h 240822"/>
              <a:gd name="connsiteX217" fmla="*/ 565350 w 2572294"/>
              <a:gd name="connsiteY217" fmla="*/ 226585 h 240822"/>
              <a:gd name="connsiteX218" fmla="*/ 579530 w 2572294"/>
              <a:gd name="connsiteY218" fmla="*/ 212404 h 240822"/>
              <a:gd name="connsiteX219" fmla="*/ 522978 w 2572294"/>
              <a:gd name="connsiteY219" fmla="*/ 212404 h 240822"/>
              <a:gd name="connsiteX220" fmla="*/ 537159 w 2572294"/>
              <a:gd name="connsiteY220" fmla="*/ 226585 h 240822"/>
              <a:gd name="connsiteX221" fmla="*/ 522978 w 2572294"/>
              <a:gd name="connsiteY221" fmla="*/ 240765 h 240822"/>
              <a:gd name="connsiteX222" fmla="*/ 508798 w 2572294"/>
              <a:gd name="connsiteY222" fmla="*/ 226585 h 240822"/>
              <a:gd name="connsiteX223" fmla="*/ 522978 w 2572294"/>
              <a:gd name="connsiteY223" fmla="*/ 212404 h 240822"/>
              <a:gd name="connsiteX224" fmla="*/ 466426 w 2572294"/>
              <a:gd name="connsiteY224" fmla="*/ 212404 h 240822"/>
              <a:gd name="connsiteX225" fmla="*/ 480607 w 2572294"/>
              <a:gd name="connsiteY225" fmla="*/ 226585 h 240822"/>
              <a:gd name="connsiteX226" fmla="*/ 466426 w 2572294"/>
              <a:gd name="connsiteY226" fmla="*/ 240765 h 240822"/>
              <a:gd name="connsiteX227" fmla="*/ 452246 w 2572294"/>
              <a:gd name="connsiteY227" fmla="*/ 226585 h 240822"/>
              <a:gd name="connsiteX228" fmla="*/ 466426 w 2572294"/>
              <a:gd name="connsiteY228" fmla="*/ 212404 h 240822"/>
              <a:gd name="connsiteX229" fmla="*/ 409931 w 2572294"/>
              <a:gd name="connsiteY229" fmla="*/ 212404 h 240822"/>
              <a:gd name="connsiteX230" fmla="*/ 424112 w 2572294"/>
              <a:gd name="connsiteY230" fmla="*/ 226585 h 240822"/>
              <a:gd name="connsiteX231" fmla="*/ 409931 w 2572294"/>
              <a:gd name="connsiteY231" fmla="*/ 240765 h 240822"/>
              <a:gd name="connsiteX232" fmla="*/ 395751 w 2572294"/>
              <a:gd name="connsiteY232" fmla="*/ 226585 h 240822"/>
              <a:gd name="connsiteX233" fmla="*/ 409931 w 2572294"/>
              <a:gd name="connsiteY233" fmla="*/ 212404 h 240822"/>
              <a:gd name="connsiteX234" fmla="*/ 353379 w 2572294"/>
              <a:gd name="connsiteY234" fmla="*/ 212404 h 240822"/>
              <a:gd name="connsiteX235" fmla="*/ 367559 w 2572294"/>
              <a:gd name="connsiteY235" fmla="*/ 226585 h 240822"/>
              <a:gd name="connsiteX236" fmla="*/ 353379 w 2572294"/>
              <a:gd name="connsiteY236" fmla="*/ 240765 h 240822"/>
              <a:gd name="connsiteX237" fmla="*/ 339198 w 2572294"/>
              <a:gd name="connsiteY237" fmla="*/ 226585 h 240822"/>
              <a:gd name="connsiteX238" fmla="*/ 353379 w 2572294"/>
              <a:gd name="connsiteY238" fmla="*/ 212404 h 240822"/>
              <a:gd name="connsiteX239" fmla="*/ 296884 w 2572294"/>
              <a:gd name="connsiteY239" fmla="*/ 212404 h 240822"/>
              <a:gd name="connsiteX240" fmla="*/ 311008 w 2572294"/>
              <a:gd name="connsiteY240" fmla="*/ 226585 h 240822"/>
              <a:gd name="connsiteX241" fmla="*/ 296884 w 2572294"/>
              <a:gd name="connsiteY241" fmla="*/ 240765 h 240822"/>
              <a:gd name="connsiteX242" fmla="*/ 282647 w 2572294"/>
              <a:gd name="connsiteY242" fmla="*/ 226585 h 240822"/>
              <a:gd name="connsiteX243" fmla="*/ 296884 w 2572294"/>
              <a:gd name="connsiteY243" fmla="*/ 212404 h 240822"/>
              <a:gd name="connsiteX244" fmla="*/ 240332 w 2572294"/>
              <a:gd name="connsiteY244" fmla="*/ 212404 h 240822"/>
              <a:gd name="connsiteX245" fmla="*/ 254512 w 2572294"/>
              <a:gd name="connsiteY245" fmla="*/ 226585 h 240822"/>
              <a:gd name="connsiteX246" fmla="*/ 240332 w 2572294"/>
              <a:gd name="connsiteY246" fmla="*/ 240765 h 240822"/>
              <a:gd name="connsiteX247" fmla="*/ 226151 w 2572294"/>
              <a:gd name="connsiteY247" fmla="*/ 226585 h 240822"/>
              <a:gd name="connsiteX248" fmla="*/ 240332 w 2572294"/>
              <a:gd name="connsiteY248" fmla="*/ 212404 h 240822"/>
              <a:gd name="connsiteX249" fmla="*/ 183780 w 2572294"/>
              <a:gd name="connsiteY249" fmla="*/ 212404 h 240822"/>
              <a:gd name="connsiteX250" fmla="*/ 197960 w 2572294"/>
              <a:gd name="connsiteY250" fmla="*/ 226585 h 240822"/>
              <a:gd name="connsiteX251" fmla="*/ 183780 w 2572294"/>
              <a:gd name="connsiteY251" fmla="*/ 240765 h 240822"/>
              <a:gd name="connsiteX252" fmla="*/ 169599 w 2572294"/>
              <a:gd name="connsiteY252" fmla="*/ 226585 h 240822"/>
              <a:gd name="connsiteX253" fmla="*/ 183780 w 2572294"/>
              <a:gd name="connsiteY253" fmla="*/ 212404 h 240822"/>
              <a:gd name="connsiteX254" fmla="*/ 127284 w 2572294"/>
              <a:gd name="connsiteY254" fmla="*/ 212404 h 240822"/>
              <a:gd name="connsiteX255" fmla="*/ 141408 w 2572294"/>
              <a:gd name="connsiteY255" fmla="*/ 226585 h 240822"/>
              <a:gd name="connsiteX256" fmla="*/ 127284 w 2572294"/>
              <a:gd name="connsiteY256" fmla="*/ 240765 h 240822"/>
              <a:gd name="connsiteX257" fmla="*/ 113104 w 2572294"/>
              <a:gd name="connsiteY257" fmla="*/ 226585 h 240822"/>
              <a:gd name="connsiteX258" fmla="*/ 127284 w 2572294"/>
              <a:gd name="connsiteY258" fmla="*/ 212404 h 240822"/>
              <a:gd name="connsiteX259" fmla="*/ 70733 w 2572294"/>
              <a:gd name="connsiteY259" fmla="*/ 212404 h 240822"/>
              <a:gd name="connsiteX260" fmla="*/ 84913 w 2572294"/>
              <a:gd name="connsiteY260" fmla="*/ 226585 h 240822"/>
              <a:gd name="connsiteX261" fmla="*/ 70733 w 2572294"/>
              <a:gd name="connsiteY261" fmla="*/ 240765 h 240822"/>
              <a:gd name="connsiteX262" fmla="*/ 56552 w 2572294"/>
              <a:gd name="connsiteY262" fmla="*/ 226585 h 240822"/>
              <a:gd name="connsiteX263" fmla="*/ 70733 w 2572294"/>
              <a:gd name="connsiteY263" fmla="*/ 212404 h 240822"/>
              <a:gd name="connsiteX264" fmla="*/ 14181 w 2572294"/>
              <a:gd name="connsiteY264" fmla="*/ 159312 h 240822"/>
              <a:gd name="connsiteX265" fmla="*/ 28361 w 2572294"/>
              <a:gd name="connsiteY265" fmla="*/ 173492 h 240822"/>
              <a:gd name="connsiteX266" fmla="*/ 14181 w 2572294"/>
              <a:gd name="connsiteY266" fmla="*/ 187673 h 240822"/>
              <a:gd name="connsiteX267" fmla="*/ 0 w 2572294"/>
              <a:gd name="connsiteY267" fmla="*/ 173492 h 240822"/>
              <a:gd name="connsiteX268" fmla="*/ 14181 w 2572294"/>
              <a:gd name="connsiteY268" fmla="*/ 159312 h 240822"/>
              <a:gd name="connsiteX269" fmla="*/ 14181 w 2572294"/>
              <a:gd name="connsiteY269" fmla="*/ 106220 h 240822"/>
              <a:gd name="connsiteX270" fmla="*/ 28361 w 2572294"/>
              <a:gd name="connsiteY270" fmla="*/ 120400 h 240822"/>
              <a:gd name="connsiteX271" fmla="*/ 14181 w 2572294"/>
              <a:gd name="connsiteY271" fmla="*/ 134581 h 240822"/>
              <a:gd name="connsiteX272" fmla="*/ 0 w 2572294"/>
              <a:gd name="connsiteY272" fmla="*/ 120400 h 240822"/>
              <a:gd name="connsiteX273" fmla="*/ 14181 w 2572294"/>
              <a:gd name="connsiteY273" fmla="*/ 106220 h 240822"/>
              <a:gd name="connsiteX274" fmla="*/ 14181 w 2572294"/>
              <a:gd name="connsiteY274" fmla="*/ 53071 h 240822"/>
              <a:gd name="connsiteX275" fmla="*/ 28361 w 2572294"/>
              <a:gd name="connsiteY275" fmla="*/ 67252 h 240822"/>
              <a:gd name="connsiteX276" fmla="*/ 14181 w 2572294"/>
              <a:gd name="connsiteY276" fmla="*/ 81432 h 240822"/>
              <a:gd name="connsiteX277" fmla="*/ 0 w 2572294"/>
              <a:gd name="connsiteY277" fmla="*/ 67252 h 240822"/>
              <a:gd name="connsiteX278" fmla="*/ 14181 w 2572294"/>
              <a:gd name="connsiteY278" fmla="*/ 53071 h 240822"/>
              <a:gd name="connsiteX279" fmla="*/ 11401 w 2572294"/>
              <a:gd name="connsiteY279" fmla="*/ 263 h 240822"/>
              <a:gd name="connsiteX280" fmla="*/ 24220 w 2572294"/>
              <a:gd name="connsiteY280" fmla="*/ 4121 h 240822"/>
              <a:gd name="connsiteX281" fmla="*/ 28361 w 2572294"/>
              <a:gd name="connsiteY281" fmla="*/ 14160 h 240822"/>
              <a:gd name="connsiteX282" fmla="*/ 24220 w 2572294"/>
              <a:gd name="connsiteY282" fmla="*/ 24200 h 240822"/>
              <a:gd name="connsiteX283" fmla="*/ 14181 w 2572294"/>
              <a:gd name="connsiteY283" fmla="*/ 28341 h 240822"/>
              <a:gd name="connsiteX284" fmla="*/ 11401 w 2572294"/>
              <a:gd name="connsiteY284" fmla="*/ 28057 h 240822"/>
              <a:gd name="connsiteX285" fmla="*/ 8792 w 2572294"/>
              <a:gd name="connsiteY285" fmla="*/ 27263 h 240822"/>
              <a:gd name="connsiteX286" fmla="*/ 6353 w 2572294"/>
              <a:gd name="connsiteY286" fmla="*/ 25958 h 240822"/>
              <a:gd name="connsiteX287" fmla="*/ 4197 w 2572294"/>
              <a:gd name="connsiteY287" fmla="*/ 24200 h 240822"/>
              <a:gd name="connsiteX288" fmla="*/ 0 w 2572294"/>
              <a:gd name="connsiteY288" fmla="*/ 14160 h 240822"/>
              <a:gd name="connsiteX289" fmla="*/ 4197 w 2572294"/>
              <a:gd name="connsiteY289" fmla="*/ 4121 h 240822"/>
              <a:gd name="connsiteX290" fmla="*/ 6353 w 2572294"/>
              <a:gd name="connsiteY290" fmla="*/ 2362 h 240822"/>
              <a:gd name="connsiteX291" fmla="*/ 8792 w 2572294"/>
              <a:gd name="connsiteY291" fmla="*/ 1057 h 240822"/>
              <a:gd name="connsiteX292" fmla="*/ 11401 w 2572294"/>
              <a:gd name="connsiteY292" fmla="*/ 263 h 2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2572294" h="240822">
                <a:moveTo>
                  <a:pt x="2560836" y="212687"/>
                </a:moveTo>
                <a:cubicBezTo>
                  <a:pt x="2561743" y="212858"/>
                  <a:pt x="2562651" y="213141"/>
                  <a:pt x="2563502" y="213482"/>
                </a:cubicBezTo>
                <a:cubicBezTo>
                  <a:pt x="2564353" y="213879"/>
                  <a:pt x="2565204" y="214276"/>
                  <a:pt x="2565941" y="214786"/>
                </a:cubicBezTo>
                <a:cubicBezTo>
                  <a:pt x="2566735" y="215297"/>
                  <a:pt x="2567472" y="215921"/>
                  <a:pt x="2568097" y="216601"/>
                </a:cubicBezTo>
                <a:cubicBezTo>
                  <a:pt x="2568777" y="217226"/>
                  <a:pt x="2569344" y="217963"/>
                  <a:pt x="2569855" y="218757"/>
                </a:cubicBezTo>
                <a:cubicBezTo>
                  <a:pt x="2570365" y="219494"/>
                  <a:pt x="2570819" y="220345"/>
                  <a:pt x="2571159" y="221196"/>
                </a:cubicBezTo>
                <a:cubicBezTo>
                  <a:pt x="2571557" y="222047"/>
                  <a:pt x="2571783" y="222898"/>
                  <a:pt x="2572010" y="223805"/>
                </a:cubicBezTo>
                <a:cubicBezTo>
                  <a:pt x="2572181" y="224769"/>
                  <a:pt x="2572294" y="225677"/>
                  <a:pt x="2572294" y="226584"/>
                </a:cubicBezTo>
                <a:cubicBezTo>
                  <a:pt x="2572294" y="227549"/>
                  <a:pt x="2572181" y="228456"/>
                  <a:pt x="2572010" y="229364"/>
                </a:cubicBezTo>
                <a:cubicBezTo>
                  <a:pt x="2571783" y="230272"/>
                  <a:pt x="2571557" y="231179"/>
                  <a:pt x="2571159" y="232030"/>
                </a:cubicBezTo>
                <a:cubicBezTo>
                  <a:pt x="2570819" y="232881"/>
                  <a:pt x="2570365" y="233732"/>
                  <a:pt x="2569855" y="234469"/>
                </a:cubicBezTo>
                <a:cubicBezTo>
                  <a:pt x="2569344" y="235263"/>
                  <a:pt x="2568777" y="236001"/>
                  <a:pt x="2568097" y="236624"/>
                </a:cubicBezTo>
                <a:cubicBezTo>
                  <a:pt x="2567472" y="237305"/>
                  <a:pt x="2566735" y="237872"/>
                  <a:pt x="2565941" y="238383"/>
                </a:cubicBezTo>
                <a:cubicBezTo>
                  <a:pt x="2565204" y="238893"/>
                  <a:pt x="2564353" y="239347"/>
                  <a:pt x="2563502" y="239687"/>
                </a:cubicBezTo>
                <a:cubicBezTo>
                  <a:pt x="2562651" y="240084"/>
                  <a:pt x="2561743" y="240311"/>
                  <a:pt x="2560836" y="240538"/>
                </a:cubicBezTo>
                <a:cubicBezTo>
                  <a:pt x="2559928" y="240708"/>
                  <a:pt x="2559021" y="240822"/>
                  <a:pt x="2558114" y="240822"/>
                </a:cubicBezTo>
                <a:cubicBezTo>
                  <a:pt x="2554370" y="240822"/>
                  <a:pt x="2550683" y="239290"/>
                  <a:pt x="2548074" y="236624"/>
                </a:cubicBezTo>
                <a:cubicBezTo>
                  <a:pt x="2547393" y="236001"/>
                  <a:pt x="2546826" y="235263"/>
                  <a:pt x="2546315" y="234469"/>
                </a:cubicBezTo>
                <a:cubicBezTo>
                  <a:pt x="2545805" y="233732"/>
                  <a:pt x="2545351" y="232881"/>
                  <a:pt x="2545010" y="232030"/>
                </a:cubicBezTo>
                <a:cubicBezTo>
                  <a:pt x="2544614" y="231179"/>
                  <a:pt x="2544387" y="230272"/>
                  <a:pt x="2544159" y="229364"/>
                </a:cubicBezTo>
                <a:cubicBezTo>
                  <a:pt x="2543990" y="228456"/>
                  <a:pt x="2543933" y="227549"/>
                  <a:pt x="2543933" y="226584"/>
                </a:cubicBezTo>
                <a:cubicBezTo>
                  <a:pt x="2543933" y="225677"/>
                  <a:pt x="2543933" y="224769"/>
                  <a:pt x="2544159" y="223805"/>
                </a:cubicBezTo>
                <a:cubicBezTo>
                  <a:pt x="2544387" y="222898"/>
                  <a:pt x="2544614" y="222047"/>
                  <a:pt x="2545010" y="221196"/>
                </a:cubicBezTo>
                <a:cubicBezTo>
                  <a:pt x="2545351" y="220345"/>
                  <a:pt x="2545805" y="219494"/>
                  <a:pt x="2546315" y="218757"/>
                </a:cubicBezTo>
                <a:cubicBezTo>
                  <a:pt x="2546826" y="217963"/>
                  <a:pt x="2547393" y="217226"/>
                  <a:pt x="2548074" y="216601"/>
                </a:cubicBezTo>
                <a:cubicBezTo>
                  <a:pt x="2551363" y="213255"/>
                  <a:pt x="2556298" y="211723"/>
                  <a:pt x="2560836" y="212687"/>
                </a:cubicBezTo>
                <a:close/>
                <a:moveTo>
                  <a:pt x="14202" y="212602"/>
                </a:moveTo>
                <a:cubicBezTo>
                  <a:pt x="17896" y="212602"/>
                  <a:pt x="21583" y="213935"/>
                  <a:pt x="24220" y="216601"/>
                </a:cubicBezTo>
                <a:cubicBezTo>
                  <a:pt x="24901" y="217225"/>
                  <a:pt x="25468" y="217963"/>
                  <a:pt x="25979" y="218756"/>
                </a:cubicBezTo>
                <a:cubicBezTo>
                  <a:pt x="26489" y="219494"/>
                  <a:pt x="26943" y="220345"/>
                  <a:pt x="27283" y="221195"/>
                </a:cubicBezTo>
                <a:cubicBezTo>
                  <a:pt x="27624" y="222046"/>
                  <a:pt x="27907" y="222897"/>
                  <a:pt x="28078" y="223805"/>
                </a:cubicBezTo>
                <a:cubicBezTo>
                  <a:pt x="28304" y="224769"/>
                  <a:pt x="28361" y="225677"/>
                  <a:pt x="28361" y="226584"/>
                </a:cubicBezTo>
                <a:cubicBezTo>
                  <a:pt x="28361" y="227548"/>
                  <a:pt x="28304" y="228456"/>
                  <a:pt x="28078" y="229363"/>
                </a:cubicBezTo>
                <a:cubicBezTo>
                  <a:pt x="27907" y="230271"/>
                  <a:pt x="27624" y="231179"/>
                  <a:pt x="27283" y="232030"/>
                </a:cubicBezTo>
                <a:cubicBezTo>
                  <a:pt x="26943" y="232880"/>
                  <a:pt x="26489" y="233731"/>
                  <a:pt x="25979" y="234469"/>
                </a:cubicBezTo>
                <a:cubicBezTo>
                  <a:pt x="25468" y="235263"/>
                  <a:pt x="24901" y="235943"/>
                  <a:pt x="24220" y="236624"/>
                </a:cubicBezTo>
                <a:cubicBezTo>
                  <a:pt x="21611" y="239290"/>
                  <a:pt x="17924" y="240765"/>
                  <a:pt x="14181" y="240765"/>
                </a:cubicBezTo>
                <a:cubicBezTo>
                  <a:pt x="10493" y="240765"/>
                  <a:pt x="6807" y="239290"/>
                  <a:pt x="4141" y="236624"/>
                </a:cubicBezTo>
                <a:cubicBezTo>
                  <a:pt x="1532" y="233958"/>
                  <a:pt x="0" y="230328"/>
                  <a:pt x="0" y="226584"/>
                </a:cubicBezTo>
                <a:cubicBezTo>
                  <a:pt x="0" y="225677"/>
                  <a:pt x="114" y="224769"/>
                  <a:pt x="284" y="223805"/>
                </a:cubicBezTo>
                <a:cubicBezTo>
                  <a:pt x="454" y="222954"/>
                  <a:pt x="737" y="222046"/>
                  <a:pt x="1078" y="221195"/>
                </a:cubicBezTo>
                <a:cubicBezTo>
                  <a:pt x="1475" y="220345"/>
                  <a:pt x="1929" y="219494"/>
                  <a:pt x="2382" y="218756"/>
                </a:cubicBezTo>
                <a:cubicBezTo>
                  <a:pt x="2950" y="217963"/>
                  <a:pt x="3517" y="217225"/>
                  <a:pt x="4141" y="216601"/>
                </a:cubicBezTo>
                <a:cubicBezTo>
                  <a:pt x="6807" y="213935"/>
                  <a:pt x="10508" y="212602"/>
                  <a:pt x="14202" y="212602"/>
                </a:cubicBezTo>
                <a:close/>
                <a:moveTo>
                  <a:pt x="2501561" y="212404"/>
                </a:moveTo>
                <a:cubicBezTo>
                  <a:pt x="2509389" y="212404"/>
                  <a:pt x="2515741" y="218757"/>
                  <a:pt x="2515741" y="226585"/>
                </a:cubicBezTo>
                <a:cubicBezTo>
                  <a:pt x="2515741" y="234412"/>
                  <a:pt x="2509389" y="240765"/>
                  <a:pt x="2501561" y="240765"/>
                </a:cubicBezTo>
                <a:cubicBezTo>
                  <a:pt x="2493733" y="240765"/>
                  <a:pt x="2487380" y="234412"/>
                  <a:pt x="2487380" y="226585"/>
                </a:cubicBezTo>
                <a:cubicBezTo>
                  <a:pt x="2487380" y="218757"/>
                  <a:pt x="2493733" y="212404"/>
                  <a:pt x="2501561" y="212404"/>
                </a:cubicBezTo>
                <a:close/>
                <a:moveTo>
                  <a:pt x="2445009" y="212404"/>
                </a:moveTo>
                <a:cubicBezTo>
                  <a:pt x="2452837" y="212404"/>
                  <a:pt x="2459190" y="218757"/>
                  <a:pt x="2459190" y="226585"/>
                </a:cubicBezTo>
                <a:cubicBezTo>
                  <a:pt x="2459190" y="234412"/>
                  <a:pt x="2452837" y="240765"/>
                  <a:pt x="2445009" y="240765"/>
                </a:cubicBezTo>
                <a:cubicBezTo>
                  <a:pt x="2437181" y="240765"/>
                  <a:pt x="2430829" y="234412"/>
                  <a:pt x="2430829" y="226585"/>
                </a:cubicBezTo>
                <a:cubicBezTo>
                  <a:pt x="2430829" y="218757"/>
                  <a:pt x="2437181" y="212404"/>
                  <a:pt x="2445009" y="212404"/>
                </a:cubicBezTo>
                <a:close/>
                <a:moveTo>
                  <a:pt x="2388514" y="212404"/>
                </a:moveTo>
                <a:cubicBezTo>
                  <a:pt x="2396342" y="212404"/>
                  <a:pt x="2402695" y="218757"/>
                  <a:pt x="2402695" y="226585"/>
                </a:cubicBezTo>
                <a:cubicBezTo>
                  <a:pt x="2402695" y="234412"/>
                  <a:pt x="2396342" y="240765"/>
                  <a:pt x="2388514" y="240765"/>
                </a:cubicBezTo>
                <a:cubicBezTo>
                  <a:pt x="2380686" y="240765"/>
                  <a:pt x="2374333" y="234412"/>
                  <a:pt x="2374333" y="226585"/>
                </a:cubicBezTo>
                <a:cubicBezTo>
                  <a:pt x="2374333" y="218757"/>
                  <a:pt x="2380686" y="212404"/>
                  <a:pt x="2388514" y="212404"/>
                </a:cubicBezTo>
                <a:close/>
                <a:moveTo>
                  <a:pt x="2331962" y="212404"/>
                </a:moveTo>
                <a:cubicBezTo>
                  <a:pt x="2339790" y="212404"/>
                  <a:pt x="2346143" y="218757"/>
                  <a:pt x="2346143" y="226585"/>
                </a:cubicBezTo>
                <a:cubicBezTo>
                  <a:pt x="2346143" y="234412"/>
                  <a:pt x="2339790" y="240765"/>
                  <a:pt x="2331962" y="240765"/>
                </a:cubicBezTo>
                <a:cubicBezTo>
                  <a:pt x="2324135" y="240765"/>
                  <a:pt x="2317782" y="234412"/>
                  <a:pt x="2317782" y="226585"/>
                </a:cubicBezTo>
                <a:cubicBezTo>
                  <a:pt x="2317782" y="218757"/>
                  <a:pt x="2324135" y="212404"/>
                  <a:pt x="2331962" y="212404"/>
                </a:cubicBezTo>
                <a:close/>
                <a:moveTo>
                  <a:pt x="2275410" y="212404"/>
                </a:moveTo>
                <a:cubicBezTo>
                  <a:pt x="2283294" y="212404"/>
                  <a:pt x="2289590" y="218757"/>
                  <a:pt x="2289590" y="226585"/>
                </a:cubicBezTo>
                <a:cubicBezTo>
                  <a:pt x="2289590" y="234412"/>
                  <a:pt x="2283294" y="240765"/>
                  <a:pt x="2275410" y="240765"/>
                </a:cubicBezTo>
                <a:cubicBezTo>
                  <a:pt x="2267582" y="240765"/>
                  <a:pt x="2261229" y="234412"/>
                  <a:pt x="2261229" y="226585"/>
                </a:cubicBezTo>
                <a:cubicBezTo>
                  <a:pt x="2261229" y="218757"/>
                  <a:pt x="2267582" y="212404"/>
                  <a:pt x="2275410" y="212404"/>
                </a:cubicBezTo>
                <a:close/>
                <a:moveTo>
                  <a:pt x="2218915" y="212404"/>
                </a:moveTo>
                <a:cubicBezTo>
                  <a:pt x="2226742" y="212404"/>
                  <a:pt x="2233095" y="218757"/>
                  <a:pt x="2233095" y="226585"/>
                </a:cubicBezTo>
                <a:cubicBezTo>
                  <a:pt x="2233095" y="234412"/>
                  <a:pt x="2226742" y="240765"/>
                  <a:pt x="2218915" y="240765"/>
                </a:cubicBezTo>
                <a:cubicBezTo>
                  <a:pt x="2211087" y="240765"/>
                  <a:pt x="2204734" y="234412"/>
                  <a:pt x="2204734" y="226585"/>
                </a:cubicBezTo>
                <a:cubicBezTo>
                  <a:pt x="2204734" y="218757"/>
                  <a:pt x="2211087" y="212404"/>
                  <a:pt x="2218915" y="212404"/>
                </a:cubicBezTo>
                <a:close/>
                <a:moveTo>
                  <a:pt x="2162363" y="212404"/>
                </a:moveTo>
                <a:cubicBezTo>
                  <a:pt x="2170190" y="212404"/>
                  <a:pt x="2176543" y="218757"/>
                  <a:pt x="2176543" y="226585"/>
                </a:cubicBezTo>
                <a:cubicBezTo>
                  <a:pt x="2176543" y="234412"/>
                  <a:pt x="2170190" y="240765"/>
                  <a:pt x="2162363" y="240765"/>
                </a:cubicBezTo>
                <a:cubicBezTo>
                  <a:pt x="2154535" y="240765"/>
                  <a:pt x="2148182" y="234412"/>
                  <a:pt x="2148182" y="226585"/>
                </a:cubicBezTo>
                <a:cubicBezTo>
                  <a:pt x="2148182" y="218757"/>
                  <a:pt x="2154535" y="212404"/>
                  <a:pt x="2162363" y="212404"/>
                </a:cubicBezTo>
                <a:close/>
                <a:moveTo>
                  <a:pt x="2105811" y="212404"/>
                </a:moveTo>
                <a:cubicBezTo>
                  <a:pt x="2113695" y="212404"/>
                  <a:pt x="2120047" y="218757"/>
                  <a:pt x="2120047" y="226585"/>
                </a:cubicBezTo>
                <a:cubicBezTo>
                  <a:pt x="2120047" y="234412"/>
                  <a:pt x="2113695" y="240765"/>
                  <a:pt x="2105811" y="240765"/>
                </a:cubicBezTo>
                <a:cubicBezTo>
                  <a:pt x="2097983" y="240765"/>
                  <a:pt x="2091686" y="234412"/>
                  <a:pt x="2091686" y="226585"/>
                </a:cubicBezTo>
                <a:cubicBezTo>
                  <a:pt x="2091686" y="218757"/>
                  <a:pt x="2097983" y="212404"/>
                  <a:pt x="2105811" y="212404"/>
                </a:cubicBezTo>
                <a:close/>
                <a:moveTo>
                  <a:pt x="2049315" y="212404"/>
                </a:moveTo>
                <a:cubicBezTo>
                  <a:pt x="2057143" y="212404"/>
                  <a:pt x="2063496" y="218757"/>
                  <a:pt x="2063496" y="226585"/>
                </a:cubicBezTo>
                <a:cubicBezTo>
                  <a:pt x="2063496" y="234412"/>
                  <a:pt x="2057143" y="240765"/>
                  <a:pt x="2049315" y="240765"/>
                </a:cubicBezTo>
                <a:cubicBezTo>
                  <a:pt x="2041487" y="240765"/>
                  <a:pt x="2035135" y="234412"/>
                  <a:pt x="2035135" y="226585"/>
                </a:cubicBezTo>
                <a:cubicBezTo>
                  <a:pt x="2035135" y="218757"/>
                  <a:pt x="2041487" y="212404"/>
                  <a:pt x="2049315" y="212404"/>
                </a:cubicBezTo>
                <a:close/>
                <a:moveTo>
                  <a:pt x="1992763" y="212404"/>
                </a:moveTo>
                <a:cubicBezTo>
                  <a:pt x="2000591" y="212404"/>
                  <a:pt x="2006944" y="218757"/>
                  <a:pt x="2006944" y="226585"/>
                </a:cubicBezTo>
                <a:cubicBezTo>
                  <a:pt x="2006944" y="234412"/>
                  <a:pt x="2000591" y="240765"/>
                  <a:pt x="1992763" y="240765"/>
                </a:cubicBezTo>
                <a:cubicBezTo>
                  <a:pt x="1984936" y="240765"/>
                  <a:pt x="1978583" y="234412"/>
                  <a:pt x="1978583" y="226585"/>
                </a:cubicBezTo>
                <a:cubicBezTo>
                  <a:pt x="1978583" y="218757"/>
                  <a:pt x="1984936" y="212404"/>
                  <a:pt x="1992763" y="212404"/>
                </a:cubicBezTo>
                <a:close/>
                <a:moveTo>
                  <a:pt x="1936268" y="212404"/>
                </a:moveTo>
                <a:cubicBezTo>
                  <a:pt x="1944096" y="212404"/>
                  <a:pt x="1950449" y="218757"/>
                  <a:pt x="1950449" y="226585"/>
                </a:cubicBezTo>
                <a:cubicBezTo>
                  <a:pt x="1950449" y="234412"/>
                  <a:pt x="1944096" y="240765"/>
                  <a:pt x="1936268" y="240765"/>
                </a:cubicBezTo>
                <a:cubicBezTo>
                  <a:pt x="1928441" y="240765"/>
                  <a:pt x="1922088" y="234412"/>
                  <a:pt x="1922088" y="226585"/>
                </a:cubicBezTo>
                <a:cubicBezTo>
                  <a:pt x="1922088" y="218757"/>
                  <a:pt x="1928441" y="212404"/>
                  <a:pt x="1936268" y="212404"/>
                </a:cubicBezTo>
                <a:close/>
                <a:moveTo>
                  <a:pt x="1879716" y="212404"/>
                </a:moveTo>
                <a:cubicBezTo>
                  <a:pt x="1887543" y="212404"/>
                  <a:pt x="1893896" y="218757"/>
                  <a:pt x="1893896" y="226585"/>
                </a:cubicBezTo>
                <a:cubicBezTo>
                  <a:pt x="1893896" y="234412"/>
                  <a:pt x="1887543" y="240765"/>
                  <a:pt x="1879716" y="240765"/>
                </a:cubicBezTo>
                <a:cubicBezTo>
                  <a:pt x="1871888" y="240765"/>
                  <a:pt x="1865535" y="234412"/>
                  <a:pt x="1865535" y="226585"/>
                </a:cubicBezTo>
                <a:cubicBezTo>
                  <a:pt x="1865535" y="218757"/>
                  <a:pt x="1871888" y="212404"/>
                  <a:pt x="1879716" y="212404"/>
                </a:cubicBezTo>
                <a:close/>
                <a:moveTo>
                  <a:pt x="1823164" y="212404"/>
                </a:moveTo>
                <a:cubicBezTo>
                  <a:pt x="1830992" y="212404"/>
                  <a:pt x="1837344" y="218757"/>
                  <a:pt x="1837344" y="226585"/>
                </a:cubicBezTo>
                <a:cubicBezTo>
                  <a:pt x="1837344" y="234412"/>
                  <a:pt x="1830992" y="240765"/>
                  <a:pt x="1823164" y="240765"/>
                </a:cubicBezTo>
                <a:cubicBezTo>
                  <a:pt x="1815336" y="240765"/>
                  <a:pt x="1808983" y="234412"/>
                  <a:pt x="1808983" y="226585"/>
                </a:cubicBezTo>
                <a:cubicBezTo>
                  <a:pt x="1808983" y="218757"/>
                  <a:pt x="1815336" y="212404"/>
                  <a:pt x="1823164" y="212404"/>
                </a:cubicBezTo>
                <a:close/>
                <a:moveTo>
                  <a:pt x="1766669" y="212404"/>
                </a:moveTo>
                <a:cubicBezTo>
                  <a:pt x="1774496" y="212404"/>
                  <a:pt x="1780849" y="218757"/>
                  <a:pt x="1780849" y="226585"/>
                </a:cubicBezTo>
                <a:cubicBezTo>
                  <a:pt x="1780849" y="234412"/>
                  <a:pt x="1774496" y="240765"/>
                  <a:pt x="1766669" y="240765"/>
                </a:cubicBezTo>
                <a:cubicBezTo>
                  <a:pt x="1758841" y="240765"/>
                  <a:pt x="1752488" y="234412"/>
                  <a:pt x="1752488" y="226585"/>
                </a:cubicBezTo>
                <a:cubicBezTo>
                  <a:pt x="1752488" y="218757"/>
                  <a:pt x="1758841" y="212404"/>
                  <a:pt x="1766669" y="212404"/>
                </a:cubicBezTo>
                <a:close/>
                <a:moveTo>
                  <a:pt x="1710117" y="212404"/>
                </a:moveTo>
                <a:cubicBezTo>
                  <a:pt x="1717945" y="212404"/>
                  <a:pt x="1724297" y="218757"/>
                  <a:pt x="1724297" y="226585"/>
                </a:cubicBezTo>
                <a:cubicBezTo>
                  <a:pt x="1724297" y="234412"/>
                  <a:pt x="1717945" y="240765"/>
                  <a:pt x="1710117" y="240765"/>
                </a:cubicBezTo>
                <a:cubicBezTo>
                  <a:pt x="1702289" y="240765"/>
                  <a:pt x="1695936" y="234412"/>
                  <a:pt x="1695936" y="226585"/>
                </a:cubicBezTo>
                <a:cubicBezTo>
                  <a:pt x="1695936" y="218757"/>
                  <a:pt x="1702289" y="212404"/>
                  <a:pt x="1710117" y="212404"/>
                </a:cubicBezTo>
                <a:close/>
                <a:moveTo>
                  <a:pt x="1653564" y="212404"/>
                </a:moveTo>
                <a:cubicBezTo>
                  <a:pt x="1661392" y="212404"/>
                  <a:pt x="1667745" y="218757"/>
                  <a:pt x="1667745" y="226585"/>
                </a:cubicBezTo>
                <a:cubicBezTo>
                  <a:pt x="1667745" y="234412"/>
                  <a:pt x="1661392" y="240765"/>
                  <a:pt x="1653564" y="240765"/>
                </a:cubicBezTo>
                <a:cubicBezTo>
                  <a:pt x="1645737" y="240765"/>
                  <a:pt x="1639384" y="234412"/>
                  <a:pt x="1639384" y="226585"/>
                </a:cubicBezTo>
                <a:cubicBezTo>
                  <a:pt x="1639384" y="218757"/>
                  <a:pt x="1645737" y="212404"/>
                  <a:pt x="1653564" y="212404"/>
                </a:cubicBezTo>
                <a:close/>
                <a:moveTo>
                  <a:pt x="1597069" y="212404"/>
                </a:moveTo>
                <a:cubicBezTo>
                  <a:pt x="1604897" y="212404"/>
                  <a:pt x="1611250" y="218757"/>
                  <a:pt x="1611250" y="226585"/>
                </a:cubicBezTo>
                <a:cubicBezTo>
                  <a:pt x="1611250" y="234412"/>
                  <a:pt x="1604897" y="240765"/>
                  <a:pt x="1597069" y="240765"/>
                </a:cubicBezTo>
                <a:cubicBezTo>
                  <a:pt x="1589242" y="240765"/>
                  <a:pt x="1582889" y="234412"/>
                  <a:pt x="1582889" y="226585"/>
                </a:cubicBezTo>
                <a:cubicBezTo>
                  <a:pt x="1582889" y="218757"/>
                  <a:pt x="1589242" y="212404"/>
                  <a:pt x="1597069" y="212404"/>
                </a:cubicBezTo>
                <a:close/>
                <a:moveTo>
                  <a:pt x="1540517" y="212404"/>
                </a:moveTo>
                <a:cubicBezTo>
                  <a:pt x="1548345" y="212404"/>
                  <a:pt x="1554698" y="218757"/>
                  <a:pt x="1554698" y="226585"/>
                </a:cubicBezTo>
                <a:cubicBezTo>
                  <a:pt x="1554698" y="234412"/>
                  <a:pt x="1548345" y="240765"/>
                  <a:pt x="1540517" y="240765"/>
                </a:cubicBezTo>
                <a:cubicBezTo>
                  <a:pt x="1532690" y="240765"/>
                  <a:pt x="1526337" y="234412"/>
                  <a:pt x="1526337" y="226585"/>
                </a:cubicBezTo>
                <a:cubicBezTo>
                  <a:pt x="1526337" y="218757"/>
                  <a:pt x="1532690" y="212404"/>
                  <a:pt x="1540517" y="212404"/>
                </a:cubicBezTo>
                <a:close/>
                <a:moveTo>
                  <a:pt x="1484022" y="212404"/>
                </a:moveTo>
                <a:cubicBezTo>
                  <a:pt x="1491849" y="212404"/>
                  <a:pt x="1498202" y="218757"/>
                  <a:pt x="1498202" y="226585"/>
                </a:cubicBezTo>
                <a:cubicBezTo>
                  <a:pt x="1498202" y="234412"/>
                  <a:pt x="1491849" y="240765"/>
                  <a:pt x="1484022" y="240765"/>
                </a:cubicBezTo>
                <a:cubicBezTo>
                  <a:pt x="1476195" y="240765"/>
                  <a:pt x="1469841" y="234412"/>
                  <a:pt x="1469841" y="226585"/>
                </a:cubicBezTo>
                <a:cubicBezTo>
                  <a:pt x="1469841" y="218757"/>
                  <a:pt x="1476195" y="212404"/>
                  <a:pt x="1484022" y="212404"/>
                </a:cubicBezTo>
                <a:close/>
                <a:moveTo>
                  <a:pt x="1427470" y="212404"/>
                </a:moveTo>
                <a:cubicBezTo>
                  <a:pt x="1435298" y="212404"/>
                  <a:pt x="1441650" y="218757"/>
                  <a:pt x="1441650" y="226585"/>
                </a:cubicBezTo>
                <a:cubicBezTo>
                  <a:pt x="1441650" y="234412"/>
                  <a:pt x="1435298" y="240765"/>
                  <a:pt x="1427470" y="240765"/>
                </a:cubicBezTo>
                <a:cubicBezTo>
                  <a:pt x="1419642" y="240765"/>
                  <a:pt x="1413289" y="234412"/>
                  <a:pt x="1413289" y="226585"/>
                </a:cubicBezTo>
                <a:cubicBezTo>
                  <a:pt x="1413289" y="218757"/>
                  <a:pt x="1419642" y="212404"/>
                  <a:pt x="1427470" y="212404"/>
                </a:cubicBezTo>
                <a:close/>
                <a:moveTo>
                  <a:pt x="1370918" y="212404"/>
                </a:moveTo>
                <a:cubicBezTo>
                  <a:pt x="1378803" y="212404"/>
                  <a:pt x="1385099" y="218757"/>
                  <a:pt x="1385099" y="226585"/>
                </a:cubicBezTo>
                <a:cubicBezTo>
                  <a:pt x="1385099" y="234412"/>
                  <a:pt x="1378803" y="240765"/>
                  <a:pt x="1370918" y="240765"/>
                </a:cubicBezTo>
                <a:cubicBezTo>
                  <a:pt x="1363090" y="240765"/>
                  <a:pt x="1356738" y="234412"/>
                  <a:pt x="1356738" y="226585"/>
                </a:cubicBezTo>
                <a:cubicBezTo>
                  <a:pt x="1356738" y="218757"/>
                  <a:pt x="1363090" y="212404"/>
                  <a:pt x="1370918" y="212404"/>
                </a:cubicBezTo>
                <a:close/>
                <a:moveTo>
                  <a:pt x="1314423" y="212404"/>
                </a:moveTo>
                <a:cubicBezTo>
                  <a:pt x="1322251" y="212404"/>
                  <a:pt x="1328604" y="218757"/>
                  <a:pt x="1328604" y="226585"/>
                </a:cubicBezTo>
                <a:cubicBezTo>
                  <a:pt x="1328604" y="234412"/>
                  <a:pt x="1322251" y="240765"/>
                  <a:pt x="1314423" y="240765"/>
                </a:cubicBezTo>
                <a:cubicBezTo>
                  <a:pt x="1306595" y="240765"/>
                  <a:pt x="1300242" y="234412"/>
                  <a:pt x="1300242" y="226585"/>
                </a:cubicBezTo>
                <a:cubicBezTo>
                  <a:pt x="1300242" y="218757"/>
                  <a:pt x="1306595" y="212404"/>
                  <a:pt x="1314423" y="212404"/>
                </a:cubicBezTo>
                <a:close/>
                <a:moveTo>
                  <a:pt x="1257870" y="212404"/>
                </a:moveTo>
                <a:cubicBezTo>
                  <a:pt x="1265698" y="212404"/>
                  <a:pt x="1272051" y="218757"/>
                  <a:pt x="1272051" y="226585"/>
                </a:cubicBezTo>
                <a:cubicBezTo>
                  <a:pt x="1272051" y="234412"/>
                  <a:pt x="1265698" y="240765"/>
                  <a:pt x="1257870" y="240765"/>
                </a:cubicBezTo>
                <a:cubicBezTo>
                  <a:pt x="1250043" y="240765"/>
                  <a:pt x="1243690" y="234412"/>
                  <a:pt x="1243690" y="226585"/>
                </a:cubicBezTo>
                <a:cubicBezTo>
                  <a:pt x="1243690" y="218757"/>
                  <a:pt x="1250043" y="212404"/>
                  <a:pt x="1257870" y="212404"/>
                </a:cubicBezTo>
                <a:close/>
                <a:moveTo>
                  <a:pt x="1201319" y="212404"/>
                </a:moveTo>
                <a:cubicBezTo>
                  <a:pt x="1209203" y="212404"/>
                  <a:pt x="1215556" y="218757"/>
                  <a:pt x="1215556" y="226585"/>
                </a:cubicBezTo>
                <a:cubicBezTo>
                  <a:pt x="1215556" y="234412"/>
                  <a:pt x="1209203" y="240765"/>
                  <a:pt x="1201319" y="240765"/>
                </a:cubicBezTo>
                <a:cubicBezTo>
                  <a:pt x="1193491" y="240765"/>
                  <a:pt x="1187138" y="234412"/>
                  <a:pt x="1187138" y="226585"/>
                </a:cubicBezTo>
                <a:cubicBezTo>
                  <a:pt x="1187138" y="218757"/>
                  <a:pt x="1193491" y="212404"/>
                  <a:pt x="1201319" y="212404"/>
                </a:cubicBezTo>
                <a:close/>
                <a:moveTo>
                  <a:pt x="1144824" y="212404"/>
                </a:moveTo>
                <a:cubicBezTo>
                  <a:pt x="1152651" y="212404"/>
                  <a:pt x="1159004" y="218757"/>
                  <a:pt x="1159004" y="226585"/>
                </a:cubicBezTo>
                <a:cubicBezTo>
                  <a:pt x="1159004" y="234412"/>
                  <a:pt x="1152651" y="240765"/>
                  <a:pt x="1144824" y="240765"/>
                </a:cubicBezTo>
                <a:cubicBezTo>
                  <a:pt x="1136996" y="240765"/>
                  <a:pt x="1130643" y="234412"/>
                  <a:pt x="1130643" y="226585"/>
                </a:cubicBezTo>
                <a:cubicBezTo>
                  <a:pt x="1130643" y="218757"/>
                  <a:pt x="1136996" y="212404"/>
                  <a:pt x="1144824" y="212404"/>
                </a:cubicBezTo>
                <a:close/>
                <a:moveTo>
                  <a:pt x="1088272" y="212404"/>
                </a:moveTo>
                <a:cubicBezTo>
                  <a:pt x="1096099" y="212404"/>
                  <a:pt x="1102452" y="218757"/>
                  <a:pt x="1102452" y="226585"/>
                </a:cubicBezTo>
                <a:cubicBezTo>
                  <a:pt x="1102452" y="234412"/>
                  <a:pt x="1096099" y="240765"/>
                  <a:pt x="1088272" y="240765"/>
                </a:cubicBezTo>
                <a:cubicBezTo>
                  <a:pt x="1080444" y="240765"/>
                  <a:pt x="1074091" y="234412"/>
                  <a:pt x="1074091" y="226585"/>
                </a:cubicBezTo>
                <a:cubicBezTo>
                  <a:pt x="1074091" y="218757"/>
                  <a:pt x="1080444" y="212404"/>
                  <a:pt x="1088272" y="212404"/>
                </a:cubicBezTo>
                <a:close/>
                <a:moveTo>
                  <a:pt x="1031776" y="212404"/>
                </a:moveTo>
                <a:cubicBezTo>
                  <a:pt x="1039604" y="212404"/>
                  <a:pt x="1045956" y="218757"/>
                  <a:pt x="1045956" y="226585"/>
                </a:cubicBezTo>
                <a:cubicBezTo>
                  <a:pt x="1045956" y="234412"/>
                  <a:pt x="1039604" y="240765"/>
                  <a:pt x="1031776" y="240765"/>
                </a:cubicBezTo>
                <a:cubicBezTo>
                  <a:pt x="1023891" y="240765"/>
                  <a:pt x="1017539" y="234412"/>
                  <a:pt x="1017539" y="226585"/>
                </a:cubicBezTo>
                <a:cubicBezTo>
                  <a:pt x="1017539" y="218757"/>
                  <a:pt x="1023891" y="212404"/>
                  <a:pt x="1031776" y="212404"/>
                </a:cubicBezTo>
                <a:close/>
                <a:moveTo>
                  <a:pt x="975224" y="212404"/>
                </a:moveTo>
                <a:cubicBezTo>
                  <a:pt x="983052" y="212404"/>
                  <a:pt x="989405" y="218757"/>
                  <a:pt x="989405" y="226585"/>
                </a:cubicBezTo>
                <a:cubicBezTo>
                  <a:pt x="989405" y="234412"/>
                  <a:pt x="983052" y="240765"/>
                  <a:pt x="975224" y="240765"/>
                </a:cubicBezTo>
                <a:cubicBezTo>
                  <a:pt x="967396" y="240765"/>
                  <a:pt x="961044" y="234412"/>
                  <a:pt x="961044" y="226585"/>
                </a:cubicBezTo>
                <a:cubicBezTo>
                  <a:pt x="961044" y="218757"/>
                  <a:pt x="967396" y="212404"/>
                  <a:pt x="975224" y="212404"/>
                </a:cubicBezTo>
                <a:close/>
                <a:moveTo>
                  <a:pt x="918672" y="212404"/>
                </a:moveTo>
                <a:cubicBezTo>
                  <a:pt x="926500" y="212404"/>
                  <a:pt x="932853" y="218757"/>
                  <a:pt x="932853" y="226585"/>
                </a:cubicBezTo>
                <a:cubicBezTo>
                  <a:pt x="932853" y="234412"/>
                  <a:pt x="926500" y="240765"/>
                  <a:pt x="918672" y="240765"/>
                </a:cubicBezTo>
                <a:cubicBezTo>
                  <a:pt x="910845" y="240765"/>
                  <a:pt x="904492" y="234412"/>
                  <a:pt x="904492" y="226585"/>
                </a:cubicBezTo>
                <a:cubicBezTo>
                  <a:pt x="904492" y="218757"/>
                  <a:pt x="910845" y="212404"/>
                  <a:pt x="918672" y="212404"/>
                </a:cubicBezTo>
                <a:close/>
                <a:moveTo>
                  <a:pt x="862177" y="212404"/>
                </a:moveTo>
                <a:cubicBezTo>
                  <a:pt x="870004" y="212404"/>
                  <a:pt x="876358" y="218757"/>
                  <a:pt x="876358" y="226585"/>
                </a:cubicBezTo>
                <a:cubicBezTo>
                  <a:pt x="876358" y="234412"/>
                  <a:pt x="870004" y="240765"/>
                  <a:pt x="862177" y="240765"/>
                </a:cubicBezTo>
                <a:cubicBezTo>
                  <a:pt x="854350" y="240765"/>
                  <a:pt x="847997" y="234412"/>
                  <a:pt x="847997" y="226585"/>
                </a:cubicBezTo>
                <a:cubicBezTo>
                  <a:pt x="847997" y="218757"/>
                  <a:pt x="854350" y="212404"/>
                  <a:pt x="862177" y="212404"/>
                </a:cubicBezTo>
                <a:close/>
                <a:moveTo>
                  <a:pt x="805625" y="212404"/>
                </a:moveTo>
                <a:cubicBezTo>
                  <a:pt x="813452" y="212404"/>
                  <a:pt x="819805" y="218757"/>
                  <a:pt x="819805" y="226585"/>
                </a:cubicBezTo>
                <a:cubicBezTo>
                  <a:pt x="819805" y="234412"/>
                  <a:pt x="813452" y="240765"/>
                  <a:pt x="805625" y="240765"/>
                </a:cubicBezTo>
                <a:cubicBezTo>
                  <a:pt x="797797" y="240765"/>
                  <a:pt x="791444" y="234412"/>
                  <a:pt x="791444" y="226585"/>
                </a:cubicBezTo>
                <a:cubicBezTo>
                  <a:pt x="791444" y="218757"/>
                  <a:pt x="797797" y="212404"/>
                  <a:pt x="805625" y="212404"/>
                </a:cubicBezTo>
                <a:close/>
                <a:moveTo>
                  <a:pt x="749073" y="212404"/>
                </a:moveTo>
                <a:cubicBezTo>
                  <a:pt x="756957" y="212404"/>
                  <a:pt x="763310" y="218757"/>
                  <a:pt x="763310" y="226585"/>
                </a:cubicBezTo>
                <a:cubicBezTo>
                  <a:pt x="763310" y="234412"/>
                  <a:pt x="756957" y="240765"/>
                  <a:pt x="749073" y="240765"/>
                </a:cubicBezTo>
                <a:cubicBezTo>
                  <a:pt x="741245" y="240765"/>
                  <a:pt x="734949" y="234412"/>
                  <a:pt x="734949" y="226585"/>
                </a:cubicBezTo>
                <a:cubicBezTo>
                  <a:pt x="734949" y="218757"/>
                  <a:pt x="741245" y="212404"/>
                  <a:pt x="749073" y="212404"/>
                </a:cubicBezTo>
                <a:close/>
                <a:moveTo>
                  <a:pt x="692578" y="212404"/>
                </a:moveTo>
                <a:cubicBezTo>
                  <a:pt x="700405" y="212404"/>
                  <a:pt x="706758" y="218757"/>
                  <a:pt x="706758" y="226585"/>
                </a:cubicBezTo>
                <a:cubicBezTo>
                  <a:pt x="706758" y="234412"/>
                  <a:pt x="700405" y="240765"/>
                  <a:pt x="692578" y="240765"/>
                </a:cubicBezTo>
                <a:cubicBezTo>
                  <a:pt x="684750" y="240765"/>
                  <a:pt x="678397" y="234412"/>
                  <a:pt x="678397" y="226585"/>
                </a:cubicBezTo>
                <a:cubicBezTo>
                  <a:pt x="678397" y="218757"/>
                  <a:pt x="684750" y="212404"/>
                  <a:pt x="692578" y="212404"/>
                </a:cubicBezTo>
                <a:close/>
                <a:moveTo>
                  <a:pt x="636026" y="212404"/>
                </a:moveTo>
                <a:cubicBezTo>
                  <a:pt x="643853" y="212404"/>
                  <a:pt x="650206" y="218757"/>
                  <a:pt x="650206" y="226585"/>
                </a:cubicBezTo>
                <a:cubicBezTo>
                  <a:pt x="650206" y="234412"/>
                  <a:pt x="643853" y="240765"/>
                  <a:pt x="636026" y="240765"/>
                </a:cubicBezTo>
                <a:cubicBezTo>
                  <a:pt x="628198" y="240765"/>
                  <a:pt x="621845" y="234412"/>
                  <a:pt x="621845" y="226585"/>
                </a:cubicBezTo>
                <a:cubicBezTo>
                  <a:pt x="621845" y="218757"/>
                  <a:pt x="628198" y="212404"/>
                  <a:pt x="636026" y="212404"/>
                </a:cubicBezTo>
                <a:close/>
                <a:moveTo>
                  <a:pt x="579530" y="212404"/>
                </a:moveTo>
                <a:cubicBezTo>
                  <a:pt x="587358" y="212404"/>
                  <a:pt x="593711" y="218757"/>
                  <a:pt x="593711" y="226585"/>
                </a:cubicBezTo>
                <a:cubicBezTo>
                  <a:pt x="593711" y="234412"/>
                  <a:pt x="587358" y="240765"/>
                  <a:pt x="579530" y="240765"/>
                </a:cubicBezTo>
                <a:cubicBezTo>
                  <a:pt x="571702" y="240765"/>
                  <a:pt x="565350" y="234412"/>
                  <a:pt x="565350" y="226585"/>
                </a:cubicBezTo>
                <a:cubicBezTo>
                  <a:pt x="565350" y="218757"/>
                  <a:pt x="571702" y="212404"/>
                  <a:pt x="579530" y="212404"/>
                </a:cubicBezTo>
                <a:close/>
                <a:moveTo>
                  <a:pt x="522978" y="212404"/>
                </a:moveTo>
                <a:cubicBezTo>
                  <a:pt x="530806" y="212404"/>
                  <a:pt x="537159" y="218757"/>
                  <a:pt x="537159" y="226585"/>
                </a:cubicBezTo>
                <a:cubicBezTo>
                  <a:pt x="537159" y="234412"/>
                  <a:pt x="530806" y="240765"/>
                  <a:pt x="522978" y="240765"/>
                </a:cubicBezTo>
                <a:cubicBezTo>
                  <a:pt x="515151" y="240765"/>
                  <a:pt x="508798" y="234412"/>
                  <a:pt x="508798" y="226585"/>
                </a:cubicBezTo>
                <a:cubicBezTo>
                  <a:pt x="508798" y="218757"/>
                  <a:pt x="515151" y="212404"/>
                  <a:pt x="522978" y="212404"/>
                </a:cubicBezTo>
                <a:close/>
                <a:moveTo>
                  <a:pt x="466426" y="212404"/>
                </a:moveTo>
                <a:cubicBezTo>
                  <a:pt x="474254" y="212404"/>
                  <a:pt x="480607" y="218757"/>
                  <a:pt x="480607" y="226585"/>
                </a:cubicBezTo>
                <a:cubicBezTo>
                  <a:pt x="480607" y="234412"/>
                  <a:pt x="474254" y="240765"/>
                  <a:pt x="466426" y="240765"/>
                </a:cubicBezTo>
                <a:cubicBezTo>
                  <a:pt x="458598" y="240765"/>
                  <a:pt x="452246" y="234412"/>
                  <a:pt x="452246" y="226585"/>
                </a:cubicBezTo>
                <a:cubicBezTo>
                  <a:pt x="452246" y="218757"/>
                  <a:pt x="458598" y="212404"/>
                  <a:pt x="466426" y="212404"/>
                </a:cubicBezTo>
                <a:close/>
                <a:moveTo>
                  <a:pt x="409931" y="212404"/>
                </a:moveTo>
                <a:cubicBezTo>
                  <a:pt x="417759" y="212404"/>
                  <a:pt x="424112" y="218757"/>
                  <a:pt x="424112" y="226585"/>
                </a:cubicBezTo>
                <a:cubicBezTo>
                  <a:pt x="424112" y="234412"/>
                  <a:pt x="417759" y="240765"/>
                  <a:pt x="409931" y="240765"/>
                </a:cubicBezTo>
                <a:cubicBezTo>
                  <a:pt x="402103" y="240765"/>
                  <a:pt x="395751" y="234412"/>
                  <a:pt x="395751" y="226585"/>
                </a:cubicBezTo>
                <a:cubicBezTo>
                  <a:pt x="395751" y="218757"/>
                  <a:pt x="402103" y="212404"/>
                  <a:pt x="409931" y="212404"/>
                </a:cubicBezTo>
                <a:close/>
                <a:moveTo>
                  <a:pt x="353379" y="212404"/>
                </a:moveTo>
                <a:cubicBezTo>
                  <a:pt x="361207" y="212404"/>
                  <a:pt x="367559" y="218757"/>
                  <a:pt x="367559" y="226585"/>
                </a:cubicBezTo>
                <a:cubicBezTo>
                  <a:pt x="367559" y="234412"/>
                  <a:pt x="361207" y="240765"/>
                  <a:pt x="353379" y="240765"/>
                </a:cubicBezTo>
                <a:cubicBezTo>
                  <a:pt x="345551" y="240765"/>
                  <a:pt x="339198" y="234412"/>
                  <a:pt x="339198" y="226585"/>
                </a:cubicBezTo>
                <a:cubicBezTo>
                  <a:pt x="339198" y="218757"/>
                  <a:pt x="345551" y="212404"/>
                  <a:pt x="353379" y="212404"/>
                </a:cubicBezTo>
                <a:close/>
                <a:moveTo>
                  <a:pt x="296884" y="212404"/>
                </a:moveTo>
                <a:cubicBezTo>
                  <a:pt x="304712" y="212404"/>
                  <a:pt x="311008" y="218757"/>
                  <a:pt x="311008" y="226585"/>
                </a:cubicBezTo>
                <a:cubicBezTo>
                  <a:pt x="311008" y="234412"/>
                  <a:pt x="304712" y="240765"/>
                  <a:pt x="296884" y="240765"/>
                </a:cubicBezTo>
                <a:cubicBezTo>
                  <a:pt x="288999" y="240765"/>
                  <a:pt x="282647" y="234412"/>
                  <a:pt x="282647" y="226585"/>
                </a:cubicBezTo>
                <a:cubicBezTo>
                  <a:pt x="282647" y="218757"/>
                  <a:pt x="288999" y="212404"/>
                  <a:pt x="296884" y="212404"/>
                </a:cubicBezTo>
                <a:close/>
                <a:moveTo>
                  <a:pt x="240332" y="212404"/>
                </a:moveTo>
                <a:cubicBezTo>
                  <a:pt x="248159" y="212404"/>
                  <a:pt x="254512" y="218757"/>
                  <a:pt x="254512" y="226585"/>
                </a:cubicBezTo>
                <a:cubicBezTo>
                  <a:pt x="254512" y="234412"/>
                  <a:pt x="248159" y="240765"/>
                  <a:pt x="240332" y="240765"/>
                </a:cubicBezTo>
                <a:cubicBezTo>
                  <a:pt x="232504" y="240765"/>
                  <a:pt x="226151" y="234412"/>
                  <a:pt x="226151" y="226585"/>
                </a:cubicBezTo>
                <a:cubicBezTo>
                  <a:pt x="226151" y="218757"/>
                  <a:pt x="232504" y="212404"/>
                  <a:pt x="240332" y="212404"/>
                </a:cubicBezTo>
                <a:close/>
                <a:moveTo>
                  <a:pt x="183780" y="212404"/>
                </a:moveTo>
                <a:cubicBezTo>
                  <a:pt x="191607" y="212404"/>
                  <a:pt x="197960" y="218757"/>
                  <a:pt x="197960" y="226585"/>
                </a:cubicBezTo>
                <a:cubicBezTo>
                  <a:pt x="197960" y="234412"/>
                  <a:pt x="191607" y="240765"/>
                  <a:pt x="183780" y="240765"/>
                </a:cubicBezTo>
                <a:cubicBezTo>
                  <a:pt x="175952" y="240765"/>
                  <a:pt x="169599" y="234412"/>
                  <a:pt x="169599" y="226585"/>
                </a:cubicBezTo>
                <a:cubicBezTo>
                  <a:pt x="169599" y="218757"/>
                  <a:pt x="175952" y="212404"/>
                  <a:pt x="183780" y="212404"/>
                </a:cubicBezTo>
                <a:close/>
                <a:moveTo>
                  <a:pt x="127284" y="212404"/>
                </a:moveTo>
                <a:cubicBezTo>
                  <a:pt x="135112" y="212404"/>
                  <a:pt x="141408" y="218757"/>
                  <a:pt x="141408" y="226585"/>
                </a:cubicBezTo>
                <a:cubicBezTo>
                  <a:pt x="141408" y="234412"/>
                  <a:pt x="135112" y="240765"/>
                  <a:pt x="127284" y="240765"/>
                </a:cubicBezTo>
                <a:cubicBezTo>
                  <a:pt x="119457" y="240765"/>
                  <a:pt x="113104" y="234412"/>
                  <a:pt x="113104" y="226585"/>
                </a:cubicBezTo>
                <a:cubicBezTo>
                  <a:pt x="113104" y="218757"/>
                  <a:pt x="119457" y="212404"/>
                  <a:pt x="127284" y="212404"/>
                </a:cubicBezTo>
                <a:close/>
                <a:moveTo>
                  <a:pt x="70733" y="212404"/>
                </a:moveTo>
                <a:cubicBezTo>
                  <a:pt x="78560" y="212404"/>
                  <a:pt x="84913" y="218757"/>
                  <a:pt x="84913" y="226585"/>
                </a:cubicBezTo>
                <a:cubicBezTo>
                  <a:pt x="84913" y="234412"/>
                  <a:pt x="78560" y="240765"/>
                  <a:pt x="70733" y="240765"/>
                </a:cubicBezTo>
                <a:cubicBezTo>
                  <a:pt x="62905" y="240765"/>
                  <a:pt x="56552" y="234412"/>
                  <a:pt x="56552" y="226585"/>
                </a:cubicBezTo>
                <a:cubicBezTo>
                  <a:pt x="56552" y="218757"/>
                  <a:pt x="62905" y="212404"/>
                  <a:pt x="70733" y="212404"/>
                </a:cubicBezTo>
                <a:close/>
                <a:moveTo>
                  <a:pt x="14181" y="159312"/>
                </a:moveTo>
                <a:cubicBezTo>
                  <a:pt x="22065" y="159312"/>
                  <a:pt x="28361" y="165664"/>
                  <a:pt x="28361" y="173492"/>
                </a:cubicBezTo>
                <a:cubicBezTo>
                  <a:pt x="28361" y="181320"/>
                  <a:pt x="22065" y="187673"/>
                  <a:pt x="14181" y="187673"/>
                </a:cubicBezTo>
                <a:cubicBezTo>
                  <a:pt x="6353" y="187673"/>
                  <a:pt x="0" y="181320"/>
                  <a:pt x="0" y="173492"/>
                </a:cubicBezTo>
                <a:cubicBezTo>
                  <a:pt x="0" y="165664"/>
                  <a:pt x="6353" y="159312"/>
                  <a:pt x="14181" y="159312"/>
                </a:cubicBezTo>
                <a:close/>
                <a:moveTo>
                  <a:pt x="14181" y="106220"/>
                </a:moveTo>
                <a:cubicBezTo>
                  <a:pt x="22065" y="106220"/>
                  <a:pt x="28361" y="112573"/>
                  <a:pt x="28361" y="120400"/>
                </a:cubicBezTo>
                <a:cubicBezTo>
                  <a:pt x="28361" y="128228"/>
                  <a:pt x="22065" y="134581"/>
                  <a:pt x="14181" y="134581"/>
                </a:cubicBezTo>
                <a:cubicBezTo>
                  <a:pt x="6353" y="134581"/>
                  <a:pt x="0" y="128228"/>
                  <a:pt x="0" y="120400"/>
                </a:cubicBezTo>
                <a:cubicBezTo>
                  <a:pt x="0" y="112573"/>
                  <a:pt x="6353" y="106220"/>
                  <a:pt x="14181" y="106220"/>
                </a:cubicBezTo>
                <a:close/>
                <a:moveTo>
                  <a:pt x="14181" y="53071"/>
                </a:moveTo>
                <a:cubicBezTo>
                  <a:pt x="22065" y="53071"/>
                  <a:pt x="28361" y="59424"/>
                  <a:pt x="28361" y="67252"/>
                </a:cubicBezTo>
                <a:cubicBezTo>
                  <a:pt x="28361" y="75079"/>
                  <a:pt x="22065" y="81432"/>
                  <a:pt x="14181" y="81432"/>
                </a:cubicBezTo>
                <a:cubicBezTo>
                  <a:pt x="6353" y="81432"/>
                  <a:pt x="0" y="75079"/>
                  <a:pt x="0" y="67252"/>
                </a:cubicBezTo>
                <a:cubicBezTo>
                  <a:pt x="0" y="59424"/>
                  <a:pt x="6353" y="53071"/>
                  <a:pt x="14181" y="53071"/>
                </a:cubicBezTo>
                <a:close/>
                <a:moveTo>
                  <a:pt x="11401" y="263"/>
                </a:moveTo>
                <a:cubicBezTo>
                  <a:pt x="16052" y="-644"/>
                  <a:pt x="20930" y="831"/>
                  <a:pt x="24220" y="4121"/>
                </a:cubicBezTo>
                <a:cubicBezTo>
                  <a:pt x="26886" y="6786"/>
                  <a:pt x="28361" y="10417"/>
                  <a:pt x="28361" y="14160"/>
                </a:cubicBezTo>
                <a:cubicBezTo>
                  <a:pt x="28361" y="17904"/>
                  <a:pt x="26886" y="21534"/>
                  <a:pt x="24220" y="24200"/>
                </a:cubicBezTo>
                <a:cubicBezTo>
                  <a:pt x="21611" y="26809"/>
                  <a:pt x="17924" y="28341"/>
                  <a:pt x="14181" y="28341"/>
                </a:cubicBezTo>
                <a:cubicBezTo>
                  <a:pt x="13273" y="28341"/>
                  <a:pt x="12365" y="28227"/>
                  <a:pt x="11401" y="28057"/>
                </a:cubicBezTo>
                <a:cubicBezTo>
                  <a:pt x="10550" y="27887"/>
                  <a:pt x="9643" y="27603"/>
                  <a:pt x="8792" y="27263"/>
                </a:cubicBezTo>
                <a:cubicBezTo>
                  <a:pt x="7941" y="26923"/>
                  <a:pt x="7090" y="26469"/>
                  <a:pt x="6353" y="25958"/>
                </a:cubicBezTo>
                <a:cubicBezTo>
                  <a:pt x="5559" y="25448"/>
                  <a:pt x="4821" y="24824"/>
                  <a:pt x="4197" y="24200"/>
                </a:cubicBezTo>
                <a:cubicBezTo>
                  <a:pt x="1532" y="21534"/>
                  <a:pt x="0" y="17904"/>
                  <a:pt x="0" y="14160"/>
                </a:cubicBezTo>
                <a:cubicBezTo>
                  <a:pt x="0" y="10417"/>
                  <a:pt x="1532" y="6786"/>
                  <a:pt x="4197" y="4121"/>
                </a:cubicBezTo>
                <a:cubicBezTo>
                  <a:pt x="4821" y="3496"/>
                  <a:pt x="5559" y="2872"/>
                  <a:pt x="6353" y="2362"/>
                </a:cubicBezTo>
                <a:cubicBezTo>
                  <a:pt x="7090" y="1851"/>
                  <a:pt x="7941" y="1398"/>
                  <a:pt x="8792" y="1057"/>
                </a:cubicBezTo>
                <a:cubicBezTo>
                  <a:pt x="9643" y="717"/>
                  <a:pt x="10550" y="433"/>
                  <a:pt x="11401" y="263"/>
                </a:cubicBezTo>
                <a:close/>
              </a:path>
            </a:pathLst>
          </a:custGeom>
          <a:solidFill>
            <a:srgbClr val="FDAA48"/>
          </a:solidFill>
          <a:ln w="0" cap="flat">
            <a:noFill/>
            <a:prstDash val="solid"/>
            <a:miter/>
          </a:ln>
        </p:spPr>
        <p:txBody>
          <a:bodyPr rtlCol="0" anchor="ctr"/>
          <a:lstStyle/>
          <a:p>
            <a:endParaRPr lang="sv-SE"/>
          </a:p>
        </p:txBody>
      </p:sp>
      <p:sp>
        <p:nvSpPr>
          <p:cNvPr id="269" name="Freeform 268">
            <a:extLst>
              <a:ext uri="{FF2B5EF4-FFF2-40B4-BE49-F238E27FC236}">
                <a16:creationId xmlns:a16="http://schemas.microsoft.com/office/drawing/2014/main" id="{2F9B68D3-9665-E844-1907-13C56F432151}"/>
              </a:ext>
            </a:extLst>
          </p:cNvPr>
          <p:cNvSpPr/>
          <p:nvPr/>
        </p:nvSpPr>
        <p:spPr>
          <a:xfrm>
            <a:off x="939714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70" name="Freeform 269">
            <a:extLst>
              <a:ext uri="{FF2B5EF4-FFF2-40B4-BE49-F238E27FC236}">
                <a16:creationId xmlns:a16="http://schemas.microsoft.com/office/drawing/2014/main" id="{347A42A2-11EF-F944-CB91-4AAE763CD2D0}"/>
              </a:ext>
            </a:extLst>
          </p:cNvPr>
          <p:cNvSpPr/>
          <p:nvPr/>
        </p:nvSpPr>
        <p:spPr>
          <a:xfrm>
            <a:off x="934575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271" name="Freeform 270">
            <a:extLst>
              <a:ext uri="{FF2B5EF4-FFF2-40B4-BE49-F238E27FC236}">
                <a16:creationId xmlns:a16="http://schemas.microsoft.com/office/drawing/2014/main" id="{45E32BCF-3CF4-C860-D03D-F4CE40D8CB89}"/>
              </a:ext>
            </a:extLst>
          </p:cNvPr>
          <p:cNvSpPr/>
          <p:nvPr/>
        </p:nvSpPr>
        <p:spPr>
          <a:xfrm>
            <a:off x="9294369" y="3230144"/>
            <a:ext cx="0" cy="799896"/>
          </a:xfrm>
          <a:custGeom>
            <a:avLst/>
            <a:gdLst>
              <a:gd name="connsiteX0" fmla="*/ 0 w 5672"/>
              <a:gd name="connsiteY0" fmla="*/ 0 h 799896"/>
              <a:gd name="connsiteX1" fmla="*/ 0 w 5672"/>
              <a:gd name="connsiteY1" fmla="*/ 799896 h 799896"/>
            </a:gdLst>
            <a:ahLst/>
            <a:cxnLst>
              <a:cxn ang="0">
                <a:pos x="connsiteX0" y="connsiteY0"/>
              </a:cxn>
              <a:cxn ang="0">
                <a:pos x="connsiteX1" y="connsiteY1"/>
              </a:cxn>
            </a:cxnLst>
            <a:rect l="l" t="t" r="r" b="b"/>
            <a:pathLst>
              <a:path w="5672" h="799896">
                <a:moveTo>
                  <a:pt x="0" y="0"/>
                </a:moveTo>
                <a:lnTo>
                  <a:pt x="0" y="799896"/>
                </a:lnTo>
              </a:path>
            </a:pathLst>
          </a:custGeom>
          <a:ln w="12700" cap="flat">
            <a:solidFill>
              <a:srgbClr val="0046AD"/>
            </a:solidFill>
            <a:prstDash val="solid"/>
            <a:miter/>
          </a:ln>
        </p:spPr>
        <p:txBody>
          <a:bodyPr rtlCol="0" anchor="ctr"/>
          <a:lstStyle/>
          <a:p>
            <a:endParaRPr lang="sv-SE"/>
          </a:p>
        </p:txBody>
      </p:sp>
      <p:sp>
        <p:nvSpPr>
          <p:cNvPr id="451" name="Freeform 450">
            <a:extLst>
              <a:ext uri="{FF2B5EF4-FFF2-40B4-BE49-F238E27FC236}">
                <a16:creationId xmlns:a16="http://schemas.microsoft.com/office/drawing/2014/main" id="{EE2DB25E-8C3A-2639-2251-115848DD537E}"/>
              </a:ext>
            </a:extLst>
          </p:cNvPr>
          <p:cNvSpPr/>
          <p:nvPr/>
        </p:nvSpPr>
        <p:spPr>
          <a:xfrm>
            <a:off x="3266560" y="3570477"/>
            <a:ext cx="617137" cy="516739"/>
          </a:xfrm>
          <a:custGeom>
            <a:avLst/>
            <a:gdLst>
              <a:gd name="connsiteX0" fmla="*/ 190076 w 617137"/>
              <a:gd name="connsiteY0" fmla="*/ 0 h 516739"/>
              <a:gd name="connsiteX1" fmla="*/ 427061 w 617137"/>
              <a:gd name="connsiteY1" fmla="*/ 0 h 516739"/>
              <a:gd name="connsiteX2" fmla="*/ 427061 w 617137"/>
              <a:gd name="connsiteY2" fmla="*/ 31878 h 516739"/>
              <a:gd name="connsiteX3" fmla="*/ 508911 w 617137"/>
              <a:gd name="connsiteY3" fmla="*/ 31878 h 516739"/>
              <a:gd name="connsiteX4" fmla="*/ 617137 w 617137"/>
              <a:gd name="connsiteY4" fmla="*/ 127342 h 516739"/>
              <a:gd name="connsiteX5" fmla="*/ 617137 w 617137"/>
              <a:gd name="connsiteY5" fmla="*/ 516739 h 516739"/>
              <a:gd name="connsiteX6" fmla="*/ 0 w 617137"/>
              <a:gd name="connsiteY6" fmla="*/ 516739 h 516739"/>
              <a:gd name="connsiteX7" fmla="*/ 0 w 617137"/>
              <a:gd name="connsiteY7" fmla="*/ 127342 h 516739"/>
              <a:gd name="connsiteX8" fmla="*/ 113217 w 617137"/>
              <a:gd name="connsiteY8" fmla="*/ 31878 h 516739"/>
              <a:gd name="connsiteX9" fmla="*/ 190076 w 617137"/>
              <a:gd name="connsiteY9" fmla="*/ 31878 h 51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137" h="516739">
                <a:moveTo>
                  <a:pt x="190076" y="0"/>
                </a:moveTo>
                <a:lnTo>
                  <a:pt x="427061" y="0"/>
                </a:lnTo>
                <a:lnTo>
                  <a:pt x="427061" y="31878"/>
                </a:lnTo>
                <a:lnTo>
                  <a:pt x="508911" y="31878"/>
                </a:lnTo>
                <a:lnTo>
                  <a:pt x="617137" y="127342"/>
                </a:lnTo>
                <a:lnTo>
                  <a:pt x="617137" y="516739"/>
                </a:lnTo>
                <a:lnTo>
                  <a:pt x="0" y="516739"/>
                </a:lnTo>
                <a:lnTo>
                  <a:pt x="0" y="127342"/>
                </a:lnTo>
                <a:lnTo>
                  <a:pt x="113217" y="31878"/>
                </a:lnTo>
                <a:lnTo>
                  <a:pt x="190076" y="31878"/>
                </a:lnTo>
                <a:close/>
              </a:path>
            </a:pathLst>
          </a:custGeom>
          <a:solidFill>
            <a:srgbClr val="FFFFFF"/>
          </a:solidFill>
          <a:ln w="0" cap="flat">
            <a:noFill/>
            <a:prstDash val="solid"/>
            <a:miter/>
          </a:ln>
        </p:spPr>
        <p:txBody>
          <a:bodyPr rtlCol="0" anchor="ctr"/>
          <a:lstStyle/>
          <a:p>
            <a:endParaRPr lang="sv-SE"/>
          </a:p>
        </p:txBody>
      </p:sp>
      <p:sp>
        <p:nvSpPr>
          <p:cNvPr id="320" name="Freeform 319">
            <a:extLst>
              <a:ext uri="{FF2B5EF4-FFF2-40B4-BE49-F238E27FC236}">
                <a16:creationId xmlns:a16="http://schemas.microsoft.com/office/drawing/2014/main" id="{1D37CA64-9BFB-0641-1A3D-A5DD6FFD7DCB}"/>
              </a:ext>
            </a:extLst>
          </p:cNvPr>
          <p:cNvSpPr/>
          <p:nvPr/>
        </p:nvSpPr>
        <p:spPr>
          <a:xfrm>
            <a:off x="3311938" y="3846771"/>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22" name="Freeform 321">
            <a:extLst>
              <a:ext uri="{FF2B5EF4-FFF2-40B4-BE49-F238E27FC236}">
                <a16:creationId xmlns:a16="http://schemas.microsoft.com/office/drawing/2014/main" id="{8AD334D8-1941-F60C-C6FE-A58329859910}"/>
              </a:ext>
            </a:extLst>
          </p:cNvPr>
          <p:cNvSpPr/>
          <p:nvPr/>
        </p:nvSpPr>
        <p:spPr>
          <a:xfrm>
            <a:off x="3311938" y="3907634"/>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2" name="Freeform 371">
            <a:extLst>
              <a:ext uri="{FF2B5EF4-FFF2-40B4-BE49-F238E27FC236}">
                <a16:creationId xmlns:a16="http://schemas.microsoft.com/office/drawing/2014/main" id="{6CFEFD96-EC2B-FE06-7069-31DF3C09B1FE}"/>
              </a:ext>
            </a:extLst>
          </p:cNvPr>
          <p:cNvSpPr/>
          <p:nvPr/>
        </p:nvSpPr>
        <p:spPr>
          <a:xfrm>
            <a:off x="3311938" y="3968496"/>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3" name="Freeform 372">
            <a:extLst>
              <a:ext uri="{FF2B5EF4-FFF2-40B4-BE49-F238E27FC236}">
                <a16:creationId xmlns:a16="http://schemas.microsoft.com/office/drawing/2014/main" id="{A8971593-953B-1129-F468-7D2C1B499180}"/>
              </a:ext>
            </a:extLst>
          </p:cNvPr>
          <p:cNvSpPr/>
          <p:nvPr/>
        </p:nvSpPr>
        <p:spPr>
          <a:xfrm>
            <a:off x="3311938" y="4029359"/>
            <a:ext cx="514129" cy="0"/>
          </a:xfrm>
          <a:custGeom>
            <a:avLst/>
            <a:gdLst>
              <a:gd name="connsiteX0" fmla="*/ 0 w 514129"/>
              <a:gd name="connsiteY0" fmla="*/ 0 h 5672"/>
              <a:gd name="connsiteX1" fmla="*/ 514130 w 514129"/>
              <a:gd name="connsiteY1" fmla="*/ 0 h 5672"/>
            </a:gdLst>
            <a:ahLst/>
            <a:cxnLst>
              <a:cxn ang="0">
                <a:pos x="connsiteX0" y="connsiteY0"/>
              </a:cxn>
              <a:cxn ang="0">
                <a:pos x="connsiteX1" y="connsiteY1"/>
              </a:cxn>
            </a:cxnLst>
            <a:rect l="l" t="t" r="r" b="b"/>
            <a:pathLst>
              <a:path w="514129" h="5672">
                <a:moveTo>
                  <a:pt x="0" y="0"/>
                </a:moveTo>
                <a:lnTo>
                  <a:pt x="514130" y="0"/>
                </a:lnTo>
              </a:path>
            </a:pathLst>
          </a:custGeom>
          <a:ln w="12700" cap="flat">
            <a:solidFill>
              <a:srgbClr val="0046AD"/>
            </a:solidFill>
            <a:prstDash val="solid"/>
            <a:miter/>
          </a:ln>
        </p:spPr>
        <p:txBody>
          <a:bodyPr rtlCol="0" anchor="ctr"/>
          <a:lstStyle/>
          <a:p>
            <a:endParaRPr lang="sv-SE"/>
          </a:p>
        </p:txBody>
      </p:sp>
      <p:sp>
        <p:nvSpPr>
          <p:cNvPr id="377" name="Freeform 376">
            <a:extLst>
              <a:ext uri="{FF2B5EF4-FFF2-40B4-BE49-F238E27FC236}">
                <a16:creationId xmlns:a16="http://schemas.microsoft.com/office/drawing/2014/main" id="{6A71C034-BED2-D9F8-6472-250515943F57}"/>
              </a:ext>
            </a:extLst>
          </p:cNvPr>
          <p:cNvSpPr/>
          <p:nvPr/>
        </p:nvSpPr>
        <p:spPr>
          <a:xfrm>
            <a:off x="5410658" y="2557589"/>
            <a:ext cx="670796" cy="645611"/>
          </a:xfrm>
          <a:custGeom>
            <a:avLst/>
            <a:gdLst>
              <a:gd name="connsiteX0" fmla="*/ 670796 w 670796"/>
              <a:gd name="connsiteY0" fmla="*/ 645612 h 645611"/>
              <a:gd name="connsiteX1" fmla="*/ 670796 w 670796"/>
              <a:gd name="connsiteY1" fmla="*/ 109361 h 645611"/>
              <a:gd name="connsiteX2" fmla="*/ 561493 w 670796"/>
              <a:gd name="connsiteY2" fmla="*/ 0 h 645611"/>
              <a:gd name="connsiteX3" fmla="*/ 0 w 670796"/>
              <a:gd name="connsiteY3" fmla="*/ 0 h 645611"/>
            </a:gdLst>
            <a:ahLst/>
            <a:cxnLst>
              <a:cxn ang="0">
                <a:pos x="connsiteX0" y="connsiteY0"/>
              </a:cxn>
              <a:cxn ang="0">
                <a:pos x="connsiteX1" y="connsiteY1"/>
              </a:cxn>
              <a:cxn ang="0">
                <a:pos x="connsiteX2" y="connsiteY2"/>
              </a:cxn>
              <a:cxn ang="0">
                <a:pos x="connsiteX3" y="connsiteY3"/>
              </a:cxn>
            </a:cxnLst>
            <a:rect l="l" t="t" r="r" b="b"/>
            <a:pathLst>
              <a:path w="670796" h="645611">
                <a:moveTo>
                  <a:pt x="670796" y="645612"/>
                </a:moveTo>
                <a:lnTo>
                  <a:pt x="670796" y="109361"/>
                </a:lnTo>
                <a:lnTo>
                  <a:pt x="561493" y="0"/>
                </a:lnTo>
                <a:lnTo>
                  <a:pt x="0" y="0"/>
                </a:lnTo>
              </a:path>
            </a:pathLst>
          </a:custGeom>
          <a:noFill/>
          <a:ln w="9525" cap="flat">
            <a:solidFill>
              <a:srgbClr val="FFFFFF"/>
            </a:solidFill>
            <a:prstDash val="solid"/>
            <a:miter/>
          </a:ln>
        </p:spPr>
        <p:txBody>
          <a:bodyPr rtlCol="0" anchor="ctr"/>
          <a:lstStyle/>
          <a:p>
            <a:endParaRPr lang="sv-SE"/>
          </a:p>
        </p:txBody>
      </p:sp>
      <p:sp>
        <p:nvSpPr>
          <p:cNvPr id="386" name="Freeform 385">
            <a:extLst>
              <a:ext uri="{FF2B5EF4-FFF2-40B4-BE49-F238E27FC236}">
                <a16:creationId xmlns:a16="http://schemas.microsoft.com/office/drawing/2014/main" id="{A59504E7-E16C-0341-302E-227122D3CDF1}"/>
              </a:ext>
            </a:extLst>
          </p:cNvPr>
          <p:cNvSpPr/>
          <p:nvPr/>
        </p:nvSpPr>
        <p:spPr>
          <a:xfrm>
            <a:off x="5410658" y="2444145"/>
            <a:ext cx="784240" cy="759056"/>
          </a:xfrm>
          <a:custGeom>
            <a:avLst/>
            <a:gdLst>
              <a:gd name="connsiteX0" fmla="*/ 0 w 784240"/>
              <a:gd name="connsiteY0" fmla="*/ 0 h 759056"/>
              <a:gd name="connsiteX1" fmla="*/ 608459 w 784240"/>
              <a:gd name="connsiteY1" fmla="*/ 0 h 759056"/>
              <a:gd name="connsiteX2" fmla="*/ 784241 w 784240"/>
              <a:gd name="connsiteY2" fmla="*/ 175782 h 759056"/>
              <a:gd name="connsiteX3" fmla="*/ 784241 w 784240"/>
              <a:gd name="connsiteY3" fmla="*/ 759056 h 759056"/>
            </a:gdLst>
            <a:ahLst/>
            <a:cxnLst>
              <a:cxn ang="0">
                <a:pos x="connsiteX0" y="connsiteY0"/>
              </a:cxn>
              <a:cxn ang="0">
                <a:pos x="connsiteX1" y="connsiteY1"/>
              </a:cxn>
              <a:cxn ang="0">
                <a:pos x="connsiteX2" y="connsiteY2"/>
              </a:cxn>
              <a:cxn ang="0">
                <a:pos x="connsiteX3" y="connsiteY3"/>
              </a:cxn>
            </a:cxnLst>
            <a:rect l="l" t="t" r="r" b="b"/>
            <a:pathLst>
              <a:path w="784240" h="759056">
                <a:moveTo>
                  <a:pt x="0" y="0"/>
                </a:moveTo>
                <a:lnTo>
                  <a:pt x="608459" y="0"/>
                </a:lnTo>
                <a:lnTo>
                  <a:pt x="784241" y="175782"/>
                </a:lnTo>
                <a:lnTo>
                  <a:pt x="784241" y="759056"/>
                </a:lnTo>
              </a:path>
            </a:pathLst>
          </a:custGeom>
          <a:noFill/>
          <a:ln w="9525" cap="flat">
            <a:solidFill>
              <a:srgbClr val="FFFFFF"/>
            </a:solidFill>
            <a:prstDash val="solid"/>
            <a:miter/>
          </a:ln>
        </p:spPr>
        <p:txBody>
          <a:bodyPr rtlCol="0" anchor="ctr"/>
          <a:lstStyle/>
          <a:p>
            <a:endParaRPr lang="sv-SE"/>
          </a:p>
        </p:txBody>
      </p:sp>
      <p:sp>
        <p:nvSpPr>
          <p:cNvPr id="421" name="Freeform 420">
            <a:extLst>
              <a:ext uri="{FF2B5EF4-FFF2-40B4-BE49-F238E27FC236}">
                <a16:creationId xmlns:a16="http://schemas.microsoft.com/office/drawing/2014/main" id="{B8B4755C-C2C0-B07A-81E7-CFAEA3ABE760}"/>
              </a:ext>
            </a:extLst>
          </p:cNvPr>
          <p:cNvSpPr/>
          <p:nvPr/>
        </p:nvSpPr>
        <p:spPr>
          <a:xfrm>
            <a:off x="10415653"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2" name="Freeform 421">
            <a:extLst>
              <a:ext uri="{FF2B5EF4-FFF2-40B4-BE49-F238E27FC236}">
                <a16:creationId xmlns:a16="http://schemas.microsoft.com/office/drawing/2014/main" id="{05865D4A-208F-C5BA-451F-3D50B6478F82}"/>
              </a:ext>
            </a:extLst>
          </p:cNvPr>
          <p:cNvSpPr/>
          <p:nvPr/>
        </p:nvSpPr>
        <p:spPr>
          <a:xfrm>
            <a:off x="10665230" y="283830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3" name="Freeform 422">
            <a:extLst>
              <a:ext uri="{FF2B5EF4-FFF2-40B4-BE49-F238E27FC236}">
                <a16:creationId xmlns:a16="http://schemas.microsoft.com/office/drawing/2014/main" id="{A8ED18B8-30DD-09FF-E2D3-D8BA3DE04F89}"/>
              </a:ext>
            </a:extLst>
          </p:cNvPr>
          <p:cNvSpPr/>
          <p:nvPr/>
        </p:nvSpPr>
        <p:spPr>
          <a:xfrm>
            <a:off x="10415653"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24" name="Freeform 423">
            <a:extLst>
              <a:ext uri="{FF2B5EF4-FFF2-40B4-BE49-F238E27FC236}">
                <a16:creationId xmlns:a16="http://schemas.microsoft.com/office/drawing/2014/main" id="{DB44AC49-5024-9935-3534-C7A67C87AAEB}"/>
              </a:ext>
            </a:extLst>
          </p:cNvPr>
          <p:cNvSpPr/>
          <p:nvPr/>
        </p:nvSpPr>
        <p:spPr>
          <a:xfrm>
            <a:off x="10665230" y="2889357"/>
            <a:ext cx="175838" cy="5672"/>
          </a:xfrm>
          <a:custGeom>
            <a:avLst/>
            <a:gdLst>
              <a:gd name="connsiteX0" fmla="*/ 0 w 175838"/>
              <a:gd name="connsiteY0" fmla="*/ 0 h 5672"/>
              <a:gd name="connsiteX1" fmla="*/ 175839 w 175838"/>
              <a:gd name="connsiteY1" fmla="*/ 0 h 5672"/>
            </a:gdLst>
            <a:ahLst/>
            <a:cxnLst>
              <a:cxn ang="0">
                <a:pos x="connsiteX0" y="connsiteY0"/>
              </a:cxn>
              <a:cxn ang="0">
                <a:pos x="connsiteX1" y="connsiteY1"/>
              </a:cxn>
            </a:cxnLst>
            <a:rect l="l" t="t" r="r" b="b"/>
            <a:pathLst>
              <a:path w="175838" h="5672">
                <a:moveTo>
                  <a:pt x="0" y="0"/>
                </a:moveTo>
                <a:lnTo>
                  <a:pt x="175839" y="0"/>
                </a:lnTo>
              </a:path>
            </a:pathLst>
          </a:custGeom>
          <a:ln w="11341" cap="flat">
            <a:solidFill>
              <a:srgbClr val="0046AD"/>
            </a:solidFill>
            <a:prstDash val="solid"/>
            <a:miter/>
          </a:ln>
        </p:spPr>
        <p:txBody>
          <a:bodyPr rtlCol="0" anchor="ctr"/>
          <a:lstStyle/>
          <a:p>
            <a:endParaRPr lang="sv-SE"/>
          </a:p>
        </p:txBody>
      </p:sp>
      <p:sp>
        <p:nvSpPr>
          <p:cNvPr id="453" name="Freeform 452">
            <a:extLst>
              <a:ext uri="{FF2B5EF4-FFF2-40B4-BE49-F238E27FC236}">
                <a16:creationId xmlns:a16="http://schemas.microsoft.com/office/drawing/2014/main" id="{A232E138-F626-EB28-AE34-E95C15D5AE1D}"/>
              </a:ext>
            </a:extLst>
          </p:cNvPr>
          <p:cNvSpPr/>
          <p:nvPr/>
        </p:nvSpPr>
        <p:spPr>
          <a:xfrm>
            <a:off x="5396478" y="2486686"/>
            <a:ext cx="755879" cy="730695"/>
          </a:xfrm>
          <a:custGeom>
            <a:avLst/>
            <a:gdLst>
              <a:gd name="connsiteX0" fmla="*/ 738919 w 755879"/>
              <a:gd name="connsiteY0" fmla="*/ 702618 h 730695"/>
              <a:gd name="connsiteX1" fmla="*/ 751738 w 755879"/>
              <a:gd name="connsiteY1" fmla="*/ 706475 h 730695"/>
              <a:gd name="connsiteX2" fmla="*/ 753497 w 755879"/>
              <a:gd name="connsiteY2" fmla="*/ 708631 h 730695"/>
              <a:gd name="connsiteX3" fmla="*/ 754801 w 755879"/>
              <a:gd name="connsiteY3" fmla="*/ 711070 h 730695"/>
              <a:gd name="connsiteX4" fmla="*/ 755596 w 755879"/>
              <a:gd name="connsiteY4" fmla="*/ 713736 h 730695"/>
              <a:gd name="connsiteX5" fmla="*/ 755879 w 755879"/>
              <a:gd name="connsiteY5" fmla="*/ 716515 h 730695"/>
              <a:gd name="connsiteX6" fmla="*/ 751738 w 755879"/>
              <a:gd name="connsiteY6" fmla="*/ 726498 h 730695"/>
              <a:gd name="connsiteX7" fmla="*/ 741699 w 755879"/>
              <a:gd name="connsiteY7" fmla="*/ 730695 h 730695"/>
              <a:gd name="connsiteX8" fmla="*/ 731659 w 755879"/>
              <a:gd name="connsiteY8" fmla="*/ 726498 h 730695"/>
              <a:gd name="connsiteX9" fmla="*/ 727518 w 755879"/>
              <a:gd name="connsiteY9" fmla="*/ 716515 h 730695"/>
              <a:gd name="connsiteX10" fmla="*/ 727802 w 755879"/>
              <a:gd name="connsiteY10" fmla="*/ 713736 h 730695"/>
              <a:gd name="connsiteX11" fmla="*/ 728596 w 755879"/>
              <a:gd name="connsiteY11" fmla="*/ 711070 h 730695"/>
              <a:gd name="connsiteX12" fmla="*/ 729900 w 755879"/>
              <a:gd name="connsiteY12" fmla="*/ 708631 h 730695"/>
              <a:gd name="connsiteX13" fmla="*/ 731659 w 755879"/>
              <a:gd name="connsiteY13" fmla="*/ 706475 h 730695"/>
              <a:gd name="connsiteX14" fmla="*/ 733814 w 755879"/>
              <a:gd name="connsiteY14" fmla="*/ 704717 h 730695"/>
              <a:gd name="connsiteX15" fmla="*/ 736253 w 755879"/>
              <a:gd name="connsiteY15" fmla="*/ 703412 h 730695"/>
              <a:gd name="connsiteX16" fmla="*/ 738919 w 755879"/>
              <a:gd name="connsiteY16" fmla="*/ 702618 h 730695"/>
              <a:gd name="connsiteX17" fmla="*/ 741699 w 755879"/>
              <a:gd name="connsiteY17" fmla="*/ 633077 h 730695"/>
              <a:gd name="connsiteX18" fmla="*/ 755879 w 755879"/>
              <a:gd name="connsiteY18" fmla="*/ 647314 h 730695"/>
              <a:gd name="connsiteX19" fmla="*/ 741699 w 755879"/>
              <a:gd name="connsiteY19" fmla="*/ 661494 h 730695"/>
              <a:gd name="connsiteX20" fmla="*/ 727518 w 755879"/>
              <a:gd name="connsiteY20" fmla="*/ 647314 h 730695"/>
              <a:gd name="connsiteX21" fmla="*/ 741699 w 755879"/>
              <a:gd name="connsiteY21" fmla="*/ 633077 h 730695"/>
              <a:gd name="connsiteX22" fmla="*/ 741699 w 755879"/>
              <a:gd name="connsiteY22" fmla="*/ 563875 h 730695"/>
              <a:gd name="connsiteX23" fmla="*/ 755879 w 755879"/>
              <a:gd name="connsiteY23" fmla="*/ 578056 h 730695"/>
              <a:gd name="connsiteX24" fmla="*/ 741699 w 755879"/>
              <a:gd name="connsiteY24" fmla="*/ 592237 h 730695"/>
              <a:gd name="connsiteX25" fmla="*/ 727518 w 755879"/>
              <a:gd name="connsiteY25" fmla="*/ 578056 h 730695"/>
              <a:gd name="connsiteX26" fmla="*/ 741699 w 755879"/>
              <a:gd name="connsiteY26" fmla="*/ 563875 h 730695"/>
              <a:gd name="connsiteX27" fmla="*/ 741699 w 755879"/>
              <a:gd name="connsiteY27" fmla="*/ 494675 h 730695"/>
              <a:gd name="connsiteX28" fmla="*/ 755879 w 755879"/>
              <a:gd name="connsiteY28" fmla="*/ 508855 h 730695"/>
              <a:gd name="connsiteX29" fmla="*/ 741699 w 755879"/>
              <a:gd name="connsiteY29" fmla="*/ 523036 h 730695"/>
              <a:gd name="connsiteX30" fmla="*/ 727518 w 755879"/>
              <a:gd name="connsiteY30" fmla="*/ 508855 h 730695"/>
              <a:gd name="connsiteX31" fmla="*/ 741699 w 755879"/>
              <a:gd name="connsiteY31" fmla="*/ 494675 h 730695"/>
              <a:gd name="connsiteX32" fmla="*/ 741699 w 755879"/>
              <a:gd name="connsiteY32" fmla="*/ 425473 h 730695"/>
              <a:gd name="connsiteX33" fmla="*/ 755879 w 755879"/>
              <a:gd name="connsiteY33" fmla="*/ 439654 h 730695"/>
              <a:gd name="connsiteX34" fmla="*/ 741699 w 755879"/>
              <a:gd name="connsiteY34" fmla="*/ 453835 h 730695"/>
              <a:gd name="connsiteX35" fmla="*/ 727518 w 755879"/>
              <a:gd name="connsiteY35" fmla="*/ 439654 h 730695"/>
              <a:gd name="connsiteX36" fmla="*/ 741699 w 755879"/>
              <a:gd name="connsiteY36" fmla="*/ 425473 h 730695"/>
              <a:gd name="connsiteX37" fmla="*/ 741699 w 755879"/>
              <a:gd name="connsiteY37" fmla="*/ 356272 h 730695"/>
              <a:gd name="connsiteX38" fmla="*/ 755879 w 755879"/>
              <a:gd name="connsiteY38" fmla="*/ 370453 h 730695"/>
              <a:gd name="connsiteX39" fmla="*/ 741699 w 755879"/>
              <a:gd name="connsiteY39" fmla="*/ 384634 h 730695"/>
              <a:gd name="connsiteX40" fmla="*/ 727518 w 755879"/>
              <a:gd name="connsiteY40" fmla="*/ 370453 h 730695"/>
              <a:gd name="connsiteX41" fmla="*/ 741699 w 755879"/>
              <a:gd name="connsiteY41" fmla="*/ 356272 h 730695"/>
              <a:gd name="connsiteX42" fmla="*/ 741699 w 755879"/>
              <a:gd name="connsiteY42" fmla="*/ 287071 h 730695"/>
              <a:gd name="connsiteX43" fmla="*/ 755879 w 755879"/>
              <a:gd name="connsiteY43" fmla="*/ 301252 h 730695"/>
              <a:gd name="connsiteX44" fmla="*/ 741699 w 755879"/>
              <a:gd name="connsiteY44" fmla="*/ 315376 h 730695"/>
              <a:gd name="connsiteX45" fmla="*/ 727518 w 755879"/>
              <a:gd name="connsiteY45" fmla="*/ 301252 h 730695"/>
              <a:gd name="connsiteX46" fmla="*/ 741699 w 755879"/>
              <a:gd name="connsiteY46" fmla="*/ 287071 h 730695"/>
              <a:gd name="connsiteX47" fmla="*/ 741699 w 755879"/>
              <a:gd name="connsiteY47" fmla="*/ 217814 h 730695"/>
              <a:gd name="connsiteX48" fmla="*/ 755879 w 755879"/>
              <a:gd name="connsiteY48" fmla="*/ 231994 h 730695"/>
              <a:gd name="connsiteX49" fmla="*/ 741699 w 755879"/>
              <a:gd name="connsiteY49" fmla="*/ 246175 h 730695"/>
              <a:gd name="connsiteX50" fmla="*/ 727518 w 755879"/>
              <a:gd name="connsiteY50" fmla="*/ 231994 h 730695"/>
              <a:gd name="connsiteX51" fmla="*/ 741699 w 755879"/>
              <a:gd name="connsiteY51" fmla="*/ 217814 h 730695"/>
              <a:gd name="connsiteX52" fmla="*/ 741699 w 755879"/>
              <a:gd name="connsiteY52" fmla="*/ 148612 h 730695"/>
              <a:gd name="connsiteX53" fmla="*/ 755879 w 755879"/>
              <a:gd name="connsiteY53" fmla="*/ 162793 h 730695"/>
              <a:gd name="connsiteX54" fmla="*/ 741699 w 755879"/>
              <a:gd name="connsiteY54" fmla="*/ 176974 h 730695"/>
              <a:gd name="connsiteX55" fmla="*/ 727518 w 755879"/>
              <a:gd name="connsiteY55" fmla="*/ 162793 h 730695"/>
              <a:gd name="connsiteX56" fmla="*/ 741699 w 755879"/>
              <a:gd name="connsiteY56" fmla="*/ 148612 h 730695"/>
              <a:gd name="connsiteX57" fmla="*/ 697030 w 755879"/>
              <a:gd name="connsiteY57" fmla="*/ 97917 h 730695"/>
              <a:gd name="connsiteX58" fmla="*/ 707042 w 755879"/>
              <a:gd name="connsiteY58" fmla="*/ 102044 h 730695"/>
              <a:gd name="connsiteX59" fmla="*/ 707042 w 755879"/>
              <a:gd name="connsiteY59" fmla="*/ 122123 h 730695"/>
              <a:gd name="connsiteX60" fmla="*/ 697059 w 755879"/>
              <a:gd name="connsiteY60" fmla="*/ 126264 h 730695"/>
              <a:gd name="connsiteX61" fmla="*/ 687019 w 755879"/>
              <a:gd name="connsiteY61" fmla="*/ 122123 h 730695"/>
              <a:gd name="connsiteX62" fmla="*/ 687019 w 755879"/>
              <a:gd name="connsiteY62" fmla="*/ 102044 h 730695"/>
              <a:gd name="connsiteX63" fmla="*/ 697030 w 755879"/>
              <a:gd name="connsiteY63" fmla="*/ 97917 h 730695"/>
              <a:gd name="connsiteX64" fmla="*/ 648107 w 755879"/>
              <a:gd name="connsiteY64" fmla="*/ 48980 h 730695"/>
              <a:gd name="connsiteX65" fmla="*/ 658147 w 755879"/>
              <a:gd name="connsiteY65" fmla="*/ 53149 h 730695"/>
              <a:gd name="connsiteX66" fmla="*/ 658147 w 755879"/>
              <a:gd name="connsiteY66" fmla="*/ 73172 h 730695"/>
              <a:gd name="connsiteX67" fmla="*/ 648107 w 755879"/>
              <a:gd name="connsiteY67" fmla="*/ 77313 h 730695"/>
              <a:gd name="connsiteX68" fmla="*/ 638067 w 755879"/>
              <a:gd name="connsiteY68" fmla="*/ 73172 h 730695"/>
              <a:gd name="connsiteX69" fmla="*/ 638067 w 755879"/>
              <a:gd name="connsiteY69" fmla="*/ 53149 h 730695"/>
              <a:gd name="connsiteX70" fmla="*/ 648107 w 755879"/>
              <a:gd name="connsiteY70" fmla="*/ 48980 h 730695"/>
              <a:gd name="connsiteX71" fmla="*/ 16960 w 755879"/>
              <a:gd name="connsiteY71" fmla="*/ 341 h 730695"/>
              <a:gd name="connsiteX72" fmla="*/ 19626 w 755879"/>
              <a:gd name="connsiteY72" fmla="*/ 1135 h 730695"/>
              <a:gd name="connsiteX73" fmla="*/ 22065 w 755879"/>
              <a:gd name="connsiteY73" fmla="*/ 2440 h 730695"/>
              <a:gd name="connsiteX74" fmla="*/ 24220 w 755879"/>
              <a:gd name="connsiteY74" fmla="*/ 4198 h 730695"/>
              <a:gd name="connsiteX75" fmla="*/ 28361 w 755879"/>
              <a:gd name="connsiteY75" fmla="*/ 14181 h 730695"/>
              <a:gd name="connsiteX76" fmla="*/ 28078 w 755879"/>
              <a:gd name="connsiteY76" fmla="*/ 16961 h 730695"/>
              <a:gd name="connsiteX77" fmla="*/ 27283 w 755879"/>
              <a:gd name="connsiteY77" fmla="*/ 19627 h 730695"/>
              <a:gd name="connsiteX78" fmla="*/ 25979 w 755879"/>
              <a:gd name="connsiteY78" fmla="*/ 22066 h 730695"/>
              <a:gd name="connsiteX79" fmla="*/ 24220 w 755879"/>
              <a:gd name="connsiteY79" fmla="*/ 24221 h 730695"/>
              <a:gd name="connsiteX80" fmla="*/ 22065 w 755879"/>
              <a:gd name="connsiteY80" fmla="*/ 25979 h 730695"/>
              <a:gd name="connsiteX81" fmla="*/ 19626 w 755879"/>
              <a:gd name="connsiteY81" fmla="*/ 27284 h 730695"/>
              <a:gd name="connsiteX82" fmla="*/ 16960 w 755879"/>
              <a:gd name="connsiteY82" fmla="*/ 28135 h 730695"/>
              <a:gd name="connsiteX83" fmla="*/ 14181 w 755879"/>
              <a:gd name="connsiteY83" fmla="*/ 28418 h 730695"/>
              <a:gd name="connsiteX84" fmla="*/ 4141 w 755879"/>
              <a:gd name="connsiteY84" fmla="*/ 24221 h 730695"/>
              <a:gd name="connsiteX85" fmla="*/ 2382 w 755879"/>
              <a:gd name="connsiteY85" fmla="*/ 22066 h 730695"/>
              <a:gd name="connsiteX86" fmla="*/ 1078 w 755879"/>
              <a:gd name="connsiteY86" fmla="*/ 19627 h 730695"/>
              <a:gd name="connsiteX87" fmla="*/ 284 w 755879"/>
              <a:gd name="connsiteY87" fmla="*/ 16961 h 730695"/>
              <a:gd name="connsiteX88" fmla="*/ 0 w 755879"/>
              <a:gd name="connsiteY88" fmla="*/ 14181 h 730695"/>
              <a:gd name="connsiteX89" fmla="*/ 4141 w 755879"/>
              <a:gd name="connsiteY89" fmla="*/ 4198 h 730695"/>
              <a:gd name="connsiteX90" fmla="*/ 16960 w 755879"/>
              <a:gd name="connsiteY90" fmla="*/ 341 h 730695"/>
              <a:gd name="connsiteX91" fmla="*/ 601936 w 755879"/>
              <a:gd name="connsiteY91" fmla="*/ 284 h 730695"/>
              <a:gd name="connsiteX92" fmla="*/ 604602 w 755879"/>
              <a:gd name="connsiteY92" fmla="*/ 1135 h 730695"/>
              <a:gd name="connsiteX93" fmla="*/ 607041 w 755879"/>
              <a:gd name="connsiteY93" fmla="*/ 2439 h 730695"/>
              <a:gd name="connsiteX94" fmla="*/ 609196 w 755879"/>
              <a:gd name="connsiteY94" fmla="*/ 4198 h 730695"/>
              <a:gd name="connsiteX95" fmla="*/ 610955 w 755879"/>
              <a:gd name="connsiteY95" fmla="*/ 6353 h 730695"/>
              <a:gd name="connsiteX96" fmla="*/ 612259 w 755879"/>
              <a:gd name="connsiteY96" fmla="*/ 8792 h 730695"/>
              <a:gd name="connsiteX97" fmla="*/ 613054 w 755879"/>
              <a:gd name="connsiteY97" fmla="*/ 11458 h 730695"/>
              <a:gd name="connsiteX98" fmla="*/ 613337 w 755879"/>
              <a:gd name="connsiteY98" fmla="*/ 14237 h 730695"/>
              <a:gd name="connsiteX99" fmla="*/ 609196 w 755879"/>
              <a:gd name="connsiteY99" fmla="*/ 24221 h 730695"/>
              <a:gd name="connsiteX100" fmla="*/ 607041 w 755879"/>
              <a:gd name="connsiteY100" fmla="*/ 25979 h 730695"/>
              <a:gd name="connsiteX101" fmla="*/ 604602 w 755879"/>
              <a:gd name="connsiteY101" fmla="*/ 27284 h 730695"/>
              <a:gd name="connsiteX102" fmla="*/ 601936 w 755879"/>
              <a:gd name="connsiteY102" fmla="*/ 28134 h 730695"/>
              <a:gd name="connsiteX103" fmla="*/ 599157 w 755879"/>
              <a:gd name="connsiteY103" fmla="*/ 28418 h 730695"/>
              <a:gd name="connsiteX104" fmla="*/ 589117 w 755879"/>
              <a:gd name="connsiteY104" fmla="*/ 24221 h 730695"/>
              <a:gd name="connsiteX105" fmla="*/ 587358 w 755879"/>
              <a:gd name="connsiteY105" fmla="*/ 22065 h 730695"/>
              <a:gd name="connsiteX106" fmla="*/ 586054 w 755879"/>
              <a:gd name="connsiteY106" fmla="*/ 19626 h 730695"/>
              <a:gd name="connsiteX107" fmla="*/ 585260 w 755879"/>
              <a:gd name="connsiteY107" fmla="*/ 16960 h 730695"/>
              <a:gd name="connsiteX108" fmla="*/ 584976 w 755879"/>
              <a:gd name="connsiteY108" fmla="*/ 14237 h 730695"/>
              <a:gd name="connsiteX109" fmla="*/ 585260 w 755879"/>
              <a:gd name="connsiteY109" fmla="*/ 11458 h 730695"/>
              <a:gd name="connsiteX110" fmla="*/ 586054 w 755879"/>
              <a:gd name="connsiteY110" fmla="*/ 8792 h 730695"/>
              <a:gd name="connsiteX111" fmla="*/ 587358 w 755879"/>
              <a:gd name="connsiteY111" fmla="*/ 6353 h 730695"/>
              <a:gd name="connsiteX112" fmla="*/ 589117 w 755879"/>
              <a:gd name="connsiteY112" fmla="*/ 4198 h 730695"/>
              <a:gd name="connsiteX113" fmla="*/ 601936 w 755879"/>
              <a:gd name="connsiteY113" fmla="*/ 284 h 730695"/>
              <a:gd name="connsiteX114" fmla="*/ 534152 w 755879"/>
              <a:gd name="connsiteY114" fmla="*/ 0 h 730695"/>
              <a:gd name="connsiteX115" fmla="*/ 548332 w 755879"/>
              <a:gd name="connsiteY115" fmla="*/ 14237 h 730695"/>
              <a:gd name="connsiteX116" fmla="*/ 534152 w 755879"/>
              <a:gd name="connsiteY116" fmla="*/ 28418 h 730695"/>
              <a:gd name="connsiteX117" fmla="*/ 519971 w 755879"/>
              <a:gd name="connsiteY117" fmla="*/ 14237 h 730695"/>
              <a:gd name="connsiteX118" fmla="*/ 534152 w 755879"/>
              <a:gd name="connsiteY118" fmla="*/ 0 h 730695"/>
              <a:gd name="connsiteX119" fmla="*/ 469148 w 755879"/>
              <a:gd name="connsiteY119" fmla="*/ 0 h 730695"/>
              <a:gd name="connsiteX120" fmla="*/ 483329 w 755879"/>
              <a:gd name="connsiteY120" fmla="*/ 14237 h 730695"/>
              <a:gd name="connsiteX121" fmla="*/ 469148 w 755879"/>
              <a:gd name="connsiteY121" fmla="*/ 28418 h 730695"/>
              <a:gd name="connsiteX122" fmla="*/ 454968 w 755879"/>
              <a:gd name="connsiteY122" fmla="*/ 14237 h 730695"/>
              <a:gd name="connsiteX123" fmla="*/ 469148 w 755879"/>
              <a:gd name="connsiteY123" fmla="*/ 0 h 730695"/>
              <a:gd name="connsiteX124" fmla="*/ 404145 w 755879"/>
              <a:gd name="connsiteY124" fmla="*/ 0 h 730695"/>
              <a:gd name="connsiteX125" fmla="*/ 418382 w 755879"/>
              <a:gd name="connsiteY125" fmla="*/ 14237 h 730695"/>
              <a:gd name="connsiteX126" fmla="*/ 404145 w 755879"/>
              <a:gd name="connsiteY126" fmla="*/ 28418 h 730695"/>
              <a:gd name="connsiteX127" fmla="*/ 390021 w 755879"/>
              <a:gd name="connsiteY127" fmla="*/ 14237 h 730695"/>
              <a:gd name="connsiteX128" fmla="*/ 404145 w 755879"/>
              <a:gd name="connsiteY128" fmla="*/ 0 h 730695"/>
              <a:gd name="connsiteX129" fmla="*/ 339198 w 755879"/>
              <a:gd name="connsiteY129" fmla="*/ 0 h 730695"/>
              <a:gd name="connsiteX130" fmla="*/ 353378 w 755879"/>
              <a:gd name="connsiteY130" fmla="*/ 14237 h 730695"/>
              <a:gd name="connsiteX131" fmla="*/ 339198 w 755879"/>
              <a:gd name="connsiteY131" fmla="*/ 28418 h 730695"/>
              <a:gd name="connsiteX132" fmla="*/ 325017 w 755879"/>
              <a:gd name="connsiteY132" fmla="*/ 14237 h 730695"/>
              <a:gd name="connsiteX133" fmla="*/ 339198 w 755879"/>
              <a:gd name="connsiteY133" fmla="*/ 0 h 730695"/>
              <a:gd name="connsiteX134" fmla="*/ 274194 w 755879"/>
              <a:gd name="connsiteY134" fmla="*/ 0 h 730695"/>
              <a:gd name="connsiteX135" fmla="*/ 288375 w 755879"/>
              <a:gd name="connsiteY135" fmla="*/ 14237 h 730695"/>
              <a:gd name="connsiteX136" fmla="*/ 274194 w 755879"/>
              <a:gd name="connsiteY136" fmla="*/ 28418 h 730695"/>
              <a:gd name="connsiteX137" fmla="*/ 260014 w 755879"/>
              <a:gd name="connsiteY137" fmla="*/ 14237 h 730695"/>
              <a:gd name="connsiteX138" fmla="*/ 274194 w 755879"/>
              <a:gd name="connsiteY138" fmla="*/ 0 h 730695"/>
              <a:gd name="connsiteX139" fmla="*/ 209191 w 755879"/>
              <a:gd name="connsiteY139" fmla="*/ 0 h 730695"/>
              <a:gd name="connsiteX140" fmla="*/ 223371 w 755879"/>
              <a:gd name="connsiteY140" fmla="*/ 14237 h 730695"/>
              <a:gd name="connsiteX141" fmla="*/ 209191 w 755879"/>
              <a:gd name="connsiteY141" fmla="*/ 28418 h 730695"/>
              <a:gd name="connsiteX142" fmla="*/ 195010 w 755879"/>
              <a:gd name="connsiteY142" fmla="*/ 14237 h 730695"/>
              <a:gd name="connsiteX143" fmla="*/ 209191 w 755879"/>
              <a:gd name="connsiteY143" fmla="*/ 0 h 730695"/>
              <a:gd name="connsiteX144" fmla="*/ 144187 w 755879"/>
              <a:gd name="connsiteY144" fmla="*/ 0 h 730695"/>
              <a:gd name="connsiteX145" fmla="*/ 158367 w 755879"/>
              <a:gd name="connsiteY145" fmla="*/ 14237 h 730695"/>
              <a:gd name="connsiteX146" fmla="*/ 144187 w 755879"/>
              <a:gd name="connsiteY146" fmla="*/ 28418 h 730695"/>
              <a:gd name="connsiteX147" fmla="*/ 130006 w 755879"/>
              <a:gd name="connsiteY147" fmla="*/ 14237 h 730695"/>
              <a:gd name="connsiteX148" fmla="*/ 144187 w 755879"/>
              <a:gd name="connsiteY148" fmla="*/ 0 h 730695"/>
              <a:gd name="connsiteX149" fmla="*/ 79184 w 755879"/>
              <a:gd name="connsiteY149" fmla="*/ 0 h 730695"/>
              <a:gd name="connsiteX150" fmla="*/ 93364 w 755879"/>
              <a:gd name="connsiteY150" fmla="*/ 14237 h 730695"/>
              <a:gd name="connsiteX151" fmla="*/ 79184 w 755879"/>
              <a:gd name="connsiteY151" fmla="*/ 28418 h 730695"/>
              <a:gd name="connsiteX152" fmla="*/ 65003 w 755879"/>
              <a:gd name="connsiteY152" fmla="*/ 14237 h 730695"/>
              <a:gd name="connsiteX153" fmla="*/ 79184 w 755879"/>
              <a:gd name="connsiteY153" fmla="*/ 0 h 73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755879" h="730695">
                <a:moveTo>
                  <a:pt x="738919" y="702618"/>
                </a:moveTo>
                <a:cubicBezTo>
                  <a:pt x="743514" y="701654"/>
                  <a:pt x="748448" y="703185"/>
                  <a:pt x="751738" y="706475"/>
                </a:cubicBezTo>
                <a:cubicBezTo>
                  <a:pt x="752362" y="707099"/>
                  <a:pt x="752986" y="707836"/>
                  <a:pt x="753497" y="708631"/>
                </a:cubicBezTo>
                <a:cubicBezTo>
                  <a:pt x="754007" y="709368"/>
                  <a:pt x="754461" y="710219"/>
                  <a:pt x="754801" y="711070"/>
                </a:cubicBezTo>
                <a:cubicBezTo>
                  <a:pt x="755142" y="711920"/>
                  <a:pt x="755425" y="712828"/>
                  <a:pt x="755596" y="713736"/>
                </a:cubicBezTo>
                <a:cubicBezTo>
                  <a:pt x="755766" y="714643"/>
                  <a:pt x="755879" y="715551"/>
                  <a:pt x="755879" y="716515"/>
                </a:cubicBezTo>
                <a:cubicBezTo>
                  <a:pt x="755879" y="720259"/>
                  <a:pt x="754347" y="723889"/>
                  <a:pt x="751738" y="726498"/>
                </a:cubicBezTo>
                <a:cubicBezTo>
                  <a:pt x="749129" y="729107"/>
                  <a:pt x="745442" y="730695"/>
                  <a:pt x="741699" y="730695"/>
                </a:cubicBezTo>
                <a:cubicBezTo>
                  <a:pt x="737955" y="730695"/>
                  <a:pt x="734325" y="729164"/>
                  <a:pt x="731659" y="726498"/>
                </a:cubicBezTo>
                <a:cubicBezTo>
                  <a:pt x="729049" y="723889"/>
                  <a:pt x="727518" y="720259"/>
                  <a:pt x="727518" y="716515"/>
                </a:cubicBezTo>
                <a:cubicBezTo>
                  <a:pt x="727518" y="715551"/>
                  <a:pt x="727631" y="714643"/>
                  <a:pt x="727802" y="713736"/>
                </a:cubicBezTo>
                <a:cubicBezTo>
                  <a:pt x="727972" y="712828"/>
                  <a:pt x="728255" y="711920"/>
                  <a:pt x="728596" y="711070"/>
                </a:cubicBezTo>
                <a:cubicBezTo>
                  <a:pt x="728936" y="710219"/>
                  <a:pt x="729390" y="709368"/>
                  <a:pt x="729900" y="708631"/>
                </a:cubicBezTo>
                <a:cubicBezTo>
                  <a:pt x="730411" y="707836"/>
                  <a:pt x="731035" y="707099"/>
                  <a:pt x="731659" y="706475"/>
                </a:cubicBezTo>
                <a:cubicBezTo>
                  <a:pt x="732339" y="705794"/>
                  <a:pt x="733077" y="705227"/>
                  <a:pt x="733814" y="704717"/>
                </a:cubicBezTo>
                <a:cubicBezTo>
                  <a:pt x="734608" y="704206"/>
                  <a:pt x="735402" y="703752"/>
                  <a:pt x="736253" y="703412"/>
                </a:cubicBezTo>
                <a:cubicBezTo>
                  <a:pt x="737104" y="703072"/>
                  <a:pt x="738011" y="702788"/>
                  <a:pt x="738919" y="702618"/>
                </a:cubicBezTo>
                <a:close/>
                <a:moveTo>
                  <a:pt x="741699" y="633077"/>
                </a:moveTo>
                <a:cubicBezTo>
                  <a:pt x="749527" y="633077"/>
                  <a:pt x="755879" y="639429"/>
                  <a:pt x="755879" y="647314"/>
                </a:cubicBezTo>
                <a:cubicBezTo>
                  <a:pt x="755879" y="655141"/>
                  <a:pt x="749527" y="661494"/>
                  <a:pt x="741699" y="661494"/>
                </a:cubicBezTo>
                <a:cubicBezTo>
                  <a:pt x="733871" y="661494"/>
                  <a:pt x="727518" y="655141"/>
                  <a:pt x="727518" y="647314"/>
                </a:cubicBezTo>
                <a:cubicBezTo>
                  <a:pt x="727518" y="639429"/>
                  <a:pt x="733871" y="633077"/>
                  <a:pt x="741699" y="633077"/>
                </a:cubicBezTo>
                <a:close/>
                <a:moveTo>
                  <a:pt x="741699" y="563875"/>
                </a:moveTo>
                <a:cubicBezTo>
                  <a:pt x="749527" y="563875"/>
                  <a:pt x="755879" y="570229"/>
                  <a:pt x="755879" y="578056"/>
                </a:cubicBezTo>
                <a:cubicBezTo>
                  <a:pt x="755879" y="585884"/>
                  <a:pt x="749527" y="592237"/>
                  <a:pt x="741699" y="592237"/>
                </a:cubicBezTo>
                <a:cubicBezTo>
                  <a:pt x="733871" y="592237"/>
                  <a:pt x="727518" y="585884"/>
                  <a:pt x="727518" y="578056"/>
                </a:cubicBezTo>
                <a:cubicBezTo>
                  <a:pt x="727518" y="570229"/>
                  <a:pt x="733871" y="563875"/>
                  <a:pt x="741699" y="563875"/>
                </a:cubicBezTo>
                <a:close/>
                <a:moveTo>
                  <a:pt x="741699" y="494675"/>
                </a:moveTo>
                <a:cubicBezTo>
                  <a:pt x="749527" y="494675"/>
                  <a:pt x="755879" y="501027"/>
                  <a:pt x="755879" y="508855"/>
                </a:cubicBezTo>
                <a:cubicBezTo>
                  <a:pt x="755879" y="516683"/>
                  <a:pt x="749527" y="523036"/>
                  <a:pt x="741699" y="523036"/>
                </a:cubicBezTo>
                <a:cubicBezTo>
                  <a:pt x="733871" y="523036"/>
                  <a:pt x="727518" y="516683"/>
                  <a:pt x="727518" y="508855"/>
                </a:cubicBezTo>
                <a:cubicBezTo>
                  <a:pt x="727518" y="501027"/>
                  <a:pt x="733871" y="494675"/>
                  <a:pt x="741699" y="494675"/>
                </a:cubicBezTo>
                <a:close/>
                <a:moveTo>
                  <a:pt x="741699" y="425473"/>
                </a:moveTo>
                <a:cubicBezTo>
                  <a:pt x="749527" y="425473"/>
                  <a:pt x="755879" y="431826"/>
                  <a:pt x="755879" y="439654"/>
                </a:cubicBezTo>
                <a:cubicBezTo>
                  <a:pt x="755879" y="447482"/>
                  <a:pt x="749527" y="453835"/>
                  <a:pt x="741699" y="453835"/>
                </a:cubicBezTo>
                <a:cubicBezTo>
                  <a:pt x="733871" y="453835"/>
                  <a:pt x="727518" y="447482"/>
                  <a:pt x="727518" y="439654"/>
                </a:cubicBezTo>
                <a:cubicBezTo>
                  <a:pt x="727518" y="431826"/>
                  <a:pt x="733871" y="425473"/>
                  <a:pt x="741699" y="425473"/>
                </a:cubicBezTo>
                <a:close/>
                <a:moveTo>
                  <a:pt x="741699" y="356272"/>
                </a:moveTo>
                <a:cubicBezTo>
                  <a:pt x="749527" y="356272"/>
                  <a:pt x="755879" y="362625"/>
                  <a:pt x="755879" y="370453"/>
                </a:cubicBezTo>
                <a:cubicBezTo>
                  <a:pt x="755879" y="378281"/>
                  <a:pt x="749527" y="384634"/>
                  <a:pt x="741699" y="384634"/>
                </a:cubicBezTo>
                <a:cubicBezTo>
                  <a:pt x="733871" y="384634"/>
                  <a:pt x="727518" y="378281"/>
                  <a:pt x="727518" y="370453"/>
                </a:cubicBezTo>
                <a:cubicBezTo>
                  <a:pt x="727518" y="362625"/>
                  <a:pt x="733871" y="356272"/>
                  <a:pt x="741699" y="356272"/>
                </a:cubicBezTo>
                <a:close/>
                <a:moveTo>
                  <a:pt x="741699" y="287071"/>
                </a:moveTo>
                <a:cubicBezTo>
                  <a:pt x="749527" y="287071"/>
                  <a:pt x="755879" y="293367"/>
                  <a:pt x="755879" y="301252"/>
                </a:cubicBezTo>
                <a:cubicBezTo>
                  <a:pt x="755879" y="309080"/>
                  <a:pt x="749527" y="315376"/>
                  <a:pt x="741699" y="315376"/>
                </a:cubicBezTo>
                <a:cubicBezTo>
                  <a:pt x="733871" y="315376"/>
                  <a:pt x="727518" y="309080"/>
                  <a:pt x="727518" y="301252"/>
                </a:cubicBezTo>
                <a:cubicBezTo>
                  <a:pt x="727518" y="293367"/>
                  <a:pt x="733871" y="287071"/>
                  <a:pt x="741699" y="287071"/>
                </a:cubicBezTo>
                <a:close/>
                <a:moveTo>
                  <a:pt x="741699" y="217814"/>
                </a:moveTo>
                <a:cubicBezTo>
                  <a:pt x="749527" y="217814"/>
                  <a:pt x="755879" y="224166"/>
                  <a:pt x="755879" y="231994"/>
                </a:cubicBezTo>
                <a:cubicBezTo>
                  <a:pt x="755879" y="239878"/>
                  <a:pt x="749527" y="246175"/>
                  <a:pt x="741699" y="246175"/>
                </a:cubicBezTo>
                <a:cubicBezTo>
                  <a:pt x="733871" y="246175"/>
                  <a:pt x="727518" y="239878"/>
                  <a:pt x="727518" y="231994"/>
                </a:cubicBezTo>
                <a:cubicBezTo>
                  <a:pt x="727518" y="224166"/>
                  <a:pt x="733871" y="217814"/>
                  <a:pt x="741699" y="217814"/>
                </a:cubicBezTo>
                <a:close/>
                <a:moveTo>
                  <a:pt x="741699" y="148612"/>
                </a:moveTo>
                <a:cubicBezTo>
                  <a:pt x="749527" y="148612"/>
                  <a:pt x="755879" y="154965"/>
                  <a:pt x="755879" y="162793"/>
                </a:cubicBezTo>
                <a:cubicBezTo>
                  <a:pt x="755879" y="170621"/>
                  <a:pt x="749527" y="176974"/>
                  <a:pt x="741699" y="176974"/>
                </a:cubicBezTo>
                <a:cubicBezTo>
                  <a:pt x="733871" y="176974"/>
                  <a:pt x="727518" y="170621"/>
                  <a:pt x="727518" y="162793"/>
                </a:cubicBezTo>
                <a:cubicBezTo>
                  <a:pt x="727518" y="154965"/>
                  <a:pt x="733871" y="148612"/>
                  <a:pt x="741699" y="148612"/>
                </a:cubicBezTo>
                <a:close/>
                <a:moveTo>
                  <a:pt x="697030" y="97917"/>
                </a:moveTo>
                <a:cubicBezTo>
                  <a:pt x="700661" y="97917"/>
                  <a:pt x="704291" y="99293"/>
                  <a:pt x="707042" y="102044"/>
                </a:cubicBezTo>
                <a:cubicBezTo>
                  <a:pt x="712600" y="107602"/>
                  <a:pt x="712600" y="116564"/>
                  <a:pt x="707042" y="122123"/>
                </a:cubicBezTo>
                <a:cubicBezTo>
                  <a:pt x="704319" y="124903"/>
                  <a:pt x="700689" y="126264"/>
                  <a:pt x="697059" y="126264"/>
                </a:cubicBezTo>
                <a:cubicBezTo>
                  <a:pt x="693428" y="126264"/>
                  <a:pt x="689798" y="124903"/>
                  <a:pt x="687019" y="122123"/>
                </a:cubicBezTo>
                <a:cubicBezTo>
                  <a:pt x="681460" y="116564"/>
                  <a:pt x="681460" y="107602"/>
                  <a:pt x="687019" y="102044"/>
                </a:cubicBezTo>
                <a:cubicBezTo>
                  <a:pt x="689770" y="99293"/>
                  <a:pt x="693400" y="97917"/>
                  <a:pt x="697030" y="97917"/>
                </a:cubicBezTo>
                <a:close/>
                <a:moveTo>
                  <a:pt x="648107" y="48980"/>
                </a:moveTo>
                <a:cubicBezTo>
                  <a:pt x="651737" y="48980"/>
                  <a:pt x="655367" y="50369"/>
                  <a:pt x="658147" y="53149"/>
                </a:cubicBezTo>
                <a:cubicBezTo>
                  <a:pt x="663649" y="58651"/>
                  <a:pt x="663649" y="67670"/>
                  <a:pt x="658147" y="73172"/>
                </a:cubicBezTo>
                <a:cubicBezTo>
                  <a:pt x="655368" y="75951"/>
                  <a:pt x="651738" y="77313"/>
                  <a:pt x="648107" y="77313"/>
                </a:cubicBezTo>
                <a:cubicBezTo>
                  <a:pt x="644477" y="77313"/>
                  <a:pt x="640847" y="75951"/>
                  <a:pt x="638067" y="73172"/>
                </a:cubicBezTo>
                <a:cubicBezTo>
                  <a:pt x="632566" y="67670"/>
                  <a:pt x="632566" y="58651"/>
                  <a:pt x="638067" y="53149"/>
                </a:cubicBezTo>
                <a:cubicBezTo>
                  <a:pt x="640846" y="50369"/>
                  <a:pt x="644476" y="48980"/>
                  <a:pt x="648107" y="48980"/>
                </a:cubicBezTo>
                <a:close/>
                <a:moveTo>
                  <a:pt x="16960" y="341"/>
                </a:moveTo>
                <a:cubicBezTo>
                  <a:pt x="17868" y="511"/>
                  <a:pt x="18775" y="795"/>
                  <a:pt x="19626" y="1135"/>
                </a:cubicBezTo>
                <a:cubicBezTo>
                  <a:pt x="20477" y="1475"/>
                  <a:pt x="21271" y="1929"/>
                  <a:pt x="22065" y="2440"/>
                </a:cubicBezTo>
                <a:cubicBezTo>
                  <a:pt x="22859" y="2950"/>
                  <a:pt x="23540" y="3517"/>
                  <a:pt x="24220" y="4198"/>
                </a:cubicBezTo>
                <a:cubicBezTo>
                  <a:pt x="26829" y="6807"/>
                  <a:pt x="28361" y="10494"/>
                  <a:pt x="28361" y="14181"/>
                </a:cubicBezTo>
                <a:cubicBezTo>
                  <a:pt x="28361" y="15145"/>
                  <a:pt x="28248" y="16053"/>
                  <a:pt x="28078" y="16961"/>
                </a:cubicBezTo>
                <a:cubicBezTo>
                  <a:pt x="27907" y="17868"/>
                  <a:pt x="27624" y="18776"/>
                  <a:pt x="27283" y="19627"/>
                </a:cubicBezTo>
                <a:cubicBezTo>
                  <a:pt x="26943" y="20477"/>
                  <a:pt x="26489" y="21328"/>
                  <a:pt x="25979" y="22066"/>
                </a:cubicBezTo>
                <a:cubicBezTo>
                  <a:pt x="25468" y="22860"/>
                  <a:pt x="24901" y="23597"/>
                  <a:pt x="24220" y="24221"/>
                </a:cubicBezTo>
                <a:cubicBezTo>
                  <a:pt x="23540" y="24902"/>
                  <a:pt x="22859" y="25469"/>
                  <a:pt x="22065" y="25979"/>
                </a:cubicBezTo>
                <a:cubicBezTo>
                  <a:pt x="21271" y="26490"/>
                  <a:pt x="20477" y="26944"/>
                  <a:pt x="19626" y="27284"/>
                </a:cubicBezTo>
                <a:cubicBezTo>
                  <a:pt x="18775" y="27681"/>
                  <a:pt x="17868" y="27908"/>
                  <a:pt x="16960" y="28135"/>
                </a:cubicBezTo>
                <a:cubicBezTo>
                  <a:pt x="16052" y="28305"/>
                  <a:pt x="15088" y="28418"/>
                  <a:pt x="14181" y="28418"/>
                </a:cubicBezTo>
                <a:cubicBezTo>
                  <a:pt x="10437" y="28418"/>
                  <a:pt x="6807" y="26887"/>
                  <a:pt x="4141" y="24221"/>
                </a:cubicBezTo>
                <a:cubicBezTo>
                  <a:pt x="3517" y="23597"/>
                  <a:pt x="2893" y="22860"/>
                  <a:pt x="2382" y="22066"/>
                </a:cubicBezTo>
                <a:cubicBezTo>
                  <a:pt x="1872" y="21328"/>
                  <a:pt x="1475" y="20477"/>
                  <a:pt x="1078" y="19627"/>
                </a:cubicBezTo>
                <a:cubicBezTo>
                  <a:pt x="737" y="18776"/>
                  <a:pt x="454" y="17868"/>
                  <a:pt x="284" y="16961"/>
                </a:cubicBezTo>
                <a:cubicBezTo>
                  <a:pt x="114" y="16053"/>
                  <a:pt x="0" y="15145"/>
                  <a:pt x="0" y="14181"/>
                </a:cubicBezTo>
                <a:cubicBezTo>
                  <a:pt x="0" y="10494"/>
                  <a:pt x="1532" y="6807"/>
                  <a:pt x="4141" y="4198"/>
                </a:cubicBezTo>
                <a:cubicBezTo>
                  <a:pt x="7431" y="908"/>
                  <a:pt x="12365" y="-623"/>
                  <a:pt x="16960" y="341"/>
                </a:cubicBezTo>
                <a:close/>
                <a:moveTo>
                  <a:pt x="601936" y="284"/>
                </a:moveTo>
                <a:cubicBezTo>
                  <a:pt x="602843" y="511"/>
                  <a:pt x="603751" y="738"/>
                  <a:pt x="604602" y="1135"/>
                </a:cubicBezTo>
                <a:cubicBezTo>
                  <a:pt x="605453" y="1475"/>
                  <a:pt x="606247" y="1929"/>
                  <a:pt x="607041" y="2439"/>
                </a:cubicBezTo>
                <a:cubicBezTo>
                  <a:pt x="607835" y="2950"/>
                  <a:pt x="608515" y="3517"/>
                  <a:pt x="609196" y="4198"/>
                </a:cubicBezTo>
                <a:cubicBezTo>
                  <a:pt x="609820" y="4822"/>
                  <a:pt x="610444" y="5559"/>
                  <a:pt x="610955" y="6353"/>
                </a:cubicBezTo>
                <a:cubicBezTo>
                  <a:pt x="611465" y="7090"/>
                  <a:pt x="611919" y="7941"/>
                  <a:pt x="612259" y="8792"/>
                </a:cubicBezTo>
                <a:cubicBezTo>
                  <a:pt x="612600" y="9643"/>
                  <a:pt x="612883" y="10551"/>
                  <a:pt x="613054" y="11458"/>
                </a:cubicBezTo>
                <a:cubicBezTo>
                  <a:pt x="613280" y="12366"/>
                  <a:pt x="613337" y="13273"/>
                  <a:pt x="613337" y="14237"/>
                </a:cubicBezTo>
                <a:cubicBezTo>
                  <a:pt x="613337" y="17924"/>
                  <a:pt x="611805" y="21611"/>
                  <a:pt x="609196" y="24221"/>
                </a:cubicBezTo>
                <a:cubicBezTo>
                  <a:pt x="608515" y="24901"/>
                  <a:pt x="607835" y="25469"/>
                  <a:pt x="607041" y="25979"/>
                </a:cubicBezTo>
                <a:cubicBezTo>
                  <a:pt x="606247" y="26489"/>
                  <a:pt x="605453" y="26943"/>
                  <a:pt x="604602" y="27284"/>
                </a:cubicBezTo>
                <a:cubicBezTo>
                  <a:pt x="603751" y="27681"/>
                  <a:pt x="602843" y="27908"/>
                  <a:pt x="601936" y="28134"/>
                </a:cubicBezTo>
                <a:cubicBezTo>
                  <a:pt x="601028" y="28305"/>
                  <a:pt x="600064" y="28418"/>
                  <a:pt x="599157" y="28418"/>
                </a:cubicBezTo>
                <a:cubicBezTo>
                  <a:pt x="595413" y="28418"/>
                  <a:pt x="591783" y="26887"/>
                  <a:pt x="589117" y="24221"/>
                </a:cubicBezTo>
                <a:cubicBezTo>
                  <a:pt x="588493" y="23597"/>
                  <a:pt x="587869" y="22859"/>
                  <a:pt x="587358" y="22065"/>
                </a:cubicBezTo>
                <a:cubicBezTo>
                  <a:pt x="586848" y="21328"/>
                  <a:pt x="586394" y="20477"/>
                  <a:pt x="586054" y="19626"/>
                </a:cubicBezTo>
                <a:cubicBezTo>
                  <a:pt x="585713" y="18775"/>
                  <a:pt x="585430" y="17868"/>
                  <a:pt x="585260" y="16960"/>
                </a:cubicBezTo>
                <a:cubicBezTo>
                  <a:pt x="585090" y="16053"/>
                  <a:pt x="584976" y="15145"/>
                  <a:pt x="584976" y="14237"/>
                </a:cubicBezTo>
                <a:cubicBezTo>
                  <a:pt x="584976" y="13273"/>
                  <a:pt x="585090" y="12366"/>
                  <a:pt x="585260" y="11458"/>
                </a:cubicBezTo>
                <a:cubicBezTo>
                  <a:pt x="585430" y="10551"/>
                  <a:pt x="585713" y="9643"/>
                  <a:pt x="586054" y="8792"/>
                </a:cubicBezTo>
                <a:cubicBezTo>
                  <a:pt x="586394" y="7941"/>
                  <a:pt x="586848" y="7090"/>
                  <a:pt x="587358" y="6353"/>
                </a:cubicBezTo>
                <a:cubicBezTo>
                  <a:pt x="587869" y="5559"/>
                  <a:pt x="588493" y="4822"/>
                  <a:pt x="589117" y="4198"/>
                </a:cubicBezTo>
                <a:cubicBezTo>
                  <a:pt x="592463" y="908"/>
                  <a:pt x="597341" y="-624"/>
                  <a:pt x="601936" y="284"/>
                </a:cubicBezTo>
                <a:close/>
                <a:moveTo>
                  <a:pt x="534152" y="0"/>
                </a:moveTo>
                <a:cubicBezTo>
                  <a:pt x="541980" y="0"/>
                  <a:pt x="548332" y="6353"/>
                  <a:pt x="548332" y="14237"/>
                </a:cubicBezTo>
                <a:cubicBezTo>
                  <a:pt x="548332" y="22065"/>
                  <a:pt x="541980" y="28418"/>
                  <a:pt x="534152" y="28418"/>
                </a:cubicBezTo>
                <a:cubicBezTo>
                  <a:pt x="526324" y="28418"/>
                  <a:pt x="519971" y="22065"/>
                  <a:pt x="519971" y="14237"/>
                </a:cubicBezTo>
                <a:cubicBezTo>
                  <a:pt x="519971" y="6353"/>
                  <a:pt x="526324" y="0"/>
                  <a:pt x="534152" y="0"/>
                </a:cubicBezTo>
                <a:close/>
                <a:moveTo>
                  <a:pt x="469148" y="0"/>
                </a:moveTo>
                <a:cubicBezTo>
                  <a:pt x="476976" y="0"/>
                  <a:pt x="483329" y="6353"/>
                  <a:pt x="483329" y="14237"/>
                </a:cubicBezTo>
                <a:cubicBezTo>
                  <a:pt x="483329" y="22065"/>
                  <a:pt x="476976" y="28418"/>
                  <a:pt x="469148" y="28418"/>
                </a:cubicBezTo>
                <a:cubicBezTo>
                  <a:pt x="461321" y="28418"/>
                  <a:pt x="454968" y="22065"/>
                  <a:pt x="454968" y="14237"/>
                </a:cubicBezTo>
                <a:cubicBezTo>
                  <a:pt x="454968" y="6353"/>
                  <a:pt x="461321" y="0"/>
                  <a:pt x="469148" y="0"/>
                </a:cubicBezTo>
                <a:close/>
                <a:moveTo>
                  <a:pt x="404145" y="0"/>
                </a:moveTo>
                <a:cubicBezTo>
                  <a:pt x="412029" y="0"/>
                  <a:pt x="418382" y="6353"/>
                  <a:pt x="418382" y="14237"/>
                </a:cubicBezTo>
                <a:cubicBezTo>
                  <a:pt x="418382" y="22065"/>
                  <a:pt x="412029" y="28418"/>
                  <a:pt x="404145" y="28418"/>
                </a:cubicBezTo>
                <a:cubicBezTo>
                  <a:pt x="396317" y="28418"/>
                  <a:pt x="390021" y="22065"/>
                  <a:pt x="390021" y="14237"/>
                </a:cubicBezTo>
                <a:cubicBezTo>
                  <a:pt x="390021" y="6353"/>
                  <a:pt x="396317" y="0"/>
                  <a:pt x="404145" y="0"/>
                </a:cubicBezTo>
                <a:close/>
                <a:moveTo>
                  <a:pt x="339198" y="0"/>
                </a:moveTo>
                <a:cubicBezTo>
                  <a:pt x="347025" y="0"/>
                  <a:pt x="353378" y="6353"/>
                  <a:pt x="353378" y="14237"/>
                </a:cubicBezTo>
                <a:cubicBezTo>
                  <a:pt x="353378" y="22065"/>
                  <a:pt x="347025" y="28418"/>
                  <a:pt x="339198" y="28418"/>
                </a:cubicBezTo>
                <a:cubicBezTo>
                  <a:pt x="331370" y="28418"/>
                  <a:pt x="325017" y="22065"/>
                  <a:pt x="325017" y="14237"/>
                </a:cubicBezTo>
                <a:cubicBezTo>
                  <a:pt x="325017" y="6353"/>
                  <a:pt x="331370" y="0"/>
                  <a:pt x="339198" y="0"/>
                </a:cubicBezTo>
                <a:close/>
                <a:moveTo>
                  <a:pt x="274194" y="0"/>
                </a:moveTo>
                <a:cubicBezTo>
                  <a:pt x="282022" y="0"/>
                  <a:pt x="288375" y="6353"/>
                  <a:pt x="288375" y="14237"/>
                </a:cubicBezTo>
                <a:cubicBezTo>
                  <a:pt x="288375" y="22065"/>
                  <a:pt x="282022" y="28418"/>
                  <a:pt x="274194" y="28418"/>
                </a:cubicBezTo>
                <a:cubicBezTo>
                  <a:pt x="266367" y="28418"/>
                  <a:pt x="260014" y="22065"/>
                  <a:pt x="260014" y="14237"/>
                </a:cubicBezTo>
                <a:cubicBezTo>
                  <a:pt x="260014" y="6353"/>
                  <a:pt x="266367" y="0"/>
                  <a:pt x="274194" y="0"/>
                </a:cubicBezTo>
                <a:close/>
                <a:moveTo>
                  <a:pt x="209191" y="0"/>
                </a:moveTo>
                <a:cubicBezTo>
                  <a:pt x="217018" y="0"/>
                  <a:pt x="223371" y="6353"/>
                  <a:pt x="223371" y="14237"/>
                </a:cubicBezTo>
                <a:cubicBezTo>
                  <a:pt x="223371" y="22065"/>
                  <a:pt x="217018" y="28418"/>
                  <a:pt x="209191" y="28418"/>
                </a:cubicBezTo>
                <a:cubicBezTo>
                  <a:pt x="201363" y="28418"/>
                  <a:pt x="195010" y="22065"/>
                  <a:pt x="195010" y="14237"/>
                </a:cubicBezTo>
                <a:cubicBezTo>
                  <a:pt x="195010" y="6353"/>
                  <a:pt x="201363" y="0"/>
                  <a:pt x="209191" y="0"/>
                </a:cubicBezTo>
                <a:close/>
                <a:moveTo>
                  <a:pt x="144187" y="0"/>
                </a:moveTo>
                <a:cubicBezTo>
                  <a:pt x="152015" y="0"/>
                  <a:pt x="158367" y="6353"/>
                  <a:pt x="158367" y="14237"/>
                </a:cubicBezTo>
                <a:cubicBezTo>
                  <a:pt x="158367" y="22065"/>
                  <a:pt x="152015" y="28418"/>
                  <a:pt x="144187" y="28418"/>
                </a:cubicBezTo>
                <a:cubicBezTo>
                  <a:pt x="136359" y="28418"/>
                  <a:pt x="130006" y="22065"/>
                  <a:pt x="130006" y="14237"/>
                </a:cubicBezTo>
                <a:cubicBezTo>
                  <a:pt x="130006" y="6353"/>
                  <a:pt x="136359" y="0"/>
                  <a:pt x="144187" y="0"/>
                </a:cubicBezTo>
                <a:close/>
                <a:moveTo>
                  <a:pt x="79184" y="0"/>
                </a:moveTo>
                <a:cubicBezTo>
                  <a:pt x="87011" y="0"/>
                  <a:pt x="93364" y="6353"/>
                  <a:pt x="93364" y="14237"/>
                </a:cubicBezTo>
                <a:cubicBezTo>
                  <a:pt x="93364" y="22065"/>
                  <a:pt x="87011" y="28418"/>
                  <a:pt x="79184" y="28418"/>
                </a:cubicBezTo>
                <a:cubicBezTo>
                  <a:pt x="71356" y="28418"/>
                  <a:pt x="65003" y="22065"/>
                  <a:pt x="65003" y="14237"/>
                </a:cubicBezTo>
                <a:cubicBezTo>
                  <a:pt x="65003" y="6353"/>
                  <a:pt x="71356" y="0"/>
                  <a:pt x="79184" y="0"/>
                </a:cubicBezTo>
                <a:close/>
              </a:path>
            </a:pathLst>
          </a:custGeom>
          <a:solidFill>
            <a:srgbClr val="FFFFFF"/>
          </a:solidFill>
          <a:ln w="0" cap="flat">
            <a:noFill/>
            <a:prstDash val="solid"/>
            <a:miter/>
          </a:ln>
        </p:spPr>
        <p:txBody>
          <a:bodyPr rtlCol="0" anchor="ctr"/>
          <a:lstStyle/>
          <a:p>
            <a:endParaRPr lang="sv-SE"/>
          </a:p>
        </p:txBody>
      </p:sp>
      <p:pic>
        <p:nvPicPr>
          <p:cNvPr id="6" name="Graphic 5" hidden="1">
            <a:extLst>
              <a:ext uri="{FF2B5EF4-FFF2-40B4-BE49-F238E27FC236}">
                <a16:creationId xmlns:a16="http://schemas.microsoft.com/office/drawing/2014/main" id="{81229C4C-3332-68E3-B7C2-2BD7B5A35B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00400" y="743274"/>
            <a:ext cx="10890657" cy="6125995"/>
          </a:xfrm>
          <a:prstGeom prst="rect">
            <a:avLst/>
          </a:prstGeom>
        </p:spPr>
      </p:pic>
      <p:grpSp>
        <p:nvGrpSpPr>
          <p:cNvPr id="448" name="Group 447">
            <a:extLst>
              <a:ext uri="{FF2B5EF4-FFF2-40B4-BE49-F238E27FC236}">
                <a16:creationId xmlns:a16="http://schemas.microsoft.com/office/drawing/2014/main" id="{86F699CE-265C-3C6D-D6B7-CB3F75414B5E}"/>
              </a:ext>
            </a:extLst>
          </p:cNvPr>
          <p:cNvGrpSpPr/>
          <p:nvPr/>
        </p:nvGrpSpPr>
        <p:grpSpPr>
          <a:xfrm flipH="1">
            <a:off x="7828575" y="3680821"/>
            <a:ext cx="346253" cy="80711"/>
            <a:chOff x="4571685" y="3680821"/>
            <a:chExt cx="346253" cy="80711"/>
          </a:xfrm>
        </p:grpSpPr>
        <p:sp>
          <p:nvSpPr>
            <p:cNvPr id="449" name="Freeform 448">
              <a:extLst>
                <a:ext uri="{FF2B5EF4-FFF2-40B4-BE49-F238E27FC236}">
                  <a16:creationId xmlns:a16="http://schemas.microsoft.com/office/drawing/2014/main" id="{088D0262-EC05-4F17-A5C0-D79954AF689B}"/>
                </a:ext>
              </a:extLst>
            </p:cNvPr>
            <p:cNvSpPr/>
            <p:nvPr/>
          </p:nvSpPr>
          <p:spPr>
            <a:xfrm>
              <a:off x="4572513" y="3721177"/>
              <a:ext cx="345425" cy="0"/>
            </a:xfrm>
            <a:custGeom>
              <a:avLst/>
              <a:gdLst>
                <a:gd name="connsiteX0" fmla="*/ 0 w 345425"/>
                <a:gd name="connsiteY0" fmla="*/ 0 h 5520"/>
                <a:gd name="connsiteX1" fmla="*/ 345426 w 345425"/>
                <a:gd name="connsiteY1" fmla="*/ 0 h 5520"/>
              </a:gdLst>
              <a:ahLst/>
              <a:cxnLst>
                <a:cxn ang="0">
                  <a:pos x="connsiteX0" y="connsiteY0"/>
                </a:cxn>
                <a:cxn ang="0">
                  <a:pos x="connsiteX1" y="connsiteY1"/>
                </a:cxn>
              </a:cxnLst>
              <a:rect l="l" t="t" r="r" b="b"/>
              <a:pathLst>
                <a:path w="345425" h="5520">
                  <a:moveTo>
                    <a:pt x="0" y="0"/>
                  </a:moveTo>
                  <a:lnTo>
                    <a:pt x="345426" y="0"/>
                  </a:lnTo>
                </a:path>
              </a:pathLst>
            </a:custGeom>
            <a:ln w="15875" cap="flat">
              <a:solidFill>
                <a:srgbClr val="FDAA48"/>
              </a:solidFill>
              <a:prstDash val="solid"/>
              <a:miter/>
            </a:ln>
          </p:spPr>
          <p:txBody>
            <a:bodyPr rtlCol="0" anchor="ctr"/>
            <a:lstStyle/>
            <a:p>
              <a:endParaRPr lang="sv-SE"/>
            </a:p>
          </p:txBody>
        </p:sp>
        <p:sp>
          <p:nvSpPr>
            <p:cNvPr id="450" name="Freeform 449">
              <a:extLst>
                <a:ext uri="{FF2B5EF4-FFF2-40B4-BE49-F238E27FC236}">
                  <a16:creationId xmlns:a16="http://schemas.microsoft.com/office/drawing/2014/main" id="{548BC7AC-CD23-1ADB-600B-A502635126D1}"/>
                </a:ext>
              </a:extLst>
            </p:cNvPr>
            <p:cNvSpPr/>
            <p:nvPr/>
          </p:nvSpPr>
          <p:spPr>
            <a:xfrm>
              <a:off x="4571685" y="3680821"/>
              <a:ext cx="43447" cy="80711"/>
            </a:xfrm>
            <a:custGeom>
              <a:avLst/>
              <a:gdLst>
                <a:gd name="connsiteX0" fmla="*/ 43447 w 43447"/>
                <a:gd name="connsiteY0" fmla="*/ 80712 h 80711"/>
                <a:gd name="connsiteX1" fmla="*/ 0 w 43447"/>
                <a:gd name="connsiteY1" fmla="*/ 40356 h 80711"/>
                <a:gd name="connsiteX2" fmla="*/ 43447 w 43447"/>
                <a:gd name="connsiteY2" fmla="*/ 0 h 80711"/>
              </a:gdLst>
              <a:ahLst/>
              <a:cxnLst>
                <a:cxn ang="0">
                  <a:pos x="connsiteX0" y="connsiteY0"/>
                </a:cxn>
                <a:cxn ang="0">
                  <a:pos x="connsiteX1" y="connsiteY1"/>
                </a:cxn>
                <a:cxn ang="0">
                  <a:pos x="connsiteX2" y="connsiteY2"/>
                </a:cxn>
              </a:cxnLst>
              <a:rect l="l" t="t" r="r" b="b"/>
              <a:pathLst>
                <a:path w="43447" h="80711">
                  <a:moveTo>
                    <a:pt x="43447" y="80712"/>
                  </a:moveTo>
                  <a:lnTo>
                    <a:pt x="0" y="40356"/>
                  </a:lnTo>
                  <a:lnTo>
                    <a:pt x="43447" y="0"/>
                  </a:lnTo>
                </a:path>
              </a:pathLst>
            </a:custGeom>
            <a:noFill/>
            <a:ln w="15875" cap="flat">
              <a:solidFill>
                <a:srgbClr val="FDAA48"/>
              </a:solidFill>
              <a:prstDash val="solid"/>
              <a:miter/>
            </a:ln>
          </p:spPr>
          <p:txBody>
            <a:bodyPr rtlCol="0" anchor="ctr"/>
            <a:lstStyle/>
            <a:p>
              <a:endParaRPr lang="sv-SE"/>
            </a:p>
          </p:txBody>
        </p:sp>
      </p:grpSp>
      <p:sp>
        <p:nvSpPr>
          <p:cNvPr id="387" name="Freeform 386">
            <a:extLst>
              <a:ext uri="{FF2B5EF4-FFF2-40B4-BE49-F238E27FC236}">
                <a16:creationId xmlns:a16="http://schemas.microsoft.com/office/drawing/2014/main" id="{D453260F-1958-B3A5-1EEA-D7BAD59C1C63}"/>
              </a:ext>
            </a:extLst>
          </p:cNvPr>
          <p:cNvSpPr/>
          <p:nvPr/>
        </p:nvSpPr>
        <p:spPr>
          <a:xfrm>
            <a:off x="6468981" y="3206831"/>
            <a:ext cx="554232" cy="484861"/>
          </a:xfrm>
          <a:custGeom>
            <a:avLst/>
            <a:gdLst>
              <a:gd name="connsiteX0" fmla="*/ 441015 w 554232"/>
              <a:gd name="connsiteY0" fmla="*/ 0 h 484861"/>
              <a:gd name="connsiteX1" fmla="*/ 554232 w 554232"/>
              <a:gd name="connsiteY1" fmla="*/ 95463 h 484861"/>
              <a:gd name="connsiteX2" fmla="*/ 554232 w 554232"/>
              <a:gd name="connsiteY2" fmla="*/ 484861 h 484861"/>
              <a:gd name="connsiteX3" fmla="*/ 0 w 554232"/>
              <a:gd name="connsiteY3" fmla="*/ 484861 h 484861"/>
              <a:gd name="connsiteX4" fmla="*/ 0 w 554232"/>
              <a:gd name="connsiteY4" fmla="*/ 0 h 484861"/>
              <a:gd name="connsiteX5" fmla="*/ 441015 w 554232"/>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32" h="484861">
                <a:moveTo>
                  <a:pt x="441015" y="0"/>
                </a:moveTo>
                <a:lnTo>
                  <a:pt x="554232" y="95463"/>
                </a:lnTo>
                <a:lnTo>
                  <a:pt x="554232" y="484861"/>
                </a:lnTo>
                <a:lnTo>
                  <a:pt x="0" y="484861"/>
                </a:lnTo>
                <a:lnTo>
                  <a:pt x="0" y="0"/>
                </a:lnTo>
                <a:lnTo>
                  <a:pt x="441015" y="0"/>
                </a:lnTo>
                <a:close/>
              </a:path>
            </a:pathLst>
          </a:custGeom>
          <a:solidFill>
            <a:schemeClr val="accent5"/>
          </a:solidFill>
          <a:ln w="11341" cap="flat">
            <a:solidFill>
              <a:srgbClr val="FFFFFF"/>
            </a:solidFill>
            <a:prstDash val="solid"/>
            <a:miter/>
          </a:ln>
        </p:spPr>
        <p:txBody>
          <a:bodyPr rtlCol="0" anchor="ctr"/>
          <a:lstStyle/>
          <a:p>
            <a:endParaRPr lang="sv-SE"/>
          </a:p>
        </p:txBody>
      </p:sp>
      <p:grpSp>
        <p:nvGrpSpPr>
          <p:cNvPr id="447" name="Group 446">
            <a:extLst>
              <a:ext uri="{FF2B5EF4-FFF2-40B4-BE49-F238E27FC236}">
                <a16:creationId xmlns:a16="http://schemas.microsoft.com/office/drawing/2014/main" id="{83A3D1DB-839D-2B2C-6795-2772376BBDC7}"/>
              </a:ext>
            </a:extLst>
          </p:cNvPr>
          <p:cNvGrpSpPr/>
          <p:nvPr/>
        </p:nvGrpSpPr>
        <p:grpSpPr>
          <a:xfrm>
            <a:off x="6125584" y="3335590"/>
            <a:ext cx="804547" cy="253775"/>
            <a:chOff x="6125584" y="3335590"/>
            <a:chExt cx="804547" cy="253775"/>
          </a:xfrm>
        </p:grpSpPr>
        <p:sp>
          <p:nvSpPr>
            <p:cNvPr id="388" name="Freeform 387">
              <a:extLst>
                <a:ext uri="{FF2B5EF4-FFF2-40B4-BE49-F238E27FC236}">
                  <a16:creationId xmlns:a16="http://schemas.microsoft.com/office/drawing/2014/main" id="{52C441FC-5DBA-B73F-04C3-9FC4343C7C46}"/>
                </a:ext>
              </a:extLst>
            </p:cNvPr>
            <p:cNvSpPr/>
            <p:nvPr/>
          </p:nvSpPr>
          <p:spPr>
            <a:xfrm>
              <a:off x="6179187" y="3335590"/>
              <a:ext cx="76915" cy="253775"/>
            </a:xfrm>
            <a:custGeom>
              <a:avLst/>
              <a:gdLst>
                <a:gd name="connsiteX0" fmla="*/ 76915 w 76915"/>
                <a:gd name="connsiteY0" fmla="*/ 232107 h 253775"/>
                <a:gd name="connsiteX1" fmla="*/ 49292 w 76915"/>
                <a:gd name="connsiteY1" fmla="*/ 253775 h 253775"/>
                <a:gd name="connsiteX2" fmla="*/ 0 w 76915"/>
                <a:gd name="connsiteY2" fmla="*/ 126888 h 253775"/>
                <a:gd name="connsiteX3" fmla="*/ 39422 w 76915"/>
                <a:gd name="connsiteY3" fmla="*/ 2553 h 253775"/>
                <a:gd name="connsiteX4" fmla="*/ 46229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76915" y="232107"/>
                  </a:moveTo>
                  <a:cubicBezTo>
                    <a:pt x="69031" y="245777"/>
                    <a:pt x="59558" y="253775"/>
                    <a:pt x="49292" y="253775"/>
                  </a:cubicBezTo>
                  <a:cubicBezTo>
                    <a:pt x="22065" y="253775"/>
                    <a:pt x="0" y="196996"/>
                    <a:pt x="0" y="126888"/>
                  </a:cubicBezTo>
                  <a:cubicBezTo>
                    <a:pt x="0" y="65571"/>
                    <a:pt x="16903" y="14464"/>
                    <a:pt x="39422" y="2553"/>
                  </a:cubicBezTo>
                  <a:cubicBezTo>
                    <a:pt x="39422" y="2553"/>
                    <a:pt x="44073" y="0"/>
                    <a:pt x="46229" y="0"/>
                  </a:cubicBezTo>
                </a:path>
              </a:pathLst>
            </a:custGeom>
            <a:noFill/>
            <a:ln w="9525" cap="flat">
              <a:solidFill>
                <a:srgbClr val="FFFFFF"/>
              </a:solidFill>
              <a:prstDash val="solid"/>
              <a:round/>
            </a:ln>
          </p:spPr>
          <p:txBody>
            <a:bodyPr rtlCol="0" anchor="ctr"/>
            <a:lstStyle/>
            <a:p>
              <a:endParaRPr lang="sv-SE"/>
            </a:p>
          </p:txBody>
        </p:sp>
        <p:sp>
          <p:nvSpPr>
            <p:cNvPr id="389" name="Freeform 388">
              <a:extLst>
                <a:ext uri="{FF2B5EF4-FFF2-40B4-BE49-F238E27FC236}">
                  <a16:creationId xmlns:a16="http://schemas.microsoft.com/office/drawing/2014/main" id="{80A94DB7-15BB-BB16-E853-86B9B207F81B}"/>
                </a:ext>
              </a:extLst>
            </p:cNvPr>
            <p:cNvSpPr/>
            <p:nvPr/>
          </p:nvSpPr>
          <p:spPr>
            <a:xfrm>
              <a:off x="6161319" y="3335590"/>
              <a:ext cx="94215" cy="253775"/>
            </a:xfrm>
            <a:custGeom>
              <a:avLst/>
              <a:gdLst>
                <a:gd name="connsiteX0" fmla="*/ 94216 w 94215"/>
                <a:gd name="connsiteY0" fmla="*/ 20704 h 253775"/>
                <a:gd name="connsiteX1" fmla="*/ 67159 w 94215"/>
                <a:gd name="connsiteY1" fmla="*/ 0 h 253775"/>
                <a:gd name="connsiteX2" fmla="*/ 49292 w 94215"/>
                <a:gd name="connsiteY2" fmla="*/ 0 h 253775"/>
                <a:gd name="connsiteX3" fmla="*/ 0 w 94215"/>
                <a:gd name="connsiteY3" fmla="*/ 126888 h 253775"/>
                <a:gd name="connsiteX4" fmla="*/ 49292 w 94215"/>
                <a:gd name="connsiteY4" fmla="*/ 253775 h 253775"/>
                <a:gd name="connsiteX5" fmla="*/ 67159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94216" y="20704"/>
                  </a:moveTo>
                  <a:cubicBezTo>
                    <a:pt x="86445" y="7601"/>
                    <a:pt x="77199" y="0"/>
                    <a:pt x="67159" y="0"/>
                  </a:cubicBezTo>
                  <a:lnTo>
                    <a:pt x="49292" y="0"/>
                  </a:lnTo>
                  <a:cubicBezTo>
                    <a:pt x="22065" y="0"/>
                    <a:pt x="0" y="56779"/>
                    <a:pt x="0" y="126888"/>
                  </a:cubicBezTo>
                  <a:cubicBezTo>
                    <a:pt x="0" y="196996"/>
                    <a:pt x="22122" y="253775"/>
                    <a:pt x="49292" y="253775"/>
                  </a:cubicBezTo>
                  <a:lnTo>
                    <a:pt x="67159" y="253775"/>
                  </a:lnTo>
                </a:path>
              </a:pathLst>
            </a:custGeom>
            <a:noFill/>
            <a:ln w="9525" cap="flat">
              <a:solidFill>
                <a:srgbClr val="FFFFFF"/>
              </a:solidFill>
              <a:prstDash val="solid"/>
              <a:round/>
            </a:ln>
          </p:spPr>
          <p:txBody>
            <a:bodyPr rtlCol="0" anchor="ctr"/>
            <a:lstStyle/>
            <a:p>
              <a:endParaRPr lang="sv-SE"/>
            </a:p>
          </p:txBody>
        </p:sp>
        <p:sp>
          <p:nvSpPr>
            <p:cNvPr id="390" name="Freeform 389">
              <a:extLst>
                <a:ext uri="{FF2B5EF4-FFF2-40B4-BE49-F238E27FC236}">
                  <a16:creationId xmlns:a16="http://schemas.microsoft.com/office/drawing/2014/main" id="{F62D5005-A512-2D45-CA1A-2F43FD87C6BC}"/>
                </a:ext>
              </a:extLst>
            </p:cNvPr>
            <p:cNvSpPr/>
            <p:nvPr/>
          </p:nvSpPr>
          <p:spPr>
            <a:xfrm>
              <a:off x="6799331" y="3335590"/>
              <a:ext cx="76915" cy="253775"/>
            </a:xfrm>
            <a:custGeom>
              <a:avLst/>
              <a:gdLst>
                <a:gd name="connsiteX0" fmla="*/ 0 w 76915"/>
                <a:gd name="connsiteY0" fmla="*/ 232107 h 253775"/>
                <a:gd name="connsiteX1" fmla="*/ 27624 w 76915"/>
                <a:gd name="connsiteY1" fmla="*/ 253775 h 253775"/>
                <a:gd name="connsiteX2" fmla="*/ 76915 w 76915"/>
                <a:gd name="connsiteY2" fmla="*/ 126888 h 253775"/>
                <a:gd name="connsiteX3" fmla="*/ 37493 w 76915"/>
                <a:gd name="connsiteY3" fmla="*/ 2553 h 253775"/>
                <a:gd name="connsiteX4" fmla="*/ 30687 w 76915"/>
                <a:gd name="connsiteY4" fmla="*/ 0 h 25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253775">
                  <a:moveTo>
                    <a:pt x="0" y="232107"/>
                  </a:moveTo>
                  <a:cubicBezTo>
                    <a:pt x="7884" y="245777"/>
                    <a:pt x="17357" y="253775"/>
                    <a:pt x="27624" y="253775"/>
                  </a:cubicBezTo>
                  <a:cubicBezTo>
                    <a:pt x="54850" y="253775"/>
                    <a:pt x="76915" y="196996"/>
                    <a:pt x="76915" y="126888"/>
                  </a:cubicBezTo>
                  <a:cubicBezTo>
                    <a:pt x="76915" y="65571"/>
                    <a:pt x="60012" y="14464"/>
                    <a:pt x="37493" y="2553"/>
                  </a:cubicBezTo>
                  <a:cubicBezTo>
                    <a:pt x="37493" y="2553"/>
                    <a:pt x="32842" y="0"/>
                    <a:pt x="30687" y="0"/>
                  </a:cubicBezTo>
                </a:path>
              </a:pathLst>
            </a:custGeom>
            <a:noFill/>
            <a:ln w="9525" cap="flat">
              <a:solidFill>
                <a:srgbClr val="FFFFFF"/>
              </a:solidFill>
              <a:prstDash val="solid"/>
              <a:round/>
            </a:ln>
          </p:spPr>
          <p:txBody>
            <a:bodyPr rtlCol="0" anchor="ctr"/>
            <a:lstStyle/>
            <a:p>
              <a:endParaRPr lang="sv-SE"/>
            </a:p>
          </p:txBody>
        </p:sp>
        <p:sp>
          <p:nvSpPr>
            <p:cNvPr id="391" name="Freeform 390">
              <a:extLst>
                <a:ext uri="{FF2B5EF4-FFF2-40B4-BE49-F238E27FC236}">
                  <a16:creationId xmlns:a16="http://schemas.microsoft.com/office/drawing/2014/main" id="{BB7A0D6C-3D8C-D4B3-2EFB-06745E9A14F2}"/>
                </a:ext>
              </a:extLst>
            </p:cNvPr>
            <p:cNvSpPr/>
            <p:nvPr/>
          </p:nvSpPr>
          <p:spPr>
            <a:xfrm>
              <a:off x="6799898" y="3335590"/>
              <a:ext cx="94215" cy="253775"/>
            </a:xfrm>
            <a:custGeom>
              <a:avLst/>
              <a:gdLst>
                <a:gd name="connsiteX0" fmla="*/ 0 w 94215"/>
                <a:gd name="connsiteY0" fmla="*/ 20704 h 253775"/>
                <a:gd name="connsiteX1" fmla="*/ 27057 w 94215"/>
                <a:gd name="connsiteY1" fmla="*/ 0 h 253775"/>
                <a:gd name="connsiteX2" fmla="*/ 44924 w 94215"/>
                <a:gd name="connsiteY2" fmla="*/ 0 h 253775"/>
                <a:gd name="connsiteX3" fmla="*/ 94215 w 94215"/>
                <a:gd name="connsiteY3" fmla="*/ 126888 h 253775"/>
                <a:gd name="connsiteX4" fmla="*/ 44924 w 94215"/>
                <a:gd name="connsiteY4" fmla="*/ 253775 h 253775"/>
                <a:gd name="connsiteX5" fmla="*/ 27057 w 94215"/>
                <a:gd name="connsiteY5" fmla="*/ 253775 h 25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15" h="253775">
                  <a:moveTo>
                    <a:pt x="0" y="20704"/>
                  </a:moveTo>
                  <a:cubicBezTo>
                    <a:pt x="7771" y="7601"/>
                    <a:pt x="17017" y="0"/>
                    <a:pt x="27057" y="0"/>
                  </a:cubicBezTo>
                  <a:lnTo>
                    <a:pt x="44924" y="0"/>
                  </a:lnTo>
                  <a:cubicBezTo>
                    <a:pt x="72151" y="0"/>
                    <a:pt x="94215" y="56779"/>
                    <a:pt x="94215" y="126888"/>
                  </a:cubicBezTo>
                  <a:cubicBezTo>
                    <a:pt x="94215" y="196996"/>
                    <a:pt x="72094" y="253775"/>
                    <a:pt x="44924" y="253775"/>
                  </a:cubicBezTo>
                  <a:lnTo>
                    <a:pt x="27057" y="253775"/>
                  </a:lnTo>
                </a:path>
              </a:pathLst>
            </a:custGeom>
            <a:noFill/>
            <a:ln w="9525" cap="flat">
              <a:solidFill>
                <a:srgbClr val="FFFFFF"/>
              </a:solidFill>
              <a:prstDash val="solid"/>
              <a:round/>
            </a:ln>
          </p:spPr>
          <p:txBody>
            <a:bodyPr rtlCol="0" anchor="ctr"/>
            <a:lstStyle/>
            <a:p>
              <a:endParaRPr lang="sv-SE"/>
            </a:p>
          </p:txBody>
        </p:sp>
        <p:sp>
          <p:nvSpPr>
            <p:cNvPr id="392" name="Freeform 391">
              <a:extLst>
                <a:ext uri="{FF2B5EF4-FFF2-40B4-BE49-F238E27FC236}">
                  <a16:creationId xmlns:a16="http://schemas.microsoft.com/office/drawing/2014/main" id="{6F0AD558-F078-F712-F903-FE3E6CA19785}"/>
                </a:ext>
              </a:extLst>
            </p:cNvPr>
            <p:cNvSpPr/>
            <p:nvPr/>
          </p:nvSpPr>
          <p:spPr>
            <a:xfrm>
              <a:off x="6144927" y="3384428"/>
              <a:ext cx="25808" cy="16449"/>
            </a:xfrm>
            <a:custGeom>
              <a:avLst/>
              <a:gdLst>
                <a:gd name="connsiteX0" fmla="*/ 23142 w 25808"/>
                <a:gd name="connsiteY0" fmla="*/ 16449 h 16449"/>
                <a:gd name="connsiteX1" fmla="*/ 0 w 25808"/>
                <a:gd name="connsiteY1" fmla="*/ 16449 h 16449"/>
                <a:gd name="connsiteX2" fmla="*/ 0 w 25808"/>
                <a:gd name="connsiteY2" fmla="*/ 0 h 16449"/>
                <a:gd name="connsiteX3" fmla="*/ 25809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3142" y="16449"/>
                  </a:moveTo>
                  <a:lnTo>
                    <a:pt x="0" y="16449"/>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3" name="Freeform 392">
              <a:extLst>
                <a:ext uri="{FF2B5EF4-FFF2-40B4-BE49-F238E27FC236}">
                  <a16:creationId xmlns:a16="http://schemas.microsoft.com/office/drawing/2014/main" id="{ABDFB874-6283-E681-01D4-C1445D4A6218}"/>
                </a:ext>
              </a:extLst>
            </p:cNvPr>
            <p:cNvSpPr/>
            <p:nvPr/>
          </p:nvSpPr>
          <p:spPr>
            <a:xfrm>
              <a:off x="6136702" y="343139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4" name="Freeform 393">
              <a:extLst>
                <a:ext uri="{FF2B5EF4-FFF2-40B4-BE49-F238E27FC236}">
                  <a16:creationId xmlns:a16="http://schemas.microsoft.com/office/drawing/2014/main" id="{AE9F84E2-4E33-E5A2-2235-E97512470C01}"/>
                </a:ext>
              </a:extLst>
            </p:cNvPr>
            <p:cNvSpPr/>
            <p:nvPr/>
          </p:nvSpPr>
          <p:spPr>
            <a:xfrm>
              <a:off x="6136702" y="3477055"/>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5809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5809" y="0"/>
                  </a:lnTo>
                </a:path>
              </a:pathLst>
            </a:custGeom>
            <a:noFill/>
            <a:ln w="9525" cap="flat">
              <a:solidFill>
                <a:srgbClr val="FFFFFF"/>
              </a:solidFill>
              <a:prstDash val="solid"/>
              <a:round/>
            </a:ln>
          </p:spPr>
          <p:txBody>
            <a:bodyPr rtlCol="0" anchor="ctr"/>
            <a:lstStyle/>
            <a:p>
              <a:endParaRPr lang="sv-SE"/>
            </a:p>
          </p:txBody>
        </p:sp>
        <p:sp>
          <p:nvSpPr>
            <p:cNvPr id="395" name="Freeform 394">
              <a:extLst>
                <a:ext uri="{FF2B5EF4-FFF2-40B4-BE49-F238E27FC236}">
                  <a16:creationId xmlns:a16="http://schemas.microsoft.com/office/drawing/2014/main" id="{6FC39053-1AFB-49B7-5FEC-8A88B9B153A2}"/>
                </a:ext>
              </a:extLst>
            </p:cNvPr>
            <p:cNvSpPr/>
            <p:nvPr/>
          </p:nvSpPr>
          <p:spPr>
            <a:xfrm>
              <a:off x="6144927" y="3523624"/>
              <a:ext cx="25808" cy="16392"/>
            </a:xfrm>
            <a:custGeom>
              <a:avLst/>
              <a:gdLst>
                <a:gd name="connsiteX0" fmla="*/ 25809 w 25808"/>
                <a:gd name="connsiteY0" fmla="*/ 16393 h 16392"/>
                <a:gd name="connsiteX1" fmla="*/ 0 w 25808"/>
                <a:gd name="connsiteY1" fmla="*/ 16393 h 16392"/>
                <a:gd name="connsiteX2" fmla="*/ 0 w 25808"/>
                <a:gd name="connsiteY2" fmla="*/ 0 h 16392"/>
                <a:gd name="connsiteX3" fmla="*/ 23142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25809" y="16393"/>
                  </a:moveTo>
                  <a:lnTo>
                    <a:pt x="0" y="16393"/>
                  </a:lnTo>
                  <a:lnTo>
                    <a:pt x="0" y="0"/>
                  </a:lnTo>
                  <a:lnTo>
                    <a:pt x="23142" y="0"/>
                  </a:lnTo>
                </a:path>
              </a:pathLst>
            </a:custGeom>
            <a:noFill/>
            <a:ln w="9525" cap="flat">
              <a:solidFill>
                <a:srgbClr val="FFFFFF"/>
              </a:solidFill>
              <a:prstDash val="solid"/>
              <a:round/>
            </a:ln>
          </p:spPr>
          <p:txBody>
            <a:bodyPr rtlCol="0" anchor="ctr"/>
            <a:lstStyle/>
            <a:p>
              <a:endParaRPr lang="sv-SE"/>
            </a:p>
          </p:txBody>
        </p:sp>
        <p:sp>
          <p:nvSpPr>
            <p:cNvPr id="396" name="Freeform 395">
              <a:extLst>
                <a:ext uri="{FF2B5EF4-FFF2-40B4-BE49-F238E27FC236}">
                  <a16:creationId xmlns:a16="http://schemas.microsoft.com/office/drawing/2014/main" id="{73A60A15-3F85-69CB-29B2-DF844ADB8B0F}"/>
                </a:ext>
              </a:extLst>
            </p:cNvPr>
            <p:cNvSpPr/>
            <p:nvPr/>
          </p:nvSpPr>
          <p:spPr>
            <a:xfrm>
              <a:off x="6132051" y="3531849"/>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397" name="Freeform 396">
              <a:extLst>
                <a:ext uri="{FF2B5EF4-FFF2-40B4-BE49-F238E27FC236}">
                  <a16:creationId xmlns:a16="http://schemas.microsoft.com/office/drawing/2014/main" id="{70780691-9B9D-252E-9E64-B9D267EDAEB4}"/>
                </a:ext>
              </a:extLst>
            </p:cNvPr>
            <p:cNvSpPr/>
            <p:nvPr/>
          </p:nvSpPr>
          <p:spPr>
            <a:xfrm>
              <a:off x="6132051" y="339271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398" name="Freeform 397">
              <a:extLst>
                <a:ext uri="{FF2B5EF4-FFF2-40B4-BE49-F238E27FC236}">
                  <a16:creationId xmlns:a16="http://schemas.microsoft.com/office/drawing/2014/main" id="{F0B055A1-1E00-A3F8-058A-AB371A63E1C6}"/>
                </a:ext>
              </a:extLst>
            </p:cNvPr>
            <p:cNvSpPr/>
            <p:nvPr/>
          </p:nvSpPr>
          <p:spPr>
            <a:xfrm>
              <a:off x="6198813" y="3439619"/>
              <a:ext cx="659451" cy="0"/>
            </a:xfrm>
            <a:custGeom>
              <a:avLst/>
              <a:gdLst>
                <a:gd name="connsiteX0" fmla="*/ 0 w 659451"/>
                <a:gd name="connsiteY0" fmla="*/ 0 h 5672"/>
                <a:gd name="connsiteX1" fmla="*/ 659452 w 659451"/>
                <a:gd name="connsiteY1" fmla="*/ 0 h 5672"/>
              </a:gdLst>
              <a:ahLst/>
              <a:cxnLst>
                <a:cxn ang="0">
                  <a:pos x="connsiteX0" y="connsiteY0"/>
                </a:cxn>
                <a:cxn ang="0">
                  <a:pos x="connsiteX1" y="connsiteY1"/>
                </a:cxn>
              </a:cxnLst>
              <a:rect l="l" t="t" r="r" b="b"/>
              <a:pathLst>
                <a:path w="659451" h="5672">
                  <a:moveTo>
                    <a:pt x="0" y="0"/>
                  </a:moveTo>
                  <a:lnTo>
                    <a:pt x="659452" y="0"/>
                  </a:lnTo>
                </a:path>
              </a:pathLst>
            </a:custGeom>
            <a:ln w="9525" cap="flat">
              <a:solidFill>
                <a:srgbClr val="FFFFFF"/>
              </a:solidFill>
              <a:prstDash val="solid"/>
              <a:miter/>
            </a:ln>
          </p:spPr>
          <p:txBody>
            <a:bodyPr rtlCol="0" anchor="ctr"/>
            <a:lstStyle/>
            <a:p>
              <a:endParaRPr lang="sv-SE"/>
            </a:p>
          </p:txBody>
        </p:sp>
        <p:sp>
          <p:nvSpPr>
            <p:cNvPr id="399" name="Freeform 398">
              <a:extLst>
                <a:ext uri="{FF2B5EF4-FFF2-40B4-BE49-F238E27FC236}">
                  <a16:creationId xmlns:a16="http://schemas.microsoft.com/office/drawing/2014/main" id="{863A99E5-1D0F-C720-280E-15356A9C8CB1}"/>
                </a:ext>
              </a:extLst>
            </p:cNvPr>
            <p:cNvSpPr/>
            <p:nvPr/>
          </p:nvSpPr>
          <p:spPr>
            <a:xfrm>
              <a:off x="6197111" y="3485280"/>
              <a:ext cx="660302" cy="0"/>
            </a:xfrm>
            <a:custGeom>
              <a:avLst/>
              <a:gdLst>
                <a:gd name="connsiteX0" fmla="*/ 0 w 660302"/>
                <a:gd name="connsiteY0" fmla="*/ 0 h 5672"/>
                <a:gd name="connsiteX1" fmla="*/ 660303 w 660302"/>
                <a:gd name="connsiteY1" fmla="*/ 0 h 5672"/>
              </a:gdLst>
              <a:ahLst/>
              <a:cxnLst>
                <a:cxn ang="0">
                  <a:pos x="connsiteX0" y="connsiteY0"/>
                </a:cxn>
                <a:cxn ang="0">
                  <a:pos x="connsiteX1" y="connsiteY1"/>
                </a:cxn>
              </a:cxnLst>
              <a:rect l="l" t="t" r="r" b="b"/>
              <a:pathLst>
                <a:path w="660302" h="5672">
                  <a:moveTo>
                    <a:pt x="0" y="0"/>
                  </a:moveTo>
                  <a:lnTo>
                    <a:pt x="660303" y="0"/>
                  </a:lnTo>
                </a:path>
              </a:pathLst>
            </a:custGeom>
            <a:ln w="9525" cap="flat">
              <a:solidFill>
                <a:srgbClr val="FFFFFF"/>
              </a:solidFill>
              <a:prstDash val="solid"/>
              <a:miter/>
            </a:ln>
          </p:spPr>
          <p:txBody>
            <a:bodyPr rtlCol="0" anchor="ctr"/>
            <a:lstStyle/>
            <a:p>
              <a:endParaRPr lang="sv-SE"/>
            </a:p>
          </p:txBody>
        </p:sp>
        <p:sp>
          <p:nvSpPr>
            <p:cNvPr id="400" name="Freeform 399">
              <a:extLst>
                <a:ext uri="{FF2B5EF4-FFF2-40B4-BE49-F238E27FC236}">
                  <a16:creationId xmlns:a16="http://schemas.microsoft.com/office/drawing/2014/main" id="{7DF23941-3302-E7A6-6488-BCAC0C83950A}"/>
                </a:ext>
              </a:extLst>
            </p:cNvPr>
            <p:cNvSpPr/>
            <p:nvPr/>
          </p:nvSpPr>
          <p:spPr>
            <a:xfrm>
              <a:off x="6125584"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1" name="Freeform 400">
              <a:extLst>
                <a:ext uri="{FF2B5EF4-FFF2-40B4-BE49-F238E27FC236}">
                  <a16:creationId xmlns:a16="http://schemas.microsoft.com/office/drawing/2014/main" id="{AD39651F-8B0F-DB77-D905-C644456E99B8}"/>
                </a:ext>
              </a:extLst>
            </p:cNvPr>
            <p:cNvSpPr/>
            <p:nvPr/>
          </p:nvSpPr>
          <p:spPr>
            <a:xfrm>
              <a:off x="6125584" y="3485280"/>
              <a:ext cx="11854" cy="5672"/>
            </a:xfrm>
            <a:custGeom>
              <a:avLst/>
              <a:gdLst>
                <a:gd name="connsiteX0" fmla="*/ 11855 w 11854"/>
                <a:gd name="connsiteY0" fmla="*/ 0 h 5672"/>
                <a:gd name="connsiteX1" fmla="*/ 0 w 11854"/>
                <a:gd name="connsiteY1" fmla="*/ 0 h 5672"/>
              </a:gdLst>
              <a:ahLst/>
              <a:cxnLst>
                <a:cxn ang="0">
                  <a:pos x="connsiteX0" y="connsiteY0"/>
                </a:cxn>
                <a:cxn ang="0">
                  <a:pos x="connsiteX1" y="connsiteY1"/>
                </a:cxn>
              </a:cxnLst>
              <a:rect l="l" t="t" r="r" b="b"/>
              <a:pathLst>
                <a:path w="11854" h="5672">
                  <a:moveTo>
                    <a:pt x="11855" y="0"/>
                  </a:moveTo>
                  <a:lnTo>
                    <a:pt x="0" y="0"/>
                  </a:lnTo>
                </a:path>
              </a:pathLst>
            </a:custGeom>
            <a:ln w="9525" cap="flat">
              <a:solidFill>
                <a:srgbClr val="FFFFFF"/>
              </a:solidFill>
              <a:prstDash val="solid"/>
              <a:round/>
            </a:ln>
          </p:spPr>
          <p:txBody>
            <a:bodyPr rtlCol="0" anchor="ctr"/>
            <a:lstStyle/>
            <a:p>
              <a:endParaRPr lang="sv-SE"/>
            </a:p>
          </p:txBody>
        </p:sp>
        <p:sp>
          <p:nvSpPr>
            <p:cNvPr id="402" name="Freeform 401">
              <a:extLst>
                <a:ext uri="{FF2B5EF4-FFF2-40B4-BE49-F238E27FC236}">
                  <a16:creationId xmlns:a16="http://schemas.microsoft.com/office/drawing/2014/main" id="{DE730E4A-FE4C-A832-C1C3-1B83C5F4C54D}"/>
                </a:ext>
              </a:extLst>
            </p:cNvPr>
            <p:cNvSpPr/>
            <p:nvPr/>
          </p:nvSpPr>
          <p:spPr>
            <a:xfrm>
              <a:off x="6885038" y="3384428"/>
              <a:ext cx="25808" cy="16449"/>
            </a:xfrm>
            <a:custGeom>
              <a:avLst/>
              <a:gdLst>
                <a:gd name="connsiteX0" fmla="*/ 2666 w 25808"/>
                <a:gd name="connsiteY0" fmla="*/ 16449 h 16449"/>
                <a:gd name="connsiteX1" fmla="*/ 25809 w 25808"/>
                <a:gd name="connsiteY1" fmla="*/ 16449 h 16449"/>
                <a:gd name="connsiteX2" fmla="*/ 25809 w 25808"/>
                <a:gd name="connsiteY2" fmla="*/ 0 h 16449"/>
                <a:gd name="connsiteX3" fmla="*/ 0 w 25808"/>
                <a:gd name="connsiteY3" fmla="*/ 0 h 16449"/>
              </a:gdLst>
              <a:ahLst/>
              <a:cxnLst>
                <a:cxn ang="0">
                  <a:pos x="connsiteX0" y="connsiteY0"/>
                </a:cxn>
                <a:cxn ang="0">
                  <a:pos x="connsiteX1" y="connsiteY1"/>
                </a:cxn>
                <a:cxn ang="0">
                  <a:pos x="connsiteX2" y="connsiteY2"/>
                </a:cxn>
                <a:cxn ang="0">
                  <a:pos x="connsiteX3" y="connsiteY3"/>
                </a:cxn>
              </a:cxnLst>
              <a:rect l="l" t="t" r="r" b="b"/>
              <a:pathLst>
                <a:path w="25808" h="16449">
                  <a:moveTo>
                    <a:pt x="2666" y="16449"/>
                  </a:moveTo>
                  <a:lnTo>
                    <a:pt x="25809" y="16449"/>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3" name="Freeform 402">
              <a:extLst>
                <a:ext uri="{FF2B5EF4-FFF2-40B4-BE49-F238E27FC236}">
                  <a16:creationId xmlns:a16="http://schemas.microsoft.com/office/drawing/2014/main" id="{CFC94E10-5EC3-4408-F905-4E749F8A6D74}"/>
                </a:ext>
              </a:extLst>
            </p:cNvPr>
            <p:cNvSpPr/>
            <p:nvPr/>
          </p:nvSpPr>
          <p:spPr>
            <a:xfrm>
              <a:off x="6893206" y="343139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4" name="Freeform 403">
              <a:extLst>
                <a:ext uri="{FF2B5EF4-FFF2-40B4-BE49-F238E27FC236}">
                  <a16:creationId xmlns:a16="http://schemas.microsoft.com/office/drawing/2014/main" id="{D48D7C90-DC53-EF78-6CDD-3124BAF96648}"/>
                </a:ext>
              </a:extLst>
            </p:cNvPr>
            <p:cNvSpPr/>
            <p:nvPr/>
          </p:nvSpPr>
          <p:spPr>
            <a:xfrm>
              <a:off x="6893206" y="3477055"/>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0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0" y="0"/>
                  </a:lnTo>
                </a:path>
              </a:pathLst>
            </a:custGeom>
            <a:noFill/>
            <a:ln w="9525" cap="flat">
              <a:solidFill>
                <a:srgbClr val="FFFFFF"/>
              </a:solidFill>
              <a:prstDash val="solid"/>
              <a:round/>
            </a:ln>
          </p:spPr>
          <p:txBody>
            <a:bodyPr rtlCol="0" anchor="ctr"/>
            <a:lstStyle/>
            <a:p>
              <a:endParaRPr lang="sv-SE"/>
            </a:p>
          </p:txBody>
        </p:sp>
        <p:sp>
          <p:nvSpPr>
            <p:cNvPr id="405" name="Freeform 404">
              <a:extLst>
                <a:ext uri="{FF2B5EF4-FFF2-40B4-BE49-F238E27FC236}">
                  <a16:creationId xmlns:a16="http://schemas.microsoft.com/office/drawing/2014/main" id="{BED532ED-71E1-AE7B-9AD2-B7464BA53A12}"/>
                </a:ext>
              </a:extLst>
            </p:cNvPr>
            <p:cNvSpPr/>
            <p:nvPr/>
          </p:nvSpPr>
          <p:spPr>
            <a:xfrm>
              <a:off x="6885038" y="3523624"/>
              <a:ext cx="25808" cy="16392"/>
            </a:xfrm>
            <a:custGeom>
              <a:avLst/>
              <a:gdLst>
                <a:gd name="connsiteX0" fmla="*/ 0 w 25808"/>
                <a:gd name="connsiteY0" fmla="*/ 16393 h 16392"/>
                <a:gd name="connsiteX1" fmla="*/ 25809 w 25808"/>
                <a:gd name="connsiteY1" fmla="*/ 16393 h 16392"/>
                <a:gd name="connsiteX2" fmla="*/ 25809 w 25808"/>
                <a:gd name="connsiteY2" fmla="*/ 0 h 16392"/>
                <a:gd name="connsiteX3" fmla="*/ 2666 w 25808"/>
                <a:gd name="connsiteY3" fmla="*/ 0 h 16392"/>
              </a:gdLst>
              <a:ahLst/>
              <a:cxnLst>
                <a:cxn ang="0">
                  <a:pos x="connsiteX0" y="connsiteY0"/>
                </a:cxn>
                <a:cxn ang="0">
                  <a:pos x="connsiteX1" y="connsiteY1"/>
                </a:cxn>
                <a:cxn ang="0">
                  <a:pos x="connsiteX2" y="connsiteY2"/>
                </a:cxn>
                <a:cxn ang="0">
                  <a:pos x="connsiteX3" y="connsiteY3"/>
                </a:cxn>
              </a:cxnLst>
              <a:rect l="l" t="t" r="r" b="b"/>
              <a:pathLst>
                <a:path w="25808" h="16392">
                  <a:moveTo>
                    <a:pt x="0" y="16393"/>
                  </a:moveTo>
                  <a:lnTo>
                    <a:pt x="25809" y="16393"/>
                  </a:lnTo>
                  <a:lnTo>
                    <a:pt x="25809" y="0"/>
                  </a:lnTo>
                  <a:lnTo>
                    <a:pt x="2666" y="0"/>
                  </a:lnTo>
                </a:path>
              </a:pathLst>
            </a:custGeom>
            <a:noFill/>
            <a:ln w="9525" cap="flat">
              <a:solidFill>
                <a:srgbClr val="FFFFFF"/>
              </a:solidFill>
              <a:prstDash val="solid"/>
              <a:round/>
            </a:ln>
          </p:spPr>
          <p:txBody>
            <a:bodyPr rtlCol="0" anchor="ctr"/>
            <a:lstStyle/>
            <a:p>
              <a:endParaRPr lang="sv-SE"/>
            </a:p>
          </p:txBody>
        </p:sp>
        <p:sp>
          <p:nvSpPr>
            <p:cNvPr id="406" name="Freeform 405">
              <a:extLst>
                <a:ext uri="{FF2B5EF4-FFF2-40B4-BE49-F238E27FC236}">
                  <a16:creationId xmlns:a16="http://schemas.microsoft.com/office/drawing/2014/main" id="{7D486A87-C85C-3C44-AB6B-0388D2B7B9F2}"/>
                </a:ext>
              </a:extLst>
            </p:cNvPr>
            <p:cNvSpPr/>
            <p:nvPr/>
          </p:nvSpPr>
          <p:spPr>
            <a:xfrm>
              <a:off x="6911867" y="353184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7" name="Freeform 406">
              <a:extLst>
                <a:ext uri="{FF2B5EF4-FFF2-40B4-BE49-F238E27FC236}">
                  <a16:creationId xmlns:a16="http://schemas.microsoft.com/office/drawing/2014/main" id="{A537C7C1-2B15-1E4A-A6D3-5741E616D102}"/>
                </a:ext>
              </a:extLst>
            </p:cNvPr>
            <p:cNvSpPr/>
            <p:nvPr/>
          </p:nvSpPr>
          <p:spPr>
            <a:xfrm>
              <a:off x="6911867" y="339271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8" name="Freeform 407">
              <a:extLst>
                <a:ext uri="{FF2B5EF4-FFF2-40B4-BE49-F238E27FC236}">
                  <a16:creationId xmlns:a16="http://schemas.microsoft.com/office/drawing/2014/main" id="{2246EA89-6A7C-6FFB-9AD1-07B89B7A6AEA}"/>
                </a:ext>
              </a:extLst>
            </p:cNvPr>
            <p:cNvSpPr/>
            <p:nvPr/>
          </p:nvSpPr>
          <p:spPr>
            <a:xfrm>
              <a:off x="6918277" y="3439619"/>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09" name="Freeform 408">
              <a:extLst>
                <a:ext uri="{FF2B5EF4-FFF2-40B4-BE49-F238E27FC236}">
                  <a16:creationId xmlns:a16="http://schemas.microsoft.com/office/drawing/2014/main" id="{4258760D-3E40-4805-9281-CCBA7B3FC6B9}"/>
                </a:ext>
              </a:extLst>
            </p:cNvPr>
            <p:cNvSpPr/>
            <p:nvPr/>
          </p:nvSpPr>
          <p:spPr>
            <a:xfrm>
              <a:off x="6918277" y="3485280"/>
              <a:ext cx="11854" cy="5672"/>
            </a:xfrm>
            <a:custGeom>
              <a:avLst/>
              <a:gdLst>
                <a:gd name="connsiteX0" fmla="*/ 0 w 11854"/>
                <a:gd name="connsiteY0" fmla="*/ 0 h 5672"/>
                <a:gd name="connsiteX1" fmla="*/ 11855 w 11854"/>
                <a:gd name="connsiteY1" fmla="*/ 0 h 5672"/>
              </a:gdLst>
              <a:ahLst/>
              <a:cxnLst>
                <a:cxn ang="0">
                  <a:pos x="connsiteX0" y="connsiteY0"/>
                </a:cxn>
                <a:cxn ang="0">
                  <a:pos x="connsiteX1" y="connsiteY1"/>
                </a:cxn>
              </a:cxnLst>
              <a:rect l="l" t="t" r="r" b="b"/>
              <a:pathLst>
                <a:path w="11854" h="5672">
                  <a:moveTo>
                    <a:pt x="0" y="0"/>
                  </a:moveTo>
                  <a:lnTo>
                    <a:pt x="11855" y="0"/>
                  </a:lnTo>
                </a:path>
              </a:pathLst>
            </a:custGeom>
            <a:ln w="9525" cap="flat">
              <a:solidFill>
                <a:srgbClr val="FFFFFF"/>
              </a:solidFill>
              <a:prstDash val="solid"/>
              <a:round/>
            </a:ln>
          </p:spPr>
          <p:txBody>
            <a:bodyPr rtlCol="0" anchor="ctr"/>
            <a:lstStyle/>
            <a:p>
              <a:endParaRPr lang="sv-SE"/>
            </a:p>
          </p:txBody>
        </p:sp>
        <p:sp>
          <p:nvSpPr>
            <p:cNvPr id="410" name="Freeform 409">
              <a:extLst>
                <a:ext uri="{FF2B5EF4-FFF2-40B4-BE49-F238E27FC236}">
                  <a16:creationId xmlns:a16="http://schemas.microsoft.com/office/drawing/2014/main" id="{706329AA-FFDA-10AE-C867-2D2A4CFF6E03}"/>
                </a:ext>
              </a:extLst>
            </p:cNvPr>
            <p:cNvSpPr/>
            <p:nvPr/>
          </p:nvSpPr>
          <p:spPr>
            <a:xfrm>
              <a:off x="6207151" y="3392710"/>
              <a:ext cx="642775" cy="0"/>
            </a:xfrm>
            <a:custGeom>
              <a:avLst/>
              <a:gdLst>
                <a:gd name="connsiteX0" fmla="*/ 0 w 642775"/>
                <a:gd name="connsiteY0" fmla="*/ 0 h 5672"/>
                <a:gd name="connsiteX1" fmla="*/ 642776 w 642775"/>
                <a:gd name="connsiteY1" fmla="*/ 0 h 5672"/>
              </a:gdLst>
              <a:ahLst/>
              <a:cxnLst>
                <a:cxn ang="0">
                  <a:pos x="connsiteX0" y="connsiteY0"/>
                </a:cxn>
                <a:cxn ang="0">
                  <a:pos x="connsiteX1" y="connsiteY1"/>
                </a:cxn>
              </a:cxnLst>
              <a:rect l="l" t="t" r="r" b="b"/>
              <a:pathLst>
                <a:path w="642775" h="5672">
                  <a:moveTo>
                    <a:pt x="0" y="0"/>
                  </a:moveTo>
                  <a:lnTo>
                    <a:pt x="642776" y="0"/>
                  </a:lnTo>
                </a:path>
              </a:pathLst>
            </a:custGeom>
            <a:ln w="9525" cap="flat">
              <a:solidFill>
                <a:srgbClr val="FFFFFF"/>
              </a:solidFill>
              <a:prstDash val="solid"/>
              <a:miter/>
            </a:ln>
          </p:spPr>
          <p:txBody>
            <a:bodyPr rtlCol="0" anchor="ctr"/>
            <a:lstStyle/>
            <a:p>
              <a:endParaRPr lang="sv-SE"/>
            </a:p>
          </p:txBody>
        </p:sp>
        <p:sp>
          <p:nvSpPr>
            <p:cNvPr id="411" name="Freeform 410">
              <a:extLst>
                <a:ext uri="{FF2B5EF4-FFF2-40B4-BE49-F238E27FC236}">
                  <a16:creationId xmlns:a16="http://schemas.microsoft.com/office/drawing/2014/main" id="{E09C37A7-9835-CCC7-FD80-FB7C9DDA2135}"/>
                </a:ext>
              </a:extLst>
            </p:cNvPr>
            <p:cNvSpPr/>
            <p:nvPr/>
          </p:nvSpPr>
          <p:spPr>
            <a:xfrm>
              <a:off x="6204655" y="3531849"/>
              <a:ext cx="645271" cy="0"/>
            </a:xfrm>
            <a:custGeom>
              <a:avLst/>
              <a:gdLst>
                <a:gd name="connsiteX0" fmla="*/ 0 w 645271"/>
                <a:gd name="connsiteY0" fmla="*/ 0 h 5672"/>
                <a:gd name="connsiteX1" fmla="*/ 645271 w 645271"/>
                <a:gd name="connsiteY1" fmla="*/ 0 h 5672"/>
              </a:gdLst>
              <a:ahLst/>
              <a:cxnLst>
                <a:cxn ang="0">
                  <a:pos x="connsiteX0" y="connsiteY0"/>
                </a:cxn>
                <a:cxn ang="0">
                  <a:pos x="connsiteX1" y="connsiteY1"/>
                </a:cxn>
              </a:cxnLst>
              <a:rect l="l" t="t" r="r" b="b"/>
              <a:pathLst>
                <a:path w="645271" h="5672">
                  <a:moveTo>
                    <a:pt x="0" y="0"/>
                  </a:moveTo>
                  <a:lnTo>
                    <a:pt x="645271" y="0"/>
                  </a:lnTo>
                </a:path>
              </a:pathLst>
            </a:custGeom>
            <a:ln w="9525" cap="flat">
              <a:solidFill>
                <a:srgbClr val="FFFFFF"/>
              </a:solidFill>
              <a:prstDash val="solid"/>
              <a:miter/>
            </a:ln>
          </p:spPr>
          <p:txBody>
            <a:bodyPr rtlCol="0" anchor="ctr"/>
            <a:lstStyle/>
            <a:p>
              <a:endParaRPr lang="sv-SE"/>
            </a:p>
          </p:txBody>
        </p:sp>
        <p:sp>
          <p:nvSpPr>
            <p:cNvPr id="412" name="Freeform 411">
              <a:extLst>
                <a:ext uri="{FF2B5EF4-FFF2-40B4-BE49-F238E27FC236}">
                  <a16:creationId xmlns:a16="http://schemas.microsoft.com/office/drawing/2014/main" id="{4F3E9464-DACF-DAEF-212E-55D11E0F8783}"/>
                </a:ext>
              </a:extLst>
            </p:cNvPr>
            <p:cNvSpPr/>
            <p:nvPr/>
          </p:nvSpPr>
          <p:spPr>
            <a:xfrm>
              <a:off x="6196657" y="3356975"/>
              <a:ext cx="662401" cy="211119"/>
            </a:xfrm>
            <a:custGeom>
              <a:avLst/>
              <a:gdLst>
                <a:gd name="connsiteX0" fmla="*/ 612089 w 662401"/>
                <a:gd name="connsiteY0" fmla="*/ 211120 h 211119"/>
                <a:gd name="connsiteX1" fmla="*/ 629673 w 662401"/>
                <a:gd name="connsiteY1" fmla="*/ 211120 h 211119"/>
                <a:gd name="connsiteX2" fmla="*/ 662401 w 662401"/>
                <a:gd name="connsiteY2" fmla="*/ 105560 h 211119"/>
                <a:gd name="connsiteX3" fmla="*/ 629673 w 662401"/>
                <a:gd name="connsiteY3" fmla="*/ 0 h 211119"/>
                <a:gd name="connsiteX4" fmla="*/ 32728 w 662401"/>
                <a:gd name="connsiteY4" fmla="*/ 0 h 211119"/>
                <a:gd name="connsiteX5" fmla="*/ 0 w 662401"/>
                <a:gd name="connsiteY5" fmla="*/ 105560 h 211119"/>
                <a:gd name="connsiteX6" fmla="*/ 32728 w 662401"/>
                <a:gd name="connsiteY6" fmla="*/ 211120 h 211119"/>
                <a:gd name="connsiteX7" fmla="*/ 612089 w 662401"/>
                <a:gd name="connsiteY7" fmla="*/ 211120 h 21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01" h="211119">
                  <a:moveTo>
                    <a:pt x="612089" y="211120"/>
                  </a:moveTo>
                  <a:lnTo>
                    <a:pt x="629673" y="211120"/>
                  </a:lnTo>
                  <a:cubicBezTo>
                    <a:pt x="647824" y="211120"/>
                    <a:pt x="662401" y="163870"/>
                    <a:pt x="662401" y="105560"/>
                  </a:cubicBezTo>
                  <a:cubicBezTo>
                    <a:pt x="662401" y="47249"/>
                    <a:pt x="647711" y="0"/>
                    <a:pt x="629673" y="0"/>
                  </a:cubicBezTo>
                  <a:lnTo>
                    <a:pt x="32728" y="0"/>
                  </a:lnTo>
                  <a:cubicBezTo>
                    <a:pt x="14691" y="0"/>
                    <a:pt x="0" y="47249"/>
                    <a:pt x="0" y="105560"/>
                  </a:cubicBezTo>
                  <a:cubicBezTo>
                    <a:pt x="0" y="163870"/>
                    <a:pt x="14634" y="211120"/>
                    <a:pt x="32728" y="211120"/>
                  </a:cubicBezTo>
                  <a:lnTo>
                    <a:pt x="612089" y="211120"/>
                  </a:lnTo>
                  <a:close/>
                </a:path>
              </a:pathLst>
            </a:custGeom>
            <a:noFill/>
            <a:ln w="9525" cap="flat">
              <a:solidFill>
                <a:srgbClr val="FFFFFF"/>
              </a:solidFill>
              <a:prstDash val="solid"/>
              <a:round/>
            </a:ln>
          </p:spPr>
          <p:txBody>
            <a:bodyPr rtlCol="0" anchor="ctr"/>
            <a:lstStyle/>
            <a:p>
              <a:endParaRPr lang="sv-SE"/>
            </a:p>
          </p:txBody>
        </p:sp>
      </p:grpSp>
      <p:grpSp>
        <p:nvGrpSpPr>
          <p:cNvPr id="452" name="Group 451">
            <a:extLst>
              <a:ext uri="{FF2B5EF4-FFF2-40B4-BE49-F238E27FC236}">
                <a16:creationId xmlns:a16="http://schemas.microsoft.com/office/drawing/2014/main" id="{D827D54B-8A9F-3992-1A1F-70AA475D86A8}"/>
              </a:ext>
            </a:extLst>
          </p:cNvPr>
          <p:cNvGrpSpPr/>
          <p:nvPr/>
        </p:nvGrpSpPr>
        <p:grpSpPr>
          <a:xfrm>
            <a:off x="5915883" y="3206831"/>
            <a:ext cx="554288" cy="484861"/>
            <a:chOff x="5915883" y="3206831"/>
            <a:chExt cx="554288" cy="484861"/>
          </a:xfrm>
        </p:grpSpPr>
        <p:sp>
          <p:nvSpPr>
            <p:cNvPr id="413" name="Freeform 412">
              <a:extLst>
                <a:ext uri="{FF2B5EF4-FFF2-40B4-BE49-F238E27FC236}">
                  <a16:creationId xmlns:a16="http://schemas.microsoft.com/office/drawing/2014/main" id="{17DF2E28-BABD-23CF-19BE-752A81193F11}"/>
                </a:ext>
              </a:extLst>
            </p:cNvPr>
            <p:cNvSpPr/>
            <p:nvPr/>
          </p:nvSpPr>
          <p:spPr>
            <a:xfrm>
              <a:off x="5915883" y="3206831"/>
              <a:ext cx="554288" cy="484861"/>
            </a:xfrm>
            <a:custGeom>
              <a:avLst/>
              <a:gdLst>
                <a:gd name="connsiteX0" fmla="*/ 113217 w 554288"/>
                <a:gd name="connsiteY0" fmla="*/ 0 h 484861"/>
                <a:gd name="connsiteX1" fmla="*/ 0 w 554288"/>
                <a:gd name="connsiteY1" fmla="*/ 95463 h 484861"/>
                <a:gd name="connsiteX2" fmla="*/ 0 w 554288"/>
                <a:gd name="connsiteY2" fmla="*/ 484861 h 484861"/>
                <a:gd name="connsiteX3" fmla="*/ 554289 w 554288"/>
                <a:gd name="connsiteY3" fmla="*/ 484861 h 484861"/>
                <a:gd name="connsiteX4" fmla="*/ 554289 w 554288"/>
                <a:gd name="connsiteY4" fmla="*/ 0 h 484861"/>
                <a:gd name="connsiteX5" fmla="*/ 113217 w 554288"/>
                <a:gd name="connsiteY5" fmla="*/ 0 h 4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288" h="484861">
                  <a:moveTo>
                    <a:pt x="113217" y="0"/>
                  </a:moveTo>
                  <a:lnTo>
                    <a:pt x="0" y="95463"/>
                  </a:lnTo>
                  <a:lnTo>
                    <a:pt x="0" y="484861"/>
                  </a:lnTo>
                  <a:lnTo>
                    <a:pt x="554289" y="484861"/>
                  </a:lnTo>
                  <a:lnTo>
                    <a:pt x="554289" y="0"/>
                  </a:lnTo>
                  <a:lnTo>
                    <a:pt x="113217" y="0"/>
                  </a:lnTo>
                  <a:close/>
                </a:path>
              </a:pathLst>
            </a:custGeom>
            <a:solidFill>
              <a:srgbClr val="FFFFFF"/>
            </a:solidFill>
            <a:ln w="11341" cap="flat">
              <a:solidFill>
                <a:srgbClr val="FFFFFF"/>
              </a:solidFill>
              <a:prstDash val="solid"/>
              <a:miter/>
            </a:ln>
          </p:spPr>
          <p:txBody>
            <a:bodyPr rtlCol="0" anchor="ctr"/>
            <a:lstStyle/>
            <a:p>
              <a:endParaRPr lang="sv-SE"/>
            </a:p>
          </p:txBody>
        </p:sp>
        <p:grpSp>
          <p:nvGrpSpPr>
            <p:cNvPr id="446" name="Group 445">
              <a:extLst>
                <a:ext uri="{FF2B5EF4-FFF2-40B4-BE49-F238E27FC236}">
                  <a16:creationId xmlns:a16="http://schemas.microsoft.com/office/drawing/2014/main" id="{7A5B8551-46E9-45EF-2C51-311291929EF3}"/>
                </a:ext>
              </a:extLst>
            </p:cNvPr>
            <p:cNvGrpSpPr/>
            <p:nvPr/>
          </p:nvGrpSpPr>
          <p:grpSpPr>
            <a:xfrm>
              <a:off x="6017472" y="3291120"/>
              <a:ext cx="363929" cy="342715"/>
              <a:chOff x="6017472" y="3291120"/>
              <a:chExt cx="363929" cy="342715"/>
            </a:xfrm>
          </p:grpSpPr>
          <p:sp>
            <p:nvSpPr>
              <p:cNvPr id="414" name="Freeform 413">
                <a:extLst>
                  <a:ext uri="{FF2B5EF4-FFF2-40B4-BE49-F238E27FC236}">
                    <a16:creationId xmlns:a16="http://schemas.microsoft.com/office/drawing/2014/main" id="{9F2195B1-7197-723A-3EDF-3D739195FA01}"/>
                  </a:ext>
                </a:extLst>
              </p:cNvPr>
              <p:cNvSpPr/>
              <p:nvPr/>
            </p:nvSpPr>
            <p:spPr>
              <a:xfrm>
                <a:off x="63814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5" name="Freeform 414">
                <a:extLst>
                  <a:ext uri="{FF2B5EF4-FFF2-40B4-BE49-F238E27FC236}">
                    <a16:creationId xmlns:a16="http://schemas.microsoft.com/office/drawing/2014/main" id="{3C948184-82E0-2346-B5F5-FECC0E2EA1DC}"/>
                  </a:ext>
                </a:extLst>
              </p:cNvPr>
              <p:cNvSpPr/>
              <p:nvPr/>
            </p:nvSpPr>
            <p:spPr>
              <a:xfrm>
                <a:off x="6320765"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6" name="Freeform 415">
                <a:extLst>
                  <a:ext uri="{FF2B5EF4-FFF2-40B4-BE49-F238E27FC236}">
                    <a16:creationId xmlns:a16="http://schemas.microsoft.com/office/drawing/2014/main" id="{53766227-F453-E27D-1A88-0A670574443B}"/>
                  </a:ext>
                </a:extLst>
              </p:cNvPr>
              <p:cNvSpPr/>
              <p:nvPr/>
            </p:nvSpPr>
            <p:spPr>
              <a:xfrm>
                <a:off x="6260129"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7" name="Freeform 416">
                <a:extLst>
                  <a:ext uri="{FF2B5EF4-FFF2-40B4-BE49-F238E27FC236}">
                    <a16:creationId xmlns:a16="http://schemas.microsoft.com/office/drawing/2014/main" id="{232BAD69-8331-1A8E-7FD4-C3F3FF3B8651}"/>
                  </a:ext>
                </a:extLst>
              </p:cNvPr>
              <p:cNvSpPr/>
              <p:nvPr/>
            </p:nvSpPr>
            <p:spPr>
              <a:xfrm>
                <a:off x="6199437"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8" name="Freeform 417">
                <a:extLst>
                  <a:ext uri="{FF2B5EF4-FFF2-40B4-BE49-F238E27FC236}">
                    <a16:creationId xmlns:a16="http://schemas.microsoft.com/office/drawing/2014/main" id="{ADFBAAEA-9025-F60B-E563-FFD322208BF1}"/>
                  </a:ext>
                </a:extLst>
              </p:cNvPr>
              <p:cNvSpPr/>
              <p:nvPr/>
            </p:nvSpPr>
            <p:spPr>
              <a:xfrm>
                <a:off x="6138801"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19" name="Freeform 418">
                <a:extLst>
                  <a:ext uri="{FF2B5EF4-FFF2-40B4-BE49-F238E27FC236}">
                    <a16:creationId xmlns:a16="http://schemas.microsoft.com/office/drawing/2014/main" id="{024ECD57-FA0D-BC26-B4BE-4138BCA38CDF}"/>
                  </a:ext>
                </a:extLst>
              </p:cNvPr>
              <p:cNvSpPr/>
              <p:nvPr/>
            </p:nvSpPr>
            <p:spPr>
              <a:xfrm>
                <a:off x="6078108"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sp>
            <p:nvSpPr>
              <p:cNvPr id="420" name="Freeform 419">
                <a:extLst>
                  <a:ext uri="{FF2B5EF4-FFF2-40B4-BE49-F238E27FC236}">
                    <a16:creationId xmlns:a16="http://schemas.microsoft.com/office/drawing/2014/main" id="{2A0C280A-7DA7-5FB2-2192-25543A1EAF24}"/>
                  </a:ext>
                </a:extLst>
              </p:cNvPr>
              <p:cNvSpPr/>
              <p:nvPr/>
            </p:nvSpPr>
            <p:spPr>
              <a:xfrm>
                <a:off x="6017472" y="3291120"/>
                <a:ext cx="0" cy="342715"/>
              </a:xfrm>
              <a:custGeom>
                <a:avLst/>
                <a:gdLst>
                  <a:gd name="connsiteX0" fmla="*/ 0 w 5672"/>
                  <a:gd name="connsiteY0" fmla="*/ 0 h 342715"/>
                  <a:gd name="connsiteX1" fmla="*/ 0 w 5672"/>
                  <a:gd name="connsiteY1" fmla="*/ 342715 h 342715"/>
                </a:gdLst>
                <a:ahLst/>
                <a:cxnLst>
                  <a:cxn ang="0">
                    <a:pos x="connsiteX0" y="connsiteY0"/>
                  </a:cxn>
                  <a:cxn ang="0">
                    <a:pos x="connsiteX1" y="connsiteY1"/>
                  </a:cxn>
                </a:cxnLst>
                <a:rect l="l" t="t" r="r" b="b"/>
                <a:pathLst>
                  <a:path w="5672" h="342715">
                    <a:moveTo>
                      <a:pt x="0" y="0"/>
                    </a:moveTo>
                    <a:lnTo>
                      <a:pt x="0" y="342715"/>
                    </a:lnTo>
                  </a:path>
                </a:pathLst>
              </a:custGeom>
              <a:ln w="12700" cap="flat">
                <a:solidFill>
                  <a:srgbClr val="0046AD"/>
                </a:solidFill>
                <a:prstDash val="solid"/>
                <a:miter/>
              </a:ln>
            </p:spPr>
            <p:txBody>
              <a:bodyPr rtlCol="0" anchor="ctr"/>
              <a:lstStyle/>
              <a:p>
                <a:endParaRPr lang="sv-SE"/>
              </a:p>
            </p:txBody>
          </p:sp>
        </p:grpSp>
      </p:grpSp>
      <p:sp>
        <p:nvSpPr>
          <p:cNvPr id="458" name="Title 457">
            <a:extLst>
              <a:ext uri="{FF2B5EF4-FFF2-40B4-BE49-F238E27FC236}">
                <a16:creationId xmlns:a16="http://schemas.microsoft.com/office/drawing/2014/main" id="{2EB82BFF-7E6B-01EE-2CF3-05CB1146E229}"/>
              </a:ext>
            </a:extLst>
          </p:cNvPr>
          <p:cNvSpPr>
            <a:spLocks noGrp="1"/>
          </p:cNvSpPr>
          <p:nvPr>
            <p:ph type="title"/>
          </p:nvPr>
        </p:nvSpPr>
        <p:spPr>
          <a:xfrm>
            <a:off x="546100" y="752400"/>
            <a:ext cx="11095038" cy="1356708"/>
          </a:xfrm>
        </p:spPr>
        <p:txBody>
          <a:bodyPr/>
          <a:lstStyle/>
          <a:p>
            <a:r>
              <a:rPr lang="sv-SE" dirty="0">
                <a:solidFill>
                  <a:schemeClr val="bg1"/>
                </a:solidFill>
              </a:rPr>
              <a:t>Flexibilitet i processen</a:t>
            </a:r>
          </a:p>
        </p:txBody>
      </p:sp>
      <p:sp>
        <p:nvSpPr>
          <p:cNvPr id="3" name="!!Mask">
            <a:extLst>
              <a:ext uri="{FF2B5EF4-FFF2-40B4-BE49-F238E27FC236}">
                <a16:creationId xmlns:a16="http://schemas.microsoft.com/office/drawing/2014/main" id="{FB31D534-A5DF-2E9E-F425-B8D4251CAFB3}"/>
              </a:ext>
            </a:extLst>
          </p:cNvPr>
          <p:cNvSpPr>
            <a:spLocks noGrp="1" noRot="1" noMove="1" noResize="1" noEditPoints="1" noAdjustHandles="1" noChangeArrowheads="1" noChangeShapeType="1"/>
          </p:cNvSpPr>
          <p:nvPr/>
        </p:nvSpPr>
        <p:spPr>
          <a:xfrm>
            <a:off x="-9230138" y="-5814391"/>
            <a:ext cx="30652278" cy="18486783"/>
          </a:xfrm>
          <a:custGeom>
            <a:avLst/>
            <a:gdLst>
              <a:gd name="connsiteX0" fmla="*/ 9086052 w 30652278"/>
              <a:gd name="connsiteY0" fmla="*/ 5733342 h 18486783"/>
              <a:gd name="connsiteX1" fmla="*/ 9086052 w 30652278"/>
              <a:gd name="connsiteY1" fmla="*/ 12753440 h 18486783"/>
              <a:gd name="connsiteX2" fmla="*/ 21566225 w 30652278"/>
              <a:gd name="connsiteY2" fmla="*/ 12753440 h 18486783"/>
              <a:gd name="connsiteX3" fmla="*/ 21566225 w 30652278"/>
              <a:gd name="connsiteY3" fmla="*/ 5733342 h 18486783"/>
              <a:gd name="connsiteX4" fmla="*/ 0 w 30652278"/>
              <a:gd name="connsiteY4" fmla="*/ 0 h 18486783"/>
              <a:gd name="connsiteX5" fmla="*/ 30652278 w 30652278"/>
              <a:gd name="connsiteY5" fmla="*/ 0 h 18486783"/>
              <a:gd name="connsiteX6" fmla="*/ 30652278 w 30652278"/>
              <a:gd name="connsiteY6" fmla="*/ 18486783 h 18486783"/>
              <a:gd name="connsiteX7" fmla="*/ 0 w 30652278"/>
              <a:gd name="connsiteY7" fmla="*/ 18486783 h 1848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52278" h="18486783">
                <a:moveTo>
                  <a:pt x="9086052" y="5733342"/>
                </a:moveTo>
                <a:lnTo>
                  <a:pt x="9086052" y="12753440"/>
                </a:lnTo>
                <a:lnTo>
                  <a:pt x="21566225" y="12753440"/>
                </a:lnTo>
                <a:lnTo>
                  <a:pt x="21566225" y="5733342"/>
                </a:lnTo>
                <a:close/>
                <a:moveTo>
                  <a:pt x="0" y="0"/>
                </a:moveTo>
                <a:lnTo>
                  <a:pt x="30652278" y="0"/>
                </a:lnTo>
                <a:lnTo>
                  <a:pt x="30652278" y="18486783"/>
                </a:lnTo>
                <a:lnTo>
                  <a:pt x="0" y="18486783"/>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Tree>
    <p:extLst>
      <p:ext uri="{BB962C8B-B14F-4D97-AF65-F5344CB8AC3E}">
        <p14:creationId xmlns:p14="http://schemas.microsoft.com/office/powerpoint/2010/main" val="260942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8"/>
                                        </p:tgtEl>
                                        <p:attrNameLst>
                                          <p:attrName>style.visibility</p:attrName>
                                        </p:attrNameLst>
                                      </p:cBhvr>
                                      <p:to>
                                        <p:strVal val="visible"/>
                                      </p:to>
                                    </p:set>
                                    <p:animEffect transition="in" filter="fade">
                                      <p:cBhvr>
                                        <p:cTn id="10" dur="500"/>
                                        <p:tgtEl>
                                          <p:spTgt spid="45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3"/>
                                        </p:tgtEl>
                                        <p:attrNameLst>
                                          <p:attrName>style.visibility</p:attrName>
                                        </p:attrNameLst>
                                      </p:cBhvr>
                                      <p:to>
                                        <p:strVal val="visible"/>
                                      </p:to>
                                    </p:set>
                                    <p:animEffect transition="in" filter="fade">
                                      <p:cBhvr>
                                        <p:cTn id="14" dur="500"/>
                                        <p:tgtEl>
                                          <p:spTgt spid="143"/>
                                        </p:tgtEl>
                                      </p:cBhvr>
                                    </p:animEffect>
                                  </p:childTnLst>
                                </p:cTn>
                              </p:par>
                              <p:par>
                                <p:cTn id="15" presetID="10" presetClass="entr" presetSubtype="0" fill="hold" nodeType="withEffect">
                                  <p:stCondLst>
                                    <p:cond delay="0"/>
                                  </p:stCondLst>
                                  <p:childTnLst>
                                    <p:set>
                                      <p:cBhvr>
                                        <p:cTn id="16" dur="1" fill="hold">
                                          <p:stCondLst>
                                            <p:cond delay="0"/>
                                          </p:stCondLst>
                                        </p:cTn>
                                        <p:tgtEl>
                                          <p:spTgt spid="148"/>
                                        </p:tgtEl>
                                        <p:attrNameLst>
                                          <p:attrName>style.visibility</p:attrName>
                                        </p:attrNameLst>
                                      </p:cBhvr>
                                      <p:to>
                                        <p:strVal val="visible"/>
                                      </p:to>
                                    </p:set>
                                    <p:animEffect transition="in" filter="fade">
                                      <p:cBhvr>
                                        <p:cTn id="17" dur="500"/>
                                        <p:tgtEl>
                                          <p:spTgt spid="148"/>
                                        </p:tgtEl>
                                      </p:cBhvr>
                                    </p:animEffect>
                                  </p:childTnLst>
                                </p:cTn>
                              </p:par>
                              <p:par>
                                <p:cTn id="18" presetID="10" presetClass="entr" presetSubtype="0" fill="hold" nodeType="withEffect">
                                  <p:stCondLst>
                                    <p:cond delay="0"/>
                                  </p:stCondLst>
                                  <p:childTnLst>
                                    <p:set>
                                      <p:cBhvr>
                                        <p:cTn id="19" dur="1" fill="hold">
                                          <p:stCondLst>
                                            <p:cond delay="0"/>
                                          </p:stCondLst>
                                        </p:cTn>
                                        <p:tgtEl>
                                          <p:spTgt spid="150"/>
                                        </p:tgtEl>
                                        <p:attrNameLst>
                                          <p:attrName>style.visibility</p:attrName>
                                        </p:attrNameLst>
                                      </p:cBhvr>
                                      <p:to>
                                        <p:strVal val="visible"/>
                                      </p:to>
                                    </p:set>
                                    <p:animEffect transition="in" filter="fade">
                                      <p:cBhvr>
                                        <p:cTn id="20" dur="500"/>
                                        <p:tgtEl>
                                          <p:spTgt spid="15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1"/>
                                        </p:tgtEl>
                                        <p:attrNameLst>
                                          <p:attrName>style.visibility</p:attrName>
                                        </p:attrNameLst>
                                      </p:cBhvr>
                                      <p:to>
                                        <p:strVal val="visible"/>
                                      </p:to>
                                    </p:set>
                                    <p:animEffect transition="in" filter="fade">
                                      <p:cBhvr>
                                        <p:cTn id="23" dur="500"/>
                                        <p:tgtEl>
                                          <p:spTgt spid="15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par>
                          <p:cTn id="27" fill="hold">
                            <p:stCondLst>
                              <p:cond delay="1000"/>
                            </p:stCondLst>
                            <p:childTnLst>
                              <p:par>
                                <p:cTn id="28" presetID="22" presetClass="entr" presetSubtype="1" fill="hold" nodeType="afterEffect">
                                  <p:stCondLst>
                                    <p:cond delay="0"/>
                                  </p:stCondLst>
                                  <p:childTnLst>
                                    <p:set>
                                      <p:cBhvr>
                                        <p:cTn id="29" dur="1" fill="hold">
                                          <p:stCondLst>
                                            <p:cond delay="0"/>
                                          </p:stCondLst>
                                        </p:cTn>
                                        <p:tgtEl>
                                          <p:spTgt spid="369"/>
                                        </p:tgtEl>
                                        <p:attrNameLst>
                                          <p:attrName>style.visibility</p:attrName>
                                        </p:attrNameLst>
                                      </p:cBhvr>
                                      <p:to>
                                        <p:strVal val="visible"/>
                                      </p:to>
                                    </p:set>
                                    <p:animEffect transition="in" filter="wipe(up)">
                                      <p:cBhvr>
                                        <p:cTn id="30" dur="500"/>
                                        <p:tgtEl>
                                          <p:spTgt spid="369"/>
                                        </p:tgtEl>
                                      </p:cBhvr>
                                    </p:animEffect>
                                  </p:childTnLst>
                                </p:cTn>
                              </p:par>
                              <p:par>
                                <p:cTn id="31" presetID="22" presetClass="entr" presetSubtype="2" fill="hold" nodeType="withEffect">
                                  <p:stCondLst>
                                    <p:cond delay="0"/>
                                  </p:stCondLst>
                                  <p:childTnLst>
                                    <p:set>
                                      <p:cBhvr>
                                        <p:cTn id="32" dur="1" fill="hold">
                                          <p:stCondLst>
                                            <p:cond delay="0"/>
                                          </p:stCondLst>
                                        </p:cTn>
                                        <p:tgtEl>
                                          <p:spTgt spid="368"/>
                                        </p:tgtEl>
                                        <p:attrNameLst>
                                          <p:attrName>style.visibility</p:attrName>
                                        </p:attrNameLst>
                                      </p:cBhvr>
                                      <p:to>
                                        <p:strVal val="visible"/>
                                      </p:to>
                                    </p:set>
                                    <p:animEffect transition="in" filter="wipe(right)">
                                      <p:cBhvr>
                                        <p:cTn id="33" dur="500"/>
                                        <p:tgtEl>
                                          <p:spTgt spid="368"/>
                                        </p:tgtEl>
                                      </p:cBhvr>
                                    </p:animEffect>
                                  </p:childTnLst>
                                </p:cTn>
                              </p:par>
                              <p:par>
                                <p:cTn id="34" presetID="22" presetClass="entr" presetSubtype="1" fill="hold" nodeType="withEffect">
                                  <p:stCondLst>
                                    <p:cond delay="0"/>
                                  </p:stCondLst>
                                  <p:childTnLst>
                                    <p:set>
                                      <p:cBhvr>
                                        <p:cTn id="35" dur="1" fill="hold">
                                          <p:stCondLst>
                                            <p:cond delay="0"/>
                                          </p:stCondLst>
                                        </p:cTn>
                                        <p:tgtEl>
                                          <p:spTgt spid="371"/>
                                        </p:tgtEl>
                                        <p:attrNameLst>
                                          <p:attrName>style.visibility</p:attrName>
                                        </p:attrNameLst>
                                      </p:cBhvr>
                                      <p:to>
                                        <p:strVal val="visible"/>
                                      </p:to>
                                    </p:set>
                                    <p:animEffect transition="in" filter="wipe(up)">
                                      <p:cBhvr>
                                        <p:cTn id="36" dur="500"/>
                                        <p:tgtEl>
                                          <p:spTgt spid="371"/>
                                        </p:tgtEl>
                                      </p:cBhvr>
                                    </p:animEffect>
                                  </p:childTnLst>
                                </p:cTn>
                              </p:par>
                              <p:par>
                                <p:cTn id="37" presetID="22" presetClass="entr" presetSubtype="8" fill="hold" nodeType="withEffect">
                                  <p:stCondLst>
                                    <p:cond delay="0"/>
                                  </p:stCondLst>
                                  <p:childTnLst>
                                    <p:set>
                                      <p:cBhvr>
                                        <p:cTn id="38" dur="1" fill="hold">
                                          <p:stCondLst>
                                            <p:cond delay="0"/>
                                          </p:stCondLst>
                                        </p:cTn>
                                        <p:tgtEl>
                                          <p:spTgt spid="448"/>
                                        </p:tgtEl>
                                        <p:attrNameLst>
                                          <p:attrName>style.visibility</p:attrName>
                                        </p:attrNameLst>
                                      </p:cBhvr>
                                      <p:to>
                                        <p:strVal val="visible"/>
                                      </p:to>
                                    </p:set>
                                    <p:animEffect transition="in" filter="wipe(left)">
                                      <p:cBhvr>
                                        <p:cTn id="39" dur="500"/>
                                        <p:tgtEl>
                                          <p:spTgt spid="448"/>
                                        </p:tgtEl>
                                      </p:cBhvr>
                                    </p:animEffect>
                                  </p:childTnLst>
                                </p:cTn>
                              </p:par>
                              <p:par>
                                <p:cTn id="40" presetID="18" presetClass="entr" presetSubtype="6" repeatCount="0" fill="hold" grpId="0" nodeType="withEffect">
                                  <p:stCondLst>
                                    <p:cond delay="0"/>
                                  </p:stCondLst>
                                  <p:childTnLst>
                                    <p:set>
                                      <p:cBhvr>
                                        <p:cTn id="41" dur="1" fill="hold">
                                          <p:stCondLst>
                                            <p:cond delay="0"/>
                                          </p:stCondLst>
                                        </p:cTn>
                                        <p:tgtEl>
                                          <p:spTgt spid="453"/>
                                        </p:tgtEl>
                                        <p:attrNameLst>
                                          <p:attrName>style.visibility</p:attrName>
                                        </p:attrNameLst>
                                      </p:cBhvr>
                                      <p:to>
                                        <p:strVal val="visible"/>
                                      </p:to>
                                    </p:set>
                                    <p:animEffect transition="in" filter="strips(downRight)">
                                      <p:cBhvr>
                                        <p:cTn id="42" dur="1000"/>
                                        <p:tgtEl>
                                          <p:spTgt spid="453"/>
                                        </p:tgtEl>
                                      </p:cBhvr>
                                    </p:animEffect>
                                  </p:childTnLst>
                                </p:cTn>
                              </p:par>
                              <p:par>
                                <p:cTn id="43" presetID="18" presetClass="exit" presetSubtype="9" fill="hold" grpId="1" nodeType="withEffect">
                                  <p:stCondLst>
                                    <p:cond delay="1000"/>
                                  </p:stCondLst>
                                  <p:childTnLst>
                                    <p:animEffect transition="out" filter="strips(upLeft)">
                                      <p:cBhvr>
                                        <p:cTn id="44" dur="1000"/>
                                        <p:tgtEl>
                                          <p:spTgt spid="453"/>
                                        </p:tgtEl>
                                      </p:cBhvr>
                                    </p:animEffect>
                                    <p:set>
                                      <p:cBhvr>
                                        <p:cTn id="45" dur="1" fill="hold">
                                          <p:stCondLst>
                                            <p:cond delay="999"/>
                                          </p:stCondLst>
                                        </p:cTn>
                                        <p:tgtEl>
                                          <p:spTgt spid="453"/>
                                        </p:tgtEl>
                                        <p:attrNameLst>
                                          <p:attrName>style.visibility</p:attrName>
                                        </p:attrNameLst>
                                      </p:cBhvr>
                                      <p:to>
                                        <p:strVal val="hidden"/>
                                      </p:to>
                                    </p:set>
                                  </p:childTnLst>
                                </p:cTn>
                              </p:par>
                              <p:par>
                                <p:cTn id="46" presetID="18" presetClass="entr" presetSubtype="6" fill="hold" grpId="2" nodeType="withEffect">
                                  <p:stCondLst>
                                    <p:cond delay="2000"/>
                                  </p:stCondLst>
                                  <p:childTnLst>
                                    <p:set>
                                      <p:cBhvr>
                                        <p:cTn id="47" dur="1" fill="hold">
                                          <p:stCondLst>
                                            <p:cond delay="0"/>
                                          </p:stCondLst>
                                        </p:cTn>
                                        <p:tgtEl>
                                          <p:spTgt spid="453"/>
                                        </p:tgtEl>
                                        <p:attrNameLst>
                                          <p:attrName>style.visibility</p:attrName>
                                        </p:attrNameLst>
                                      </p:cBhvr>
                                      <p:to>
                                        <p:strVal val="visible"/>
                                      </p:to>
                                    </p:set>
                                    <p:animEffect transition="in" filter="strips(downRight)">
                                      <p:cBhvr>
                                        <p:cTn id="48" dur="1000"/>
                                        <p:tgtEl>
                                          <p:spTgt spid="453"/>
                                        </p:tgtEl>
                                      </p:cBhvr>
                                    </p:animEffect>
                                  </p:childTnLst>
                                </p:cTn>
                              </p:par>
                              <p:par>
                                <p:cTn id="49" presetID="18" presetClass="exit" presetSubtype="9" fill="hold" grpId="3" nodeType="withEffect">
                                  <p:stCondLst>
                                    <p:cond delay="3000"/>
                                  </p:stCondLst>
                                  <p:childTnLst>
                                    <p:animEffect transition="out" filter="strips(upLeft)">
                                      <p:cBhvr>
                                        <p:cTn id="50" dur="1000"/>
                                        <p:tgtEl>
                                          <p:spTgt spid="453"/>
                                        </p:tgtEl>
                                      </p:cBhvr>
                                    </p:animEffect>
                                    <p:set>
                                      <p:cBhvr>
                                        <p:cTn id="51" dur="1" fill="hold">
                                          <p:stCondLst>
                                            <p:cond delay="999"/>
                                          </p:stCondLst>
                                        </p:cTn>
                                        <p:tgtEl>
                                          <p:spTgt spid="453"/>
                                        </p:tgtEl>
                                        <p:attrNameLst>
                                          <p:attrName>style.visibility</p:attrName>
                                        </p:attrNameLst>
                                      </p:cBhvr>
                                      <p:to>
                                        <p:strVal val="hidden"/>
                                      </p:to>
                                    </p:set>
                                  </p:childTnLst>
                                </p:cTn>
                              </p:par>
                              <p:par>
                                <p:cTn id="52" presetID="18" presetClass="entr" presetSubtype="6" fill="hold" grpId="4" nodeType="withEffect">
                                  <p:stCondLst>
                                    <p:cond delay="4000"/>
                                  </p:stCondLst>
                                  <p:childTnLst>
                                    <p:set>
                                      <p:cBhvr>
                                        <p:cTn id="53" dur="1" fill="hold">
                                          <p:stCondLst>
                                            <p:cond delay="0"/>
                                          </p:stCondLst>
                                        </p:cTn>
                                        <p:tgtEl>
                                          <p:spTgt spid="453"/>
                                        </p:tgtEl>
                                        <p:attrNameLst>
                                          <p:attrName>style.visibility</p:attrName>
                                        </p:attrNameLst>
                                      </p:cBhvr>
                                      <p:to>
                                        <p:strVal val="visible"/>
                                      </p:to>
                                    </p:set>
                                    <p:animEffect transition="in" filter="strips(downRight)">
                                      <p:cBhvr>
                                        <p:cTn id="54" dur="1000"/>
                                        <p:tgtEl>
                                          <p:spTgt spid="453"/>
                                        </p:tgtEl>
                                      </p:cBhvr>
                                    </p:animEffect>
                                  </p:childTnLst>
                                </p:cTn>
                              </p:par>
                              <p:par>
                                <p:cTn id="55" presetID="18" presetClass="exit" presetSubtype="9" fill="hold" grpId="5" nodeType="withEffect">
                                  <p:stCondLst>
                                    <p:cond delay="5000"/>
                                  </p:stCondLst>
                                  <p:childTnLst>
                                    <p:animEffect transition="out" filter="strips(upLeft)">
                                      <p:cBhvr>
                                        <p:cTn id="56" dur="1000"/>
                                        <p:tgtEl>
                                          <p:spTgt spid="453"/>
                                        </p:tgtEl>
                                      </p:cBhvr>
                                    </p:animEffect>
                                    <p:set>
                                      <p:cBhvr>
                                        <p:cTn id="57" dur="1" fill="hold">
                                          <p:stCondLst>
                                            <p:cond delay="999"/>
                                          </p:stCondLst>
                                        </p:cTn>
                                        <p:tgtEl>
                                          <p:spTgt spid="453"/>
                                        </p:tgtEl>
                                        <p:attrNameLst>
                                          <p:attrName>style.visibility</p:attrName>
                                        </p:attrNameLst>
                                      </p:cBhvr>
                                      <p:to>
                                        <p:strVal val="hidden"/>
                                      </p:to>
                                    </p:set>
                                  </p:childTnLst>
                                </p:cTn>
                              </p:par>
                              <p:par>
                                <p:cTn id="58" presetID="18" presetClass="entr" presetSubtype="6" fill="hold" grpId="6" nodeType="withEffect">
                                  <p:stCondLst>
                                    <p:cond delay="6000"/>
                                  </p:stCondLst>
                                  <p:childTnLst>
                                    <p:set>
                                      <p:cBhvr>
                                        <p:cTn id="59" dur="1" fill="hold">
                                          <p:stCondLst>
                                            <p:cond delay="0"/>
                                          </p:stCondLst>
                                        </p:cTn>
                                        <p:tgtEl>
                                          <p:spTgt spid="453"/>
                                        </p:tgtEl>
                                        <p:attrNameLst>
                                          <p:attrName>style.visibility</p:attrName>
                                        </p:attrNameLst>
                                      </p:cBhvr>
                                      <p:to>
                                        <p:strVal val="visible"/>
                                      </p:to>
                                    </p:set>
                                    <p:animEffect transition="in" filter="strips(downRight)">
                                      <p:cBhvr>
                                        <p:cTn id="60" dur="1000"/>
                                        <p:tgtEl>
                                          <p:spTgt spid="453"/>
                                        </p:tgtEl>
                                      </p:cBhvr>
                                    </p:animEffect>
                                  </p:childTnLst>
                                </p:cTn>
                              </p:par>
                              <p:par>
                                <p:cTn id="61" presetID="18" presetClass="exit" presetSubtype="9" fill="hold" grpId="7" nodeType="withEffect">
                                  <p:stCondLst>
                                    <p:cond delay="7000"/>
                                  </p:stCondLst>
                                  <p:childTnLst>
                                    <p:animEffect transition="out" filter="strips(upLeft)">
                                      <p:cBhvr>
                                        <p:cTn id="62" dur="1000"/>
                                        <p:tgtEl>
                                          <p:spTgt spid="453"/>
                                        </p:tgtEl>
                                      </p:cBhvr>
                                    </p:animEffect>
                                    <p:set>
                                      <p:cBhvr>
                                        <p:cTn id="63" dur="1" fill="hold">
                                          <p:stCondLst>
                                            <p:cond delay="999"/>
                                          </p:stCondLst>
                                        </p:cTn>
                                        <p:tgtEl>
                                          <p:spTgt spid="453"/>
                                        </p:tgtEl>
                                        <p:attrNameLst>
                                          <p:attrName>style.visibility</p:attrName>
                                        </p:attrNameLst>
                                      </p:cBhvr>
                                      <p:to>
                                        <p:strVal val="hidden"/>
                                      </p:to>
                                    </p:set>
                                  </p:childTnLst>
                                </p:cTn>
                              </p:par>
                              <p:par>
                                <p:cTn id="64" presetID="18" presetClass="entr" presetSubtype="6" fill="hold" grpId="8" nodeType="withEffect">
                                  <p:stCondLst>
                                    <p:cond delay="8000"/>
                                  </p:stCondLst>
                                  <p:childTnLst>
                                    <p:set>
                                      <p:cBhvr>
                                        <p:cTn id="65" dur="1" fill="hold">
                                          <p:stCondLst>
                                            <p:cond delay="0"/>
                                          </p:stCondLst>
                                        </p:cTn>
                                        <p:tgtEl>
                                          <p:spTgt spid="453"/>
                                        </p:tgtEl>
                                        <p:attrNameLst>
                                          <p:attrName>style.visibility</p:attrName>
                                        </p:attrNameLst>
                                      </p:cBhvr>
                                      <p:to>
                                        <p:strVal val="visible"/>
                                      </p:to>
                                    </p:set>
                                    <p:animEffect transition="in" filter="strips(downRight)">
                                      <p:cBhvr>
                                        <p:cTn id="66" dur="1000"/>
                                        <p:tgtEl>
                                          <p:spTgt spid="453"/>
                                        </p:tgtEl>
                                      </p:cBhvr>
                                    </p:animEffect>
                                  </p:childTnLst>
                                </p:cTn>
                              </p:par>
                              <p:par>
                                <p:cTn id="67" presetID="18" presetClass="entr" presetSubtype="12" fill="hold" grpId="0" nodeType="withEffect">
                                  <p:stCondLst>
                                    <p:cond delay="1000"/>
                                  </p:stCondLst>
                                  <p:childTnLst>
                                    <p:set>
                                      <p:cBhvr>
                                        <p:cTn id="68" dur="1" fill="hold">
                                          <p:stCondLst>
                                            <p:cond delay="0"/>
                                          </p:stCondLst>
                                        </p:cTn>
                                        <p:tgtEl>
                                          <p:spTgt spid="457"/>
                                        </p:tgtEl>
                                        <p:attrNameLst>
                                          <p:attrName>style.visibility</p:attrName>
                                        </p:attrNameLst>
                                      </p:cBhvr>
                                      <p:to>
                                        <p:strVal val="visible"/>
                                      </p:to>
                                    </p:set>
                                    <p:animEffect transition="in" filter="strips(downLeft)">
                                      <p:cBhvr>
                                        <p:cTn id="69" dur="1500"/>
                                        <p:tgtEl>
                                          <p:spTgt spid="457"/>
                                        </p:tgtEl>
                                      </p:cBhvr>
                                    </p:animEffect>
                                  </p:childTnLst>
                                </p:cTn>
                              </p:par>
                              <p:par>
                                <p:cTn id="70" presetID="18" presetClass="exit" presetSubtype="3" fill="hold" grpId="1" nodeType="withEffect">
                                  <p:stCondLst>
                                    <p:cond delay="2500"/>
                                  </p:stCondLst>
                                  <p:childTnLst>
                                    <p:animEffect transition="out" filter="strips(upRight)">
                                      <p:cBhvr>
                                        <p:cTn id="71" dur="1500"/>
                                        <p:tgtEl>
                                          <p:spTgt spid="457"/>
                                        </p:tgtEl>
                                      </p:cBhvr>
                                    </p:animEffect>
                                    <p:set>
                                      <p:cBhvr>
                                        <p:cTn id="72" dur="1" fill="hold">
                                          <p:stCondLst>
                                            <p:cond delay="1499"/>
                                          </p:stCondLst>
                                        </p:cTn>
                                        <p:tgtEl>
                                          <p:spTgt spid="457"/>
                                        </p:tgtEl>
                                        <p:attrNameLst>
                                          <p:attrName>style.visibility</p:attrName>
                                        </p:attrNameLst>
                                      </p:cBhvr>
                                      <p:to>
                                        <p:strVal val="hidden"/>
                                      </p:to>
                                    </p:set>
                                  </p:childTnLst>
                                </p:cTn>
                              </p:par>
                              <p:par>
                                <p:cTn id="73" presetID="18" presetClass="entr" presetSubtype="12" fill="hold" grpId="2" nodeType="withEffect">
                                  <p:stCondLst>
                                    <p:cond delay="4000"/>
                                  </p:stCondLst>
                                  <p:childTnLst>
                                    <p:set>
                                      <p:cBhvr>
                                        <p:cTn id="74" dur="1" fill="hold">
                                          <p:stCondLst>
                                            <p:cond delay="0"/>
                                          </p:stCondLst>
                                        </p:cTn>
                                        <p:tgtEl>
                                          <p:spTgt spid="457"/>
                                        </p:tgtEl>
                                        <p:attrNameLst>
                                          <p:attrName>style.visibility</p:attrName>
                                        </p:attrNameLst>
                                      </p:cBhvr>
                                      <p:to>
                                        <p:strVal val="visible"/>
                                      </p:to>
                                    </p:set>
                                    <p:animEffect transition="in" filter="strips(downLeft)">
                                      <p:cBhvr>
                                        <p:cTn id="75" dur="1500"/>
                                        <p:tgtEl>
                                          <p:spTgt spid="457"/>
                                        </p:tgtEl>
                                      </p:cBhvr>
                                    </p:animEffect>
                                  </p:childTnLst>
                                </p:cTn>
                              </p:par>
                              <p:par>
                                <p:cTn id="76" presetID="18" presetClass="exit" presetSubtype="3" fill="hold" grpId="3" nodeType="withEffect">
                                  <p:stCondLst>
                                    <p:cond delay="5500"/>
                                  </p:stCondLst>
                                  <p:childTnLst>
                                    <p:animEffect transition="out" filter="strips(upRight)">
                                      <p:cBhvr>
                                        <p:cTn id="77" dur="1500"/>
                                        <p:tgtEl>
                                          <p:spTgt spid="457"/>
                                        </p:tgtEl>
                                      </p:cBhvr>
                                    </p:animEffect>
                                    <p:set>
                                      <p:cBhvr>
                                        <p:cTn id="78" dur="1" fill="hold">
                                          <p:stCondLst>
                                            <p:cond delay="1499"/>
                                          </p:stCondLst>
                                        </p:cTn>
                                        <p:tgtEl>
                                          <p:spTgt spid="457"/>
                                        </p:tgtEl>
                                        <p:attrNameLst>
                                          <p:attrName>style.visibility</p:attrName>
                                        </p:attrNameLst>
                                      </p:cBhvr>
                                      <p:to>
                                        <p:strVal val="hidden"/>
                                      </p:to>
                                    </p:set>
                                  </p:childTnLst>
                                </p:cTn>
                              </p:par>
                              <p:par>
                                <p:cTn id="79" presetID="18" presetClass="entr" presetSubtype="12" fill="hold" grpId="4" nodeType="withEffect">
                                  <p:stCondLst>
                                    <p:cond delay="7000"/>
                                  </p:stCondLst>
                                  <p:childTnLst>
                                    <p:set>
                                      <p:cBhvr>
                                        <p:cTn id="80" dur="1" fill="hold">
                                          <p:stCondLst>
                                            <p:cond delay="0"/>
                                          </p:stCondLst>
                                        </p:cTn>
                                        <p:tgtEl>
                                          <p:spTgt spid="457"/>
                                        </p:tgtEl>
                                        <p:attrNameLst>
                                          <p:attrName>style.visibility</p:attrName>
                                        </p:attrNameLst>
                                      </p:cBhvr>
                                      <p:to>
                                        <p:strVal val="visible"/>
                                      </p:to>
                                    </p:set>
                                    <p:animEffect transition="in" filter="strips(downLeft)">
                                      <p:cBhvr>
                                        <p:cTn id="81" dur="1500"/>
                                        <p:tgtEl>
                                          <p:spTgt spid="457"/>
                                        </p:tgtEl>
                                      </p:cBhvr>
                                    </p:animEffect>
                                  </p:childTnLst>
                                </p:cTn>
                              </p:par>
                              <p:par>
                                <p:cTn id="82" presetID="18" presetClass="exit" presetSubtype="3" fill="hold" grpId="5" nodeType="withEffect">
                                  <p:stCondLst>
                                    <p:cond delay="8500"/>
                                  </p:stCondLst>
                                  <p:childTnLst>
                                    <p:animEffect transition="out" filter="strips(upRight)">
                                      <p:cBhvr>
                                        <p:cTn id="83" dur="1500"/>
                                        <p:tgtEl>
                                          <p:spTgt spid="457"/>
                                        </p:tgtEl>
                                      </p:cBhvr>
                                    </p:animEffect>
                                    <p:set>
                                      <p:cBhvr>
                                        <p:cTn id="84" dur="1" fill="hold">
                                          <p:stCondLst>
                                            <p:cond delay="1499"/>
                                          </p:stCondLst>
                                        </p:cTn>
                                        <p:tgtEl>
                                          <p:spTgt spid="457"/>
                                        </p:tgtEl>
                                        <p:attrNameLst>
                                          <p:attrName>style.visibility</p:attrName>
                                        </p:attrNameLst>
                                      </p:cBhvr>
                                      <p:to>
                                        <p:strVal val="hidden"/>
                                      </p:to>
                                    </p:set>
                                  </p:childTnLst>
                                </p:cTn>
                              </p:par>
                              <p:par>
                                <p:cTn id="85" presetID="18" presetClass="entr" presetSubtype="12" fill="hold" grpId="6" nodeType="withEffect">
                                  <p:stCondLst>
                                    <p:cond delay="10000"/>
                                  </p:stCondLst>
                                  <p:childTnLst>
                                    <p:set>
                                      <p:cBhvr>
                                        <p:cTn id="86" dur="1" fill="hold">
                                          <p:stCondLst>
                                            <p:cond delay="0"/>
                                          </p:stCondLst>
                                        </p:cTn>
                                        <p:tgtEl>
                                          <p:spTgt spid="457"/>
                                        </p:tgtEl>
                                        <p:attrNameLst>
                                          <p:attrName>style.visibility</p:attrName>
                                        </p:attrNameLst>
                                      </p:cBhvr>
                                      <p:to>
                                        <p:strVal val="visible"/>
                                      </p:to>
                                    </p:set>
                                    <p:animEffect transition="in" filter="strips(downLeft)">
                                      <p:cBhvr>
                                        <p:cTn id="87" dur="1500"/>
                                        <p:tgtEl>
                                          <p:spTgt spid="457"/>
                                        </p:tgtEl>
                                      </p:cBhvr>
                                    </p:animEffect>
                                  </p:childTnLst>
                                </p:cTn>
                              </p:par>
                              <p:par>
                                <p:cTn id="88" presetID="18" presetClass="entr" presetSubtype="6" fill="hold" grpId="0" nodeType="withEffect">
                                  <p:stCondLst>
                                    <p:cond delay="1000"/>
                                  </p:stCondLst>
                                  <p:childTnLst>
                                    <p:set>
                                      <p:cBhvr>
                                        <p:cTn id="89" dur="1" fill="hold">
                                          <p:stCondLst>
                                            <p:cond delay="0"/>
                                          </p:stCondLst>
                                        </p:cTn>
                                        <p:tgtEl>
                                          <p:spTgt spid="445"/>
                                        </p:tgtEl>
                                        <p:attrNameLst>
                                          <p:attrName>style.visibility</p:attrName>
                                        </p:attrNameLst>
                                      </p:cBhvr>
                                      <p:to>
                                        <p:strVal val="visible"/>
                                      </p:to>
                                    </p:set>
                                    <p:animEffect transition="in" filter="strips(downRight)">
                                      <p:cBhvr>
                                        <p:cTn id="90" dur="1500"/>
                                        <p:tgtEl>
                                          <p:spTgt spid="445"/>
                                        </p:tgtEl>
                                      </p:cBhvr>
                                    </p:animEffect>
                                  </p:childTnLst>
                                </p:cTn>
                              </p:par>
                              <p:par>
                                <p:cTn id="91" presetID="18" presetClass="exit" presetSubtype="9" fill="hold" grpId="1" nodeType="withEffect">
                                  <p:stCondLst>
                                    <p:cond delay="2500"/>
                                  </p:stCondLst>
                                  <p:childTnLst>
                                    <p:animEffect transition="out" filter="strips(upLeft)">
                                      <p:cBhvr>
                                        <p:cTn id="92" dur="1500"/>
                                        <p:tgtEl>
                                          <p:spTgt spid="445"/>
                                        </p:tgtEl>
                                      </p:cBhvr>
                                    </p:animEffect>
                                    <p:set>
                                      <p:cBhvr>
                                        <p:cTn id="93" dur="1" fill="hold">
                                          <p:stCondLst>
                                            <p:cond delay="1499"/>
                                          </p:stCondLst>
                                        </p:cTn>
                                        <p:tgtEl>
                                          <p:spTgt spid="445"/>
                                        </p:tgtEl>
                                        <p:attrNameLst>
                                          <p:attrName>style.visibility</p:attrName>
                                        </p:attrNameLst>
                                      </p:cBhvr>
                                      <p:to>
                                        <p:strVal val="hidden"/>
                                      </p:to>
                                    </p:set>
                                  </p:childTnLst>
                                </p:cTn>
                              </p:par>
                              <p:par>
                                <p:cTn id="94" presetID="18" presetClass="entr" presetSubtype="6" fill="hold" grpId="2" nodeType="withEffect">
                                  <p:stCondLst>
                                    <p:cond delay="4000"/>
                                  </p:stCondLst>
                                  <p:childTnLst>
                                    <p:set>
                                      <p:cBhvr>
                                        <p:cTn id="95" dur="1" fill="hold">
                                          <p:stCondLst>
                                            <p:cond delay="0"/>
                                          </p:stCondLst>
                                        </p:cTn>
                                        <p:tgtEl>
                                          <p:spTgt spid="445"/>
                                        </p:tgtEl>
                                        <p:attrNameLst>
                                          <p:attrName>style.visibility</p:attrName>
                                        </p:attrNameLst>
                                      </p:cBhvr>
                                      <p:to>
                                        <p:strVal val="visible"/>
                                      </p:to>
                                    </p:set>
                                    <p:animEffect transition="in" filter="strips(downRight)">
                                      <p:cBhvr>
                                        <p:cTn id="96" dur="1500"/>
                                        <p:tgtEl>
                                          <p:spTgt spid="445"/>
                                        </p:tgtEl>
                                      </p:cBhvr>
                                    </p:animEffect>
                                  </p:childTnLst>
                                </p:cTn>
                              </p:par>
                              <p:par>
                                <p:cTn id="97" presetID="18" presetClass="exit" presetSubtype="9" fill="hold" grpId="3" nodeType="withEffect">
                                  <p:stCondLst>
                                    <p:cond delay="5500"/>
                                  </p:stCondLst>
                                  <p:childTnLst>
                                    <p:animEffect transition="out" filter="strips(upLeft)">
                                      <p:cBhvr>
                                        <p:cTn id="98" dur="1500"/>
                                        <p:tgtEl>
                                          <p:spTgt spid="445"/>
                                        </p:tgtEl>
                                      </p:cBhvr>
                                    </p:animEffect>
                                    <p:set>
                                      <p:cBhvr>
                                        <p:cTn id="99" dur="1" fill="hold">
                                          <p:stCondLst>
                                            <p:cond delay="1499"/>
                                          </p:stCondLst>
                                        </p:cTn>
                                        <p:tgtEl>
                                          <p:spTgt spid="445"/>
                                        </p:tgtEl>
                                        <p:attrNameLst>
                                          <p:attrName>style.visibility</p:attrName>
                                        </p:attrNameLst>
                                      </p:cBhvr>
                                      <p:to>
                                        <p:strVal val="hidden"/>
                                      </p:to>
                                    </p:set>
                                  </p:childTnLst>
                                </p:cTn>
                              </p:par>
                              <p:par>
                                <p:cTn id="100" presetID="18" presetClass="entr" presetSubtype="6" fill="hold" grpId="4" nodeType="withEffect">
                                  <p:stCondLst>
                                    <p:cond delay="7000"/>
                                  </p:stCondLst>
                                  <p:childTnLst>
                                    <p:set>
                                      <p:cBhvr>
                                        <p:cTn id="101" dur="1" fill="hold">
                                          <p:stCondLst>
                                            <p:cond delay="0"/>
                                          </p:stCondLst>
                                        </p:cTn>
                                        <p:tgtEl>
                                          <p:spTgt spid="445"/>
                                        </p:tgtEl>
                                        <p:attrNameLst>
                                          <p:attrName>style.visibility</p:attrName>
                                        </p:attrNameLst>
                                      </p:cBhvr>
                                      <p:to>
                                        <p:strVal val="visible"/>
                                      </p:to>
                                    </p:set>
                                    <p:animEffect transition="in" filter="strips(downRight)">
                                      <p:cBhvr>
                                        <p:cTn id="102" dur="1500"/>
                                        <p:tgtEl>
                                          <p:spTgt spid="445"/>
                                        </p:tgtEl>
                                      </p:cBhvr>
                                    </p:animEffect>
                                  </p:childTnLst>
                                </p:cTn>
                              </p:par>
                              <p:par>
                                <p:cTn id="103" presetID="18" presetClass="exit" presetSubtype="9" fill="hold" grpId="5" nodeType="withEffect">
                                  <p:stCondLst>
                                    <p:cond delay="8500"/>
                                  </p:stCondLst>
                                  <p:childTnLst>
                                    <p:animEffect transition="out" filter="strips(upLeft)">
                                      <p:cBhvr>
                                        <p:cTn id="104" dur="1500"/>
                                        <p:tgtEl>
                                          <p:spTgt spid="445"/>
                                        </p:tgtEl>
                                      </p:cBhvr>
                                    </p:animEffect>
                                    <p:set>
                                      <p:cBhvr>
                                        <p:cTn id="105" dur="1" fill="hold">
                                          <p:stCondLst>
                                            <p:cond delay="1499"/>
                                          </p:stCondLst>
                                        </p:cTn>
                                        <p:tgtEl>
                                          <p:spTgt spid="445"/>
                                        </p:tgtEl>
                                        <p:attrNameLst>
                                          <p:attrName>style.visibility</p:attrName>
                                        </p:attrNameLst>
                                      </p:cBhvr>
                                      <p:to>
                                        <p:strVal val="hidden"/>
                                      </p:to>
                                    </p:set>
                                  </p:childTnLst>
                                </p:cTn>
                              </p:par>
                              <p:par>
                                <p:cTn id="106" presetID="18" presetClass="entr" presetSubtype="6" fill="hold" grpId="6" nodeType="withEffect">
                                  <p:stCondLst>
                                    <p:cond delay="10000"/>
                                  </p:stCondLst>
                                  <p:childTnLst>
                                    <p:set>
                                      <p:cBhvr>
                                        <p:cTn id="107" dur="1" fill="hold">
                                          <p:stCondLst>
                                            <p:cond delay="0"/>
                                          </p:stCondLst>
                                        </p:cTn>
                                        <p:tgtEl>
                                          <p:spTgt spid="445"/>
                                        </p:tgtEl>
                                        <p:attrNameLst>
                                          <p:attrName>style.visibility</p:attrName>
                                        </p:attrNameLst>
                                      </p:cBhvr>
                                      <p:to>
                                        <p:strVal val="visible"/>
                                      </p:to>
                                    </p:set>
                                    <p:animEffect transition="in" filter="strips(downRight)">
                                      <p:cBhvr>
                                        <p:cTn id="108" dur="1500"/>
                                        <p:tgtEl>
                                          <p:spTgt spid="445"/>
                                        </p:tgtEl>
                                      </p:cBhvr>
                                    </p:animEffect>
                                  </p:childTnLst>
                                </p:cTn>
                              </p:par>
                              <p:par>
                                <p:cTn id="109" presetID="1" presetClass="emph" presetSubtype="2" fill="hold" nodeType="withEffect">
                                  <p:stCondLst>
                                    <p:cond delay="1000"/>
                                  </p:stCondLst>
                                  <p:childTnLst>
                                    <p:animClr clrSpc="rgb" dir="cw">
                                      <p:cBhvr>
                                        <p:cTn id="110" dur="10000" fill="hold"/>
                                        <p:tgtEl>
                                          <p:spTgt spid="2"/>
                                        </p:tgtEl>
                                        <p:attrNameLst>
                                          <p:attrName>fillcolor</p:attrName>
                                        </p:attrNameLst>
                                      </p:cBhvr>
                                      <p:to>
                                        <a:srgbClr val="F7AE14"/>
                                      </p:to>
                                    </p:animClr>
                                    <p:set>
                                      <p:cBhvr>
                                        <p:cTn id="111" dur="10000" fill="hold"/>
                                        <p:tgtEl>
                                          <p:spTgt spid="2"/>
                                        </p:tgtEl>
                                        <p:attrNameLst>
                                          <p:attrName>fill.type</p:attrName>
                                        </p:attrNameLst>
                                      </p:cBhvr>
                                      <p:to>
                                        <p:strVal val="solid"/>
                                      </p:to>
                                    </p:set>
                                    <p:set>
                                      <p:cBhvr>
                                        <p:cTn id="112" dur="10000" fill="hold"/>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3" grpId="0"/>
      <p:bldP spid="151" grpId="0"/>
      <p:bldP spid="152" grpId="0"/>
      <p:bldP spid="457" grpId="0" animBg="1"/>
      <p:bldP spid="457" grpId="1" animBg="1"/>
      <p:bldP spid="457" grpId="2" animBg="1"/>
      <p:bldP spid="457" grpId="3" animBg="1"/>
      <p:bldP spid="457" grpId="4" animBg="1"/>
      <p:bldP spid="457" grpId="5" animBg="1"/>
      <p:bldP spid="457" grpId="6" animBg="1"/>
      <p:bldP spid="445" grpId="0" animBg="1"/>
      <p:bldP spid="445" grpId="1" animBg="1"/>
      <p:bldP spid="445" grpId="2" animBg="1"/>
      <p:bldP spid="445" grpId="3" animBg="1"/>
      <p:bldP spid="445" grpId="4" animBg="1"/>
      <p:bldP spid="445" grpId="5" animBg="1"/>
      <p:bldP spid="445" grpId="6" animBg="1"/>
      <p:bldP spid="453" grpId="0" animBg="1"/>
      <p:bldP spid="453" grpId="1" animBg="1"/>
      <p:bldP spid="453" grpId="2" animBg="1"/>
      <p:bldP spid="453" grpId="3" animBg="1"/>
      <p:bldP spid="453" grpId="4" animBg="1"/>
      <p:bldP spid="453" grpId="5" animBg="1"/>
      <p:bldP spid="453" grpId="6" animBg="1"/>
      <p:bldP spid="453" grpId="7" animBg="1"/>
      <p:bldP spid="453" grpId="8" animBg="1"/>
      <p:bldP spid="45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OTq.f3u2tybXnLC83iG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ybrit">
  <a:themeElements>
    <a:clrScheme name="Hybrit-2021">
      <a:dk1>
        <a:srgbClr val="2E2E2E"/>
      </a:dk1>
      <a:lt1>
        <a:srgbClr val="FFFFFF"/>
      </a:lt1>
      <a:dk2>
        <a:srgbClr val="0046AD"/>
      </a:dk2>
      <a:lt2>
        <a:srgbClr val="E7E6E6"/>
      </a:lt2>
      <a:accent1>
        <a:srgbClr val="0046AD"/>
      </a:accent1>
      <a:accent2>
        <a:srgbClr val="F3C727"/>
      </a:accent2>
      <a:accent3>
        <a:srgbClr val="589199"/>
      </a:accent3>
      <a:accent4>
        <a:srgbClr val="0072BC"/>
      </a:accent4>
      <a:accent5>
        <a:srgbClr val="1F386C"/>
      </a:accent5>
      <a:accent6>
        <a:srgbClr val="7F7F7F"/>
      </a:accent6>
      <a:hlink>
        <a:srgbClr val="0074BB"/>
      </a:hlink>
      <a:folHlink>
        <a:srgbClr val="7F7F7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Hybrit ppt-mall SV" id="{98D55E30-0983-4D39-AC40-B2E12C562ADE}" vid="{F7902FBC-508C-4C93-9CBB-1A81DECFA74B}"/>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95050E7-50DC-414D-94E8-9DBD2D5DC2F2}">
  <we:reference id="wa200005566" version="3.0.0.2" store="en-US" storeType="OMEX"/>
  <we:alternateReferences>
    <we:reference id="wa200005566" version="3.0.0.2"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bddc980-a16e-4dad-a9ab-2b5282b44038" xsi:nil="true"/>
    <lcf76f155ced4ddcb4097134ff3c332f xmlns="72e3e53b-531c-4c0d-9f3d-f637539d78c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0967E00770D8F4EB6AA22A40E67BD8D" ma:contentTypeVersion="21" ma:contentTypeDescription="Skapa ett nytt dokument." ma:contentTypeScope="" ma:versionID="88427e1c677c0ddd0baa975ad5ac7ff0">
  <xsd:schema xmlns:xsd="http://www.w3.org/2001/XMLSchema" xmlns:xs="http://www.w3.org/2001/XMLSchema" xmlns:p="http://schemas.microsoft.com/office/2006/metadata/properties" xmlns:ns2="72e3e53b-531c-4c0d-9f3d-f637539d78c5" xmlns:ns3="abddc980-a16e-4dad-a9ab-2b5282b44038" xmlns:ns4="03496a61-5779-43e3-b5ef-24ba545b67b7" targetNamespace="http://schemas.microsoft.com/office/2006/metadata/properties" ma:root="true" ma:fieldsID="5f02bd5e47c1a6b4ae19dcef34b69d30" ns2:_="" ns3:_="" ns4:_="">
    <xsd:import namespace="72e3e53b-531c-4c0d-9f3d-f637539d78c5"/>
    <xsd:import namespace="abddc980-a16e-4dad-a9ab-2b5282b44038"/>
    <xsd:import namespace="03496a61-5779-43e3-b5ef-24ba545b67b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3:TaxCatchAll" minOccurs="0"/>
                <xsd:element ref="ns2:lcf76f155ced4ddcb4097134ff3c332f" minOccurs="0"/>
                <xsd:element ref="ns4:SharedWithUsers" minOccurs="0"/>
                <xsd:element ref="ns4:SharedWithDetails" minOccurs="0"/>
                <xsd:element ref="ns2:MediaServiceObjectDetectorVersion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e3e53b-531c-4c0d-9f3d-f637539d78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eringar" ma:readOnly="false" ma:fieldId="{5cf76f15-5ced-4ddc-b409-7134ff3c332f}" ma:taxonomyMulti="true" ma:sspId="1ecc287a-ddf0-4f7d-80a9-1e92145f609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bddc980-a16e-4dad-a9ab-2b5282b440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a881feb6-cc28-4b69-a822-9f46ccbb9f66}" ma:internalName="TaxCatchAll" ma:showField="CatchAllData" ma:web="03496a61-5779-43e3-b5ef-24ba545b67b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3496a61-5779-43e3-b5ef-24ba545b67b7" elementFormDefault="qualified">
    <xsd:import namespace="http://schemas.microsoft.com/office/2006/documentManagement/types"/>
    <xsd:import namespace="http://schemas.microsoft.com/office/infopath/2007/PartnerControls"/>
    <xsd:element name="SharedWithUsers" ma:index="21"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395971-6578-4A15-8CAC-31861DBD10D5}">
  <ds:schemaRefs>
    <ds:schemaRef ds:uri="http://schemas.microsoft.com/office/infopath/2007/PartnerControls"/>
    <ds:schemaRef ds:uri="abddc980-a16e-4dad-a9ab-2b5282b44038"/>
    <ds:schemaRef ds:uri="http://www.w3.org/XML/1998/namespace"/>
    <ds:schemaRef ds:uri="http://purl.org/dc/elements/1.1/"/>
    <ds:schemaRef ds:uri="http://schemas.microsoft.com/office/2006/documentManagement/types"/>
    <ds:schemaRef ds:uri="http://purl.org/dc/dcmitype/"/>
    <ds:schemaRef ds:uri="4b6ec3c4-e1a6-44fa-a2e2-3bb0ae296c91"/>
    <ds:schemaRef ds:uri="5be3493e-14cc-4e6a-82a8-aa94215f3042"/>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A5274F30-DB94-472E-B3E5-43AB5F40F766}">
  <ds:schemaRefs>
    <ds:schemaRef ds:uri="http://schemas.microsoft.com/sharepoint/v3/contenttype/forms"/>
  </ds:schemaRefs>
</ds:datastoreItem>
</file>

<file path=customXml/itemProps3.xml><?xml version="1.0" encoding="utf-8"?>
<ds:datastoreItem xmlns:ds="http://schemas.openxmlformats.org/officeDocument/2006/customXml" ds:itemID="{DB9C1208-01A1-477F-94DD-2ED616B66168}"/>
</file>

<file path=docProps/app.xml><?xml version="1.0" encoding="utf-8"?>
<Properties xmlns="http://schemas.openxmlformats.org/officeDocument/2006/extended-properties" xmlns:vt="http://schemas.openxmlformats.org/officeDocument/2006/docPropsVTypes">
  <Template/>
  <TotalTime>18330</TotalTime>
  <Words>3908</Words>
  <Application>Microsoft Office PowerPoint</Application>
  <PresentationFormat>Bredbild</PresentationFormat>
  <Paragraphs>441</Paragraphs>
  <Slides>31</Slides>
  <Notes>31</Notes>
  <HiddenSlides>1</HiddenSlides>
  <MMClips>0</MMClips>
  <ScaleCrop>false</ScaleCrop>
  <HeadingPairs>
    <vt:vector size="4" baseType="variant">
      <vt:variant>
        <vt:lpstr>Tema</vt:lpstr>
      </vt:variant>
      <vt:variant>
        <vt:i4>1</vt:i4>
      </vt:variant>
      <vt:variant>
        <vt:lpstr>Bildrubriker</vt:lpstr>
      </vt:variant>
      <vt:variant>
        <vt:i4>31</vt:i4>
      </vt:variant>
    </vt:vector>
  </HeadingPairs>
  <TitlesOfParts>
    <vt:vector size="32" baseType="lpstr">
      <vt:lpstr>1_Hybrit</vt:lpstr>
      <vt:lpstr>Lagring av fossilfri vätgas  i inklädda bergrum redo  för industrialisering</vt:lpstr>
      <vt:lpstr>PowerPoint-presentation</vt:lpstr>
      <vt:lpstr>Klimatmål för  en fossilfri framtid</vt:lpstr>
      <vt:lpstr>Dagens stålindustri är  beroende av fossilt kol </vt:lpstr>
      <vt:lpstr>HYBRIT – världens första  fossilfria stålproduktion</vt:lpstr>
      <vt:lpstr>PowerPoint-presentation</vt:lpstr>
      <vt:lpstr>Industriell produktion  i det framtida elsystemet </vt:lpstr>
      <vt:lpstr>Vätgaslagring reducerar  den rörliga kostnaden  för vätgasproduktion </vt:lpstr>
      <vt:lpstr>Flexibilitet i processen</vt:lpstr>
      <vt:lpstr>Flexibilitet i processen</vt:lpstr>
      <vt:lpstr>Flexibilitet i processen</vt:lpstr>
      <vt:lpstr>Vätgaslagring  i bergrum med  LRC-teknik </vt:lpstr>
      <vt:lpstr>LRC, Lined rock cavern, inklädda bergrum </vt:lpstr>
      <vt:lpstr>Design &amp; byggnation av pilotlager </vt:lpstr>
      <vt:lpstr>Uppbyggnad av lagerutrymmet</vt:lpstr>
      <vt:lpstr>Anslutning ovan mark</vt:lpstr>
      <vt:lpstr>Testning  av pilotlager</vt:lpstr>
      <vt:lpstr>Resultat i korthet</vt:lpstr>
      <vt:lpstr>Integration  med förbrukare</vt:lpstr>
      <vt:lpstr>Integration mot elmarknaden  </vt:lpstr>
      <vt:lpstr>Säkerhet  vid vätgaslagring</vt:lpstr>
      <vt:lpstr>Lagra vätgas i bergrum </vt:lpstr>
      <vt:lpstr>Tester av  säkerhetssystem</vt:lpstr>
      <vt:lpstr>Vätgaslagring stöttar omställningen till  ett fossilfritt samhälle  </vt:lpstr>
      <vt:lpstr>PowerPoint-presentation</vt:lpstr>
      <vt:lpstr>Redo för  industrialisering</vt:lpstr>
      <vt:lpstr>Projektet visar att LRC-tekniken  för storskalig vätgaslagring:</vt:lpstr>
      <vt:lpstr>Projektet visar att LRC-tekniken  för storskalig vätgaslagring:</vt:lpstr>
      <vt:lpstr>Storskalig kommersiell vätgaslagring</vt:lpstr>
      <vt:lpstr>Storskalig kommersiell vätgaslagring</vt:lpstr>
      <vt:lpstr>Kontakt</vt:lpstr>
    </vt:vector>
  </TitlesOfParts>
  <Manager>Marie Anheden</Manager>
  <Company>Hybrit Developmen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T – Lagring av fossilfri vätgas i inklädda bergrum</dc:title>
  <dc:subject>Vätgaslagring i inklädda bergrum</dc:subject>
  <dc:creator>HYBRIT </dc:creator>
  <cp:keywords>vätgaslagring, LRC, HYBRIT</cp:keywords>
  <dc:description/>
  <cp:lastModifiedBy>Helena Sundberg</cp:lastModifiedBy>
  <cp:revision>215</cp:revision>
  <dcterms:created xsi:type="dcterms:W3CDTF">2024-11-20T12:17:35Z</dcterms:created>
  <dcterms:modified xsi:type="dcterms:W3CDTF">2025-05-20T10:40: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967E00770D8F4EB6AA22A40E67BD8D</vt:lpwstr>
  </property>
  <property fmtid="{D5CDD505-2E9C-101B-9397-08002B2CF9AE}" pid="3" name="MediaServiceImageTags">
    <vt:lpwstr/>
  </property>
</Properties>
</file>